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82" r:id="rId3"/>
    <p:sldId id="269" r:id="rId4"/>
    <p:sldId id="316" r:id="rId5"/>
    <p:sldId id="284" r:id="rId6"/>
    <p:sldId id="294" r:id="rId7"/>
    <p:sldId id="289" r:id="rId8"/>
    <p:sldId id="327" r:id="rId9"/>
    <p:sldId id="291" r:id="rId10"/>
    <p:sldId id="325" r:id="rId11"/>
    <p:sldId id="310" r:id="rId12"/>
    <p:sldId id="303" r:id="rId13"/>
    <p:sldId id="306" r:id="rId14"/>
    <p:sldId id="305" r:id="rId15"/>
    <p:sldId id="324" r:id="rId16"/>
    <p:sldId id="322" r:id="rId17"/>
    <p:sldId id="323" r:id="rId18"/>
    <p:sldId id="307" r:id="rId19"/>
    <p:sldId id="315" r:id="rId20"/>
    <p:sldId id="295" r:id="rId21"/>
    <p:sldId id="304" r:id="rId22"/>
    <p:sldId id="311" r:id="rId23"/>
    <p:sldId id="308" r:id="rId24"/>
    <p:sldId id="309" r:id="rId25"/>
    <p:sldId id="328" r:id="rId26"/>
    <p:sldId id="261" r:id="rId27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341" autoAdjust="0"/>
    <p:restoredTop sz="82742" autoAdjust="0"/>
  </p:normalViewPr>
  <p:slideViewPr>
    <p:cSldViewPr snapToGrid="0">
      <p:cViewPr varScale="1">
        <p:scale>
          <a:sx n="182" d="100"/>
          <a:sy n="182" d="100"/>
        </p:scale>
        <p:origin x="2488" y="1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         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287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zh-CN" altLang="en-US" dirty="0"/>
              <a:t>单天</a:t>
            </a:r>
            <a:r>
              <a:rPr kumimoji="1" lang="en-US" altLang="zh-CN" dirty="0"/>
              <a:t>metric</a:t>
            </a:r>
            <a:r>
              <a:rPr kumimoji="1" lang="zh-CN" altLang="en-US" dirty="0"/>
              <a:t> 最大的是</a:t>
            </a:r>
            <a:r>
              <a:rPr kumimoji="1" lang="en-US" altLang="zh-CN" dirty="0" err="1"/>
              <a:t>endpointRelation</a:t>
            </a:r>
            <a:r>
              <a:rPr kumimoji="1" lang="zh-CN" altLang="en-US" dirty="0"/>
              <a:t> </a:t>
            </a:r>
            <a:r>
              <a:rPr kumimoji="1" lang="en-US" altLang="zh-CN" dirty="0"/>
              <a:t>2G</a:t>
            </a:r>
          </a:p>
          <a:p>
            <a:pPr marL="228600" indent="-228600">
              <a:buAutoNum type="arabicPeriod"/>
            </a:pPr>
            <a:r>
              <a:rPr kumimoji="1" lang="zh-CN" altLang="en-US" dirty="0"/>
              <a:t>满足</a:t>
            </a:r>
            <a:r>
              <a:rPr kumimoji="1" lang="en-US" altLang="zh-CN" dirty="0"/>
              <a:t>shards</a:t>
            </a:r>
            <a:r>
              <a:rPr kumimoji="1" lang="zh-CN" altLang="en-US" dirty="0"/>
              <a:t> </a:t>
            </a:r>
            <a:r>
              <a:rPr kumimoji="1" lang="en-US" altLang="zh-CN" dirty="0"/>
              <a:t>30G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97104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en-US" altLang="zh-CN" dirty="0"/>
              <a:t>Service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configmap</a:t>
            </a:r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00436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zh-CN" altLang="en-US" dirty="0"/>
              <a:t>快速升级迭代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是否需要业务镜像支持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配置自定义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10720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95945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78283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zh-CN" altLang="en-US" dirty="0"/>
              <a:t>快速升级迭代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是否需要业务镜像支持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配置自定义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67443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zh-CN" altLang="en-US" dirty="0"/>
              <a:t>快速升级迭代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是否需要业务镜像支持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配置自定义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2428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48623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10087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548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线索收集转化全过程</a:t>
            </a:r>
            <a:endParaRPr kumimoji="1" lang="en-US" altLang="zh-CN" dirty="0"/>
          </a:p>
          <a:p>
            <a:r>
              <a:rPr kumimoji="1" lang="en-US" altLang="zh-CN" dirty="0" err="1"/>
              <a:t>toB</a:t>
            </a:r>
            <a:r>
              <a:rPr kumimoji="1" lang="zh-CN" altLang="en-US" dirty="0"/>
              <a:t>营销</a:t>
            </a:r>
            <a:r>
              <a:rPr kumimoji="1" lang="en-US" altLang="zh-CN" dirty="0"/>
              <a:t>CRM</a:t>
            </a:r>
            <a:r>
              <a:rPr kumimoji="1" lang="zh-CN" altLang="en-US" dirty="0"/>
              <a:t> </a:t>
            </a:r>
            <a:r>
              <a:rPr kumimoji="1" lang="en-US" altLang="zh-CN" dirty="0"/>
              <a:t>SAAS</a:t>
            </a:r>
            <a:r>
              <a:rPr kumimoji="1" lang="zh-CN" altLang="en-US" dirty="0"/>
              <a:t> 产品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62765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zh-CN" altLang="en-US" dirty="0"/>
              <a:t>定位</a:t>
            </a:r>
            <a:r>
              <a:rPr kumimoji="1" lang="en-US" altLang="zh-CN" dirty="0" err="1"/>
              <a:t>tob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saas</a:t>
            </a:r>
            <a:r>
              <a:rPr kumimoji="1" lang="zh-CN" altLang="en-US" dirty="0"/>
              <a:t>产品</a:t>
            </a:r>
            <a:r>
              <a:rPr kumimoji="1" lang="en-US" altLang="zh-CN" dirty="0"/>
              <a:t>,</a:t>
            </a:r>
            <a:r>
              <a:rPr kumimoji="1" lang="zh-CN" altLang="en-US" dirty="0"/>
              <a:t>面临公有云</a:t>
            </a:r>
            <a:r>
              <a:rPr kumimoji="1" lang="en-US" altLang="zh-CN" dirty="0"/>
              <a:t>,</a:t>
            </a:r>
            <a:r>
              <a:rPr kumimoji="1" lang="zh-CN" altLang="en-US" dirty="0"/>
              <a:t>私有云 混合云多种场景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自研转开源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en-US" altLang="zh-CN" dirty="0"/>
              <a:t>5</a:t>
            </a:r>
            <a:r>
              <a:rPr kumimoji="1" lang="zh-CN" altLang="en-US" dirty="0"/>
              <a:t>月份</a:t>
            </a:r>
            <a:r>
              <a:rPr kumimoji="1" lang="en-US" altLang="zh-CN" dirty="0" err="1"/>
              <a:t>skywalking</a:t>
            </a:r>
            <a:r>
              <a:rPr kumimoji="1" lang="zh-CN" altLang="en-US" dirty="0"/>
              <a:t>生产使用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去除</a:t>
            </a:r>
            <a:r>
              <a:rPr kumimoji="1" lang="en-US" altLang="zh-CN" dirty="0"/>
              <a:t>smart</a:t>
            </a:r>
            <a:r>
              <a:rPr kumimoji="1" lang="zh-CN" altLang="en-US" dirty="0"/>
              <a:t> </a:t>
            </a:r>
            <a:r>
              <a:rPr kumimoji="1" lang="en-US" altLang="zh-CN" dirty="0"/>
              <a:t>client,</a:t>
            </a:r>
            <a:r>
              <a:rPr kumimoji="1" lang="zh-CN" altLang="en-US" dirty="0"/>
              <a:t>功能下沉</a:t>
            </a:r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9392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单苏州集群</a:t>
            </a:r>
            <a:endParaRPr kumimoji="1" lang="en-US" altLang="zh-CN" dirty="0"/>
          </a:p>
          <a:p>
            <a:r>
              <a:rPr kumimoji="1" lang="zh-CN" altLang="en-US" dirty="0"/>
              <a:t>未来还会覆盖规模更大的沟通服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61099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en-US" altLang="zh-CN" dirty="0" err="1"/>
              <a:t>Skywalking</a:t>
            </a:r>
            <a:r>
              <a:rPr kumimoji="1" lang="zh-CN" altLang="en-US" dirty="0"/>
              <a:t>依赖存储</a:t>
            </a:r>
            <a:r>
              <a:rPr kumimoji="1" lang="en-US" altLang="zh-CN" dirty="0"/>
              <a:t>,</a:t>
            </a:r>
            <a:r>
              <a:rPr kumimoji="1" lang="zh-CN" altLang="en-US" dirty="0"/>
              <a:t>服务发现</a:t>
            </a:r>
            <a:r>
              <a:rPr kumimoji="1" lang="en-US" altLang="zh-CN" dirty="0"/>
              <a:t>,</a:t>
            </a:r>
            <a:r>
              <a:rPr kumimoji="1" lang="zh-CN" altLang="en-US" dirty="0"/>
              <a:t>配置中心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en-US" altLang="zh-CN" dirty="0"/>
              <a:t>Service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configmap</a:t>
            </a:r>
            <a:endParaRPr kumimoji="1"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93187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en-US" altLang="zh-CN" dirty="0"/>
              <a:t>Service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configmap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en-US" altLang="zh-CN" dirty="0" err="1"/>
              <a:t>Inforer</a:t>
            </a:r>
            <a:r>
              <a:rPr kumimoji="1" lang="zh-CN" altLang="en-US" dirty="0"/>
              <a:t>机制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01341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zh-CN" altLang="en-US" dirty="0"/>
              <a:t>集群启动慢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en-US" altLang="zh-CN" dirty="0"/>
              <a:t>Es</a:t>
            </a:r>
            <a:r>
              <a:rPr kumimoji="1" lang="zh-CN" altLang="en-US" dirty="0"/>
              <a:t>压力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6686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60019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kumimoji="1" lang="zh-CN" altLang="en-US" dirty="0"/>
              <a:t>目标</a:t>
            </a:r>
            <a:r>
              <a:rPr kumimoji="1" lang="en-US" altLang="zh-CN" dirty="0"/>
              <a:t>:</a:t>
            </a:r>
            <a:r>
              <a:rPr kumimoji="1" lang="zh-CN" altLang="en-US" dirty="0"/>
              <a:t> 分片均匀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提出</a:t>
            </a:r>
            <a:r>
              <a:rPr kumimoji="1" lang="en-US" altLang="zh-CN" dirty="0" err="1"/>
              <a:t>superdataset</a:t>
            </a:r>
            <a:r>
              <a:rPr kumimoji="1" lang="zh-CN" altLang="en-US" dirty="0"/>
              <a:t>概念针对超大</a:t>
            </a:r>
            <a:r>
              <a:rPr kumimoji="1" lang="en-US" altLang="zh-CN" dirty="0"/>
              <a:t>record</a:t>
            </a:r>
            <a:r>
              <a:rPr kumimoji="1" lang="zh-CN" altLang="en-US" dirty="0"/>
              <a:t>存储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en-US" altLang="zh-CN" dirty="0"/>
              <a:t>Shards</a:t>
            </a:r>
            <a:r>
              <a:rPr kumimoji="1" lang="zh-CN" altLang="en-US" dirty="0"/>
              <a:t> 数目优化</a:t>
            </a:r>
            <a:r>
              <a:rPr kumimoji="1" lang="en-US" altLang="zh-CN" dirty="0"/>
              <a:t>,</a:t>
            </a:r>
            <a:r>
              <a:rPr kumimoji="1" lang="zh-CN" altLang="en-US" dirty="0"/>
              <a:t>保证单</a:t>
            </a:r>
            <a:r>
              <a:rPr kumimoji="1" lang="en-US" altLang="zh-CN" dirty="0"/>
              <a:t>shards</a:t>
            </a:r>
            <a:r>
              <a:rPr kumimoji="1" lang="zh-CN" altLang="en-US" dirty="0"/>
              <a:t> </a:t>
            </a:r>
            <a:r>
              <a:rPr kumimoji="1" lang="en-US" altLang="zh-CN" dirty="0"/>
              <a:t>30G</a:t>
            </a:r>
            <a:r>
              <a:rPr kumimoji="1" lang="zh-CN" altLang="en-US" dirty="0"/>
              <a:t>合理阀值</a:t>
            </a:r>
            <a:endParaRPr kumimoji="1" lang="en-US" altLang="zh-CN" dirty="0"/>
          </a:p>
          <a:p>
            <a:pPr marL="228600" indent="-228600">
              <a:buAutoNum type="arabicPeriod"/>
            </a:pPr>
            <a:r>
              <a:rPr kumimoji="1" lang="zh-CN" altLang="en-US" dirty="0"/>
              <a:t>滚动优化</a:t>
            </a:r>
            <a:r>
              <a:rPr kumimoji="1" lang="en-US" altLang="zh-CN" dirty="0"/>
              <a:t>,</a:t>
            </a:r>
            <a:r>
              <a:rPr kumimoji="1" lang="zh-CN" altLang="en-US" dirty="0"/>
              <a:t>避免</a:t>
            </a:r>
            <a:r>
              <a:rPr kumimoji="1" lang="en-US" altLang="zh-CN" dirty="0" err="1"/>
              <a:t>oal</a:t>
            </a:r>
            <a:r>
              <a:rPr kumimoji="1" lang="zh-CN" altLang="en-US" dirty="0"/>
              <a:t>创建过多数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8774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c7cd9fd3-95be-4895-a18c-01ed58a211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C0B0901-0E7F-4E78-AC6F-6C737FBC147D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654511" y="1531088"/>
            <a:ext cx="8489489" cy="3328361"/>
            <a:chOff x="654511" y="1531088"/>
            <a:chExt cx="10877774" cy="4264704"/>
          </a:xfrm>
          <a:solidFill>
            <a:schemeClr val="bg1">
              <a:lumMod val="95000"/>
            </a:schemeClr>
          </a:solidFill>
        </p:grpSpPr>
        <p:sp>
          <p:nvSpPr>
            <p:cNvPr id="7" name="iṧḻîde">
              <a:extLst>
                <a:ext uri="{FF2B5EF4-FFF2-40B4-BE49-F238E27FC236}">
                  <a16:creationId xmlns:a16="http://schemas.microsoft.com/office/drawing/2014/main" id="{D78B073E-6551-49D2-820C-2C6AB861D0FE}"/>
                </a:ext>
              </a:extLst>
            </p:cNvPr>
            <p:cNvSpPr/>
            <p:nvPr/>
          </p:nvSpPr>
          <p:spPr bwMode="auto">
            <a:xfrm>
              <a:off x="4357583" y="1531088"/>
              <a:ext cx="101834" cy="54004"/>
            </a:xfrm>
            <a:custGeom>
              <a:avLst/>
              <a:gdLst>
                <a:gd name="T0" fmla="*/ 27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2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7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19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ṩḷîḑé">
              <a:extLst>
                <a:ext uri="{FF2B5EF4-FFF2-40B4-BE49-F238E27FC236}">
                  <a16:creationId xmlns:a16="http://schemas.microsoft.com/office/drawing/2014/main" id="{99F408F7-0298-4ED0-89F9-EACF13FFD0CD}"/>
                </a:ext>
              </a:extLst>
            </p:cNvPr>
            <p:cNvSpPr/>
            <p:nvPr/>
          </p:nvSpPr>
          <p:spPr bwMode="auto">
            <a:xfrm>
              <a:off x="4474847" y="1531088"/>
              <a:ext cx="101834" cy="54004"/>
            </a:xfrm>
            <a:custGeom>
              <a:avLst/>
              <a:gdLst>
                <a:gd name="T0" fmla="*/ 27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3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9" y="0"/>
                    <a:pt x="2" y="3"/>
                    <a:pt x="1" y="7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ṧliḑè">
              <a:extLst>
                <a:ext uri="{FF2B5EF4-FFF2-40B4-BE49-F238E27FC236}">
                  <a16:creationId xmlns:a16="http://schemas.microsoft.com/office/drawing/2014/main" id="{2EAE212F-60C9-4817-9670-297333E2F545}"/>
                </a:ext>
              </a:extLst>
            </p:cNvPr>
            <p:cNvSpPr/>
            <p:nvPr/>
          </p:nvSpPr>
          <p:spPr bwMode="auto">
            <a:xfrm>
              <a:off x="4590568" y="1531088"/>
              <a:ext cx="103378" cy="54004"/>
            </a:xfrm>
            <a:custGeom>
              <a:avLst/>
              <a:gdLst>
                <a:gd name="T0" fmla="*/ 28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3 w 28"/>
                <a:gd name="T7" fmla="*/ 15 h 15"/>
                <a:gd name="T8" fmla="*/ 28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9" y="0"/>
                    <a:pt x="2" y="3"/>
                    <a:pt x="1" y="7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îśḷïďê">
              <a:extLst>
                <a:ext uri="{FF2B5EF4-FFF2-40B4-BE49-F238E27FC236}">
                  <a16:creationId xmlns:a16="http://schemas.microsoft.com/office/drawing/2014/main" id="{16D39F5A-2399-4389-8160-11851DBCBADD}"/>
                </a:ext>
              </a:extLst>
            </p:cNvPr>
            <p:cNvSpPr/>
            <p:nvPr/>
          </p:nvSpPr>
          <p:spPr bwMode="auto">
            <a:xfrm>
              <a:off x="4710918" y="1531088"/>
              <a:ext cx="103378" cy="54004"/>
            </a:xfrm>
            <a:custGeom>
              <a:avLst/>
              <a:gdLst>
                <a:gd name="T0" fmla="*/ 27 w 28"/>
                <a:gd name="T1" fmla="*/ 7 h 15"/>
                <a:gd name="T2" fmla="*/ 15 w 28"/>
                <a:gd name="T3" fmla="*/ 0 h 15"/>
                <a:gd name="T4" fmla="*/ 1 w 28"/>
                <a:gd name="T5" fmla="*/ 7 h 15"/>
                <a:gd name="T6" fmla="*/ 12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2" y="0"/>
                    <a:pt x="15" y="0"/>
                  </a:cubicBezTo>
                  <a:cubicBezTo>
                    <a:pt x="8" y="0"/>
                    <a:pt x="1" y="3"/>
                    <a:pt x="1" y="7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šḻïde">
              <a:extLst>
                <a:ext uri="{FF2B5EF4-FFF2-40B4-BE49-F238E27FC236}">
                  <a16:creationId xmlns:a16="http://schemas.microsoft.com/office/drawing/2014/main" id="{7235280E-F554-4598-96AB-161C17679862}"/>
                </a:ext>
              </a:extLst>
            </p:cNvPr>
            <p:cNvSpPr/>
            <p:nvPr/>
          </p:nvSpPr>
          <p:spPr bwMode="auto">
            <a:xfrm>
              <a:off x="4102997" y="1595892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S1iḍê">
              <a:extLst>
                <a:ext uri="{FF2B5EF4-FFF2-40B4-BE49-F238E27FC236}">
                  <a16:creationId xmlns:a16="http://schemas.microsoft.com/office/drawing/2014/main" id="{0658200C-665F-44F7-8D12-ED1D7DE180B5}"/>
                </a:ext>
              </a:extLst>
            </p:cNvPr>
            <p:cNvSpPr/>
            <p:nvPr/>
          </p:nvSpPr>
          <p:spPr bwMode="auto">
            <a:xfrm>
              <a:off x="4223347" y="1595892"/>
              <a:ext cx="101834" cy="55546"/>
            </a:xfrm>
            <a:custGeom>
              <a:avLst/>
              <a:gdLst>
                <a:gd name="T0" fmla="*/ 27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7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19" y="15"/>
                    <a:pt x="26" y="12"/>
                    <a:pt x="2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îsḻíḍè">
              <a:extLst>
                <a:ext uri="{FF2B5EF4-FFF2-40B4-BE49-F238E27FC236}">
                  <a16:creationId xmlns:a16="http://schemas.microsoft.com/office/drawing/2014/main" id="{29BD96E5-B5EA-4510-A862-4F895455151E}"/>
                </a:ext>
              </a:extLst>
            </p:cNvPr>
            <p:cNvSpPr/>
            <p:nvPr/>
          </p:nvSpPr>
          <p:spPr bwMode="auto">
            <a:xfrm>
              <a:off x="4339067" y="1595892"/>
              <a:ext cx="106464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3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$lïďé">
              <a:extLst>
                <a:ext uri="{FF2B5EF4-FFF2-40B4-BE49-F238E27FC236}">
                  <a16:creationId xmlns:a16="http://schemas.microsoft.com/office/drawing/2014/main" id="{0AFD9D83-D61B-43DC-A01D-E598E7C9256F}"/>
                </a:ext>
              </a:extLst>
            </p:cNvPr>
            <p:cNvSpPr/>
            <p:nvPr/>
          </p:nvSpPr>
          <p:spPr bwMode="auto">
            <a:xfrm>
              <a:off x="4459417" y="1595892"/>
              <a:ext cx="103378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îşḷiďè">
              <a:extLst>
                <a:ext uri="{FF2B5EF4-FFF2-40B4-BE49-F238E27FC236}">
                  <a16:creationId xmlns:a16="http://schemas.microsoft.com/office/drawing/2014/main" id="{F8ED10E4-DBEF-4F1B-97AD-0917C835B897}"/>
                </a:ext>
              </a:extLst>
            </p:cNvPr>
            <p:cNvSpPr/>
            <p:nvPr/>
          </p:nvSpPr>
          <p:spPr bwMode="auto">
            <a:xfrm>
              <a:off x="4579767" y="1595892"/>
              <a:ext cx="103378" cy="55546"/>
            </a:xfrm>
            <a:custGeom>
              <a:avLst/>
              <a:gdLst>
                <a:gd name="T0" fmla="*/ 27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7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8"/>
                  </a:moveTo>
                  <a:cubicBezTo>
                    <a:pt x="28" y="4"/>
                    <a:pt x="23" y="0"/>
                    <a:pt x="15" y="0"/>
                  </a:cubicBezTo>
                  <a:cubicBezTo>
                    <a:pt x="8" y="0"/>
                    <a:pt x="1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ṡḻiḋe">
              <a:extLst>
                <a:ext uri="{FF2B5EF4-FFF2-40B4-BE49-F238E27FC236}">
                  <a16:creationId xmlns:a16="http://schemas.microsoft.com/office/drawing/2014/main" id="{E0CB39F6-CFF5-4186-A3F4-2D83E06F53FD}"/>
                </a:ext>
              </a:extLst>
            </p:cNvPr>
            <p:cNvSpPr/>
            <p:nvPr/>
          </p:nvSpPr>
          <p:spPr bwMode="auto">
            <a:xfrm>
              <a:off x="4697031" y="1595892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8" y="0"/>
                    <a:pt x="2" y="4"/>
                    <a:pt x="1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ṣľîḍé">
              <a:extLst>
                <a:ext uri="{FF2B5EF4-FFF2-40B4-BE49-F238E27FC236}">
                  <a16:creationId xmlns:a16="http://schemas.microsoft.com/office/drawing/2014/main" id="{BC151EB2-4CA1-48E9-826C-B7F5AD4546ED}"/>
                </a:ext>
              </a:extLst>
            </p:cNvPr>
            <p:cNvSpPr/>
            <p:nvPr/>
          </p:nvSpPr>
          <p:spPr bwMode="auto">
            <a:xfrm>
              <a:off x="3839153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8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8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šlíḍè">
              <a:extLst>
                <a:ext uri="{FF2B5EF4-FFF2-40B4-BE49-F238E27FC236}">
                  <a16:creationId xmlns:a16="http://schemas.microsoft.com/office/drawing/2014/main" id="{34BDB518-FEB7-48AD-910F-52F0E7C9409F}"/>
                </a:ext>
              </a:extLst>
            </p:cNvPr>
            <p:cNvSpPr/>
            <p:nvPr/>
          </p:nvSpPr>
          <p:spPr bwMode="auto">
            <a:xfrm>
              <a:off x="3959502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7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ísḻíḍé">
              <a:extLst>
                <a:ext uri="{FF2B5EF4-FFF2-40B4-BE49-F238E27FC236}">
                  <a16:creationId xmlns:a16="http://schemas.microsoft.com/office/drawing/2014/main" id="{EE5ADBD2-B7E4-4984-A0CD-3335EC06F758}"/>
                </a:ext>
              </a:extLst>
            </p:cNvPr>
            <p:cNvSpPr/>
            <p:nvPr/>
          </p:nvSpPr>
          <p:spPr bwMode="auto">
            <a:xfrm>
              <a:off x="4079852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7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îṩḻíde">
              <a:extLst>
                <a:ext uri="{FF2B5EF4-FFF2-40B4-BE49-F238E27FC236}">
                  <a16:creationId xmlns:a16="http://schemas.microsoft.com/office/drawing/2014/main" id="{9F4C0C23-6230-46F9-A979-E23D14FDFE74}"/>
                </a:ext>
              </a:extLst>
            </p:cNvPr>
            <p:cNvSpPr/>
            <p:nvPr/>
          </p:nvSpPr>
          <p:spPr bwMode="auto">
            <a:xfrm>
              <a:off x="4204831" y="1665325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s1ïḑe">
              <a:extLst>
                <a:ext uri="{FF2B5EF4-FFF2-40B4-BE49-F238E27FC236}">
                  <a16:creationId xmlns:a16="http://schemas.microsoft.com/office/drawing/2014/main" id="{514B9990-4F40-48A1-AEB6-0C41C41B574D}"/>
                </a:ext>
              </a:extLst>
            </p:cNvPr>
            <p:cNvSpPr/>
            <p:nvPr/>
          </p:nvSpPr>
          <p:spPr bwMode="auto">
            <a:xfrm>
              <a:off x="4325181" y="1665325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3"/>
                    <a:pt x="23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ṥḷïḋê">
              <a:extLst>
                <a:ext uri="{FF2B5EF4-FFF2-40B4-BE49-F238E27FC236}">
                  <a16:creationId xmlns:a16="http://schemas.microsoft.com/office/drawing/2014/main" id="{9C8F1EAD-F526-4A11-A646-9B140D026C38}"/>
                </a:ext>
              </a:extLst>
            </p:cNvPr>
            <p:cNvSpPr/>
            <p:nvPr/>
          </p:nvSpPr>
          <p:spPr bwMode="auto">
            <a:xfrm>
              <a:off x="444553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ŝḷîḍe">
              <a:extLst>
                <a:ext uri="{FF2B5EF4-FFF2-40B4-BE49-F238E27FC236}">
                  <a16:creationId xmlns:a16="http://schemas.microsoft.com/office/drawing/2014/main" id="{58650973-672C-403E-BF0F-450898870235}"/>
                </a:ext>
              </a:extLst>
            </p:cNvPr>
            <p:cNvSpPr/>
            <p:nvPr/>
          </p:nvSpPr>
          <p:spPr bwMode="auto">
            <a:xfrm>
              <a:off x="456588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$ľíḑé">
              <a:extLst>
                <a:ext uri="{FF2B5EF4-FFF2-40B4-BE49-F238E27FC236}">
                  <a16:creationId xmlns:a16="http://schemas.microsoft.com/office/drawing/2014/main" id="{476B4E57-7128-4F0C-BC96-8FA4CC9B9C52}"/>
                </a:ext>
              </a:extLst>
            </p:cNvPr>
            <p:cNvSpPr/>
            <p:nvPr/>
          </p:nvSpPr>
          <p:spPr bwMode="auto">
            <a:xfrm>
              <a:off x="468623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Sḻíḍê">
              <a:extLst>
                <a:ext uri="{FF2B5EF4-FFF2-40B4-BE49-F238E27FC236}">
                  <a16:creationId xmlns:a16="http://schemas.microsoft.com/office/drawing/2014/main" id="{0A7160F6-F60C-4546-8DC4-41B927826B00}"/>
                </a:ext>
              </a:extLst>
            </p:cNvPr>
            <p:cNvSpPr/>
            <p:nvPr/>
          </p:nvSpPr>
          <p:spPr bwMode="auto">
            <a:xfrm>
              <a:off x="480658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ṧļiḍè">
              <a:extLst>
                <a:ext uri="{FF2B5EF4-FFF2-40B4-BE49-F238E27FC236}">
                  <a16:creationId xmlns:a16="http://schemas.microsoft.com/office/drawing/2014/main" id="{BF46E071-C5A7-4D33-8869-73F70014EDD6}"/>
                </a:ext>
              </a:extLst>
            </p:cNvPr>
            <p:cNvSpPr/>
            <p:nvPr/>
          </p:nvSpPr>
          <p:spPr bwMode="auto">
            <a:xfrm>
              <a:off x="4926930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1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ŝliḑê">
              <a:extLst>
                <a:ext uri="{FF2B5EF4-FFF2-40B4-BE49-F238E27FC236}">
                  <a16:creationId xmlns:a16="http://schemas.microsoft.com/office/drawing/2014/main" id="{0E95F5D3-F2E3-485F-92C6-042437BB0D9C}"/>
                </a:ext>
              </a:extLst>
            </p:cNvPr>
            <p:cNvSpPr/>
            <p:nvPr/>
          </p:nvSpPr>
          <p:spPr bwMode="auto">
            <a:xfrm>
              <a:off x="3697202" y="1734757"/>
              <a:ext cx="109550" cy="58632"/>
            </a:xfrm>
            <a:custGeom>
              <a:avLst/>
              <a:gdLst>
                <a:gd name="T0" fmla="*/ 28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2 w 30"/>
                <a:gd name="T7" fmla="*/ 16 h 16"/>
                <a:gd name="T8" fmla="*/ 28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8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1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ṣḻiḑé">
              <a:extLst>
                <a:ext uri="{FF2B5EF4-FFF2-40B4-BE49-F238E27FC236}">
                  <a16:creationId xmlns:a16="http://schemas.microsoft.com/office/drawing/2014/main" id="{8110ABFE-BC0A-4CC4-A309-84150C5E1A87}"/>
                </a:ext>
              </a:extLst>
            </p:cNvPr>
            <p:cNvSpPr/>
            <p:nvPr/>
          </p:nvSpPr>
          <p:spPr bwMode="auto">
            <a:xfrm>
              <a:off x="3817551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8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5" y="0"/>
                    <a:pt x="18" y="0"/>
                  </a:cubicBezTo>
                  <a:cubicBezTo>
                    <a:pt x="10" y="0"/>
                    <a:pt x="3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šḻîdê">
              <a:extLst>
                <a:ext uri="{FF2B5EF4-FFF2-40B4-BE49-F238E27FC236}">
                  <a16:creationId xmlns:a16="http://schemas.microsoft.com/office/drawing/2014/main" id="{0DA4590B-CE7F-4723-9980-1EB451FF5603}"/>
                </a:ext>
              </a:extLst>
            </p:cNvPr>
            <p:cNvSpPr/>
            <p:nvPr/>
          </p:nvSpPr>
          <p:spPr bwMode="auto">
            <a:xfrm>
              <a:off x="394098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7 w 29"/>
                <a:gd name="T3" fmla="*/ 0 h 16"/>
                <a:gd name="T4" fmla="*/ 1 w 29"/>
                <a:gd name="T5" fmla="*/ 8 h 16"/>
                <a:gd name="T6" fmla="*/ 12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7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îšľíḋé">
              <a:extLst>
                <a:ext uri="{FF2B5EF4-FFF2-40B4-BE49-F238E27FC236}">
                  <a16:creationId xmlns:a16="http://schemas.microsoft.com/office/drawing/2014/main" id="{56635251-E204-48E1-BFF1-51F7D70A6527}"/>
                </a:ext>
              </a:extLst>
            </p:cNvPr>
            <p:cNvSpPr/>
            <p:nvPr/>
          </p:nvSpPr>
          <p:spPr bwMode="auto">
            <a:xfrm>
              <a:off x="4062880" y="1734757"/>
              <a:ext cx="108006" cy="58632"/>
            </a:xfrm>
            <a:custGeom>
              <a:avLst/>
              <a:gdLst>
                <a:gd name="T0" fmla="*/ 28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8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8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ṥ1ïḑè">
              <a:extLst>
                <a:ext uri="{FF2B5EF4-FFF2-40B4-BE49-F238E27FC236}">
                  <a16:creationId xmlns:a16="http://schemas.microsoft.com/office/drawing/2014/main" id="{4C40C306-C6A0-431A-BD6F-2CD34021DE2B}"/>
                </a:ext>
              </a:extLst>
            </p:cNvPr>
            <p:cNvSpPr/>
            <p:nvPr/>
          </p:nvSpPr>
          <p:spPr bwMode="auto">
            <a:xfrm>
              <a:off x="4183230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7 w 30"/>
                <a:gd name="T3" fmla="*/ 0 h 16"/>
                <a:gd name="T4" fmla="*/ 2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ṧlíḋê">
              <a:extLst>
                <a:ext uri="{FF2B5EF4-FFF2-40B4-BE49-F238E27FC236}">
                  <a16:creationId xmlns:a16="http://schemas.microsoft.com/office/drawing/2014/main" id="{74A07EFE-9C8C-4326-AE6F-EC958AEAD3B0}"/>
                </a:ext>
              </a:extLst>
            </p:cNvPr>
            <p:cNvSpPr/>
            <p:nvPr/>
          </p:nvSpPr>
          <p:spPr bwMode="auto">
            <a:xfrm>
              <a:off x="4306666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Sļîḓê">
              <a:extLst>
                <a:ext uri="{FF2B5EF4-FFF2-40B4-BE49-F238E27FC236}">
                  <a16:creationId xmlns:a16="http://schemas.microsoft.com/office/drawing/2014/main" id="{3AA0F2D7-763E-4581-A95B-822D4C8742FB}"/>
                </a:ext>
              </a:extLst>
            </p:cNvPr>
            <p:cNvSpPr/>
            <p:nvPr/>
          </p:nvSpPr>
          <p:spPr bwMode="auto">
            <a:xfrm>
              <a:off x="4427016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4" y="0"/>
                    <a:pt x="17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ṡľíḍé">
              <a:extLst>
                <a:ext uri="{FF2B5EF4-FFF2-40B4-BE49-F238E27FC236}">
                  <a16:creationId xmlns:a16="http://schemas.microsoft.com/office/drawing/2014/main" id="{4A5A70FD-248D-4217-8ED7-9985B4A8EE79}"/>
                </a:ext>
              </a:extLst>
            </p:cNvPr>
            <p:cNvSpPr/>
            <p:nvPr/>
          </p:nvSpPr>
          <p:spPr bwMode="auto">
            <a:xfrm>
              <a:off x="4550451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ṥļîḍè">
              <a:extLst>
                <a:ext uri="{FF2B5EF4-FFF2-40B4-BE49-F238E27FC236}">
                  <a16:creationId xmlns:a16="http://schemas.microsoft.com/office/drawing/2014/main" id="{58A71732-2FC2-45BE-AE4E-B72CF0EEDC83}"/>
                </a:ext>
              </a:extLst>
            </p:cNvPr>
            <p:cNvSpPr/>
            <p:nvPr/>
          </p:nvSpPr>
          <p:spPr bwMode="auto">
            <a:xfrm>
              <a:off x="4670801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şľîde">
              <a:extLst>
                <a:ext uri="{FF2B5EF4-FFF2-40B4-BE49-F238E27FC236}">
                  <a16:creationId xmlns:a16="http://schemas.microsoft.com/office/drawing/2014/main" id="{55B1486B-77A4-4BD1-BC17-227BBC9052B1}"/>
                </a:ext>
              </a:extLst>
            </p:cNvPr>
            <p:cNvSpPr/>
            <p:nvPr/>
          </p:nvSpPr>
          <p:spPr bwMode="auto">
            <a:xfrm>
              <a:off x="4795779" y="1734757"/>
              <a:ext cx="101834" cy="58632"/>
            </a:xfrm>
            <a:custGeom>
              <a:avLst/>
              <a:gdLst>
                <a:gd name="T0" fmla="*/ 28 w 28"/>
                <a:gd name="T1" fmla="*/ 8 h 16"/>
                <a:gd name="T2" fmla="*/ 15 w 28"/>
                <a:gd name="T3" fmla="*/ 0 h 16"/>
                <a:gd name="T4" fmla="*/ 0 w 28"/>
                <a:gd name="T5" fmla="*/ 8 h 16"/>
                <a:gd name="T6" fmla="*/ 13 w 28"/>
                <a:gd name="T7" fmla="*/ 16 h 16"/>
                <a:gd name="T8" fmla="*/ 28 w 28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6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0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ṣ1íḓê">
              <a:extLst>
                <a:ext uri="{FF2B5EF4-FFF2-40B4-BE49-F238E27FC236}">
                  <a16:creationId xmlns:a16="http://schemas.microsoft.com/office/drawing/2014/main" id="{B116E269-1E8F-4A00-A5EA-B9385BAD083E}"/>
                </a:ext>
              </a:extLst>
            </p:cNvPr>
            <p:cNvSpPr/>
            <p:nvPr/>
          </p:nvSpPr>
          <p:spPr bwMode="auto">
            <a:xfrm>
              <a:off x="3919386" y="1804190"/>
              <a:ext cx="109550" cy="61718"/>
            </a:xfrm>
            <a:custGeom>
              <a:avLst/>
              <a:gdLst>
                <a:gd name="T0" fmla="*/ 28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2 w 30"/>
                <a:gd name="T7" fmla="*/ 17 h 17"/>
                <a:gd name="T8" fmla="*/ 28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8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ṥļiḓe">
              <a:extLst>
                <a:ext uri="{FF2B5EF4-FFF2-40B4-BE49-F238E27FC236}">
                  <a16:creationId xmlns:a16="http://schemas.microsoft.com/office/drawing/2014/main" id="{451A9A7D-19C0-4881-896F-63CCBD4D8459}"/>
                </a:ext>
              </a:extLst>
            </p:cNvPr>
            <p:cNvSpPr/>
            <p:nvPr/>
          </p:nvSpPr>
          <p:spPr bwMode="auto">
            <a:xfrm>
              <a:off x="4039736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8 w 30"/>
                <a:gd name="T3" fmla="*/ 0 h 17"/>
                <a:gd name="T4" fmla="*/ 2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8" y="0"/>
                  </a:cubicBezTo>
                  <a:cubicBezTo>
                    <a:pt x="10" y="0"/>
                    <a:pt x="3" y="4"/>
                    <a:pt x="2" y="9"/>
                  </a:cubicBezTo>
                  <a:cubicBezTo>
                    <a:pt x="0" y="13"/>
                    <a:pt x="6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$líḓê">
              <a:extLst>
                <a:ext uri="{FF2B5EF4-FFF2-40B4-BE49-F238E27FC236}">
                  <a16:creationId xmlns:a16="http://schemas.microsoft.com/office/drawing/2014/main" id="{B9259429-A3F0-409C-A362-3E608F038C1C}"/>
                </a:ext>
              </a:extLst>
            </p:cNvPr>
            <p:cNvSpPr/>
            <p:nvPr/>
          </p:nvSpPr>
          <p:spPr bwMode="auto">
            <a:xfrm>
              <a:off x="4164715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3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ṧ1îdê">
              <a:extLst>
                <a:ext uri="{FF2B5EF4-FFF2-40B4-BE49-F238E27FC236}">
                  <a16:creationId xmlns:a16="http://schemas.microsoft.com/office/drawing/2014/main" id="{DFD64054-B554-444A-9BCD-E751F6667FF4}"/>
                </a:ext>
              </a:extLst>
            </p:cNvPr>
            <p:cNvSpPr/>
            <p:nvPr/>
          </p:nvSpPr>
          <p:spPr bwMode="auto">
            <a:xfrm>
              <a:off x="4288151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4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ṣľïḑè">
              <a:extLst>
                <a:ext uri="{FF2B5EF4-FFF2-40B4-BE49-F238E27FC236}">
                  <a16:creationId xmlns:a16="http://schemas.microsoft.com/office/drawing/2014/main" id="{5AC43C73-8333-4126-B9FA-43F14B8C62E2}"/>
                </a:ext>
              </a:extLst>
            </p:cNvPr>
            <p:cNvSpPr/>
            <p:nvPr/>
          </p:nvSpPr>
          <p:spPr bwMode="auto">
            <a:xfrm>
              <a:off x="4413129" y="1804190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śḻîḓe">
              <a:extLst>
                <a:ext uri="{FF2B5EF4-FFF2-40B4-BE49-F238E27FC236}">
                  <a16:creationId xmlns:a16="http://schemas.microsoft.com/office/drawing/2014/main" id="{870906BF-9EEE-4F47-8506-8E3709528C1D}"/>
                </a:ext>
              </a:extLst>
            </p:cNvPr>
            <p:cNvSpPr/>
            <p:nvPr/>
          </p:nvSpPr>
          <p:spPr bwMode="auto">
            <a:xfrm>
              <a:off x="4536564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ïṡļîďê">
              <a:extLst>
                <a:ext uri="{FF2B5EF4-FFF2-40B4-BE49-F238E27FC236}">
                  <a16:creationId xmlns:a16="http://schemas.microsoft.com/office/drawing/2014/main" id="{3C47DBF6-125B-4406-8052-ECA1979660F1}"/>
                </a:ext>
              </a:extLst>
            </p:cNvPr>
            <p:cNvSpPr/>
            <p:nvPr/>
          </p:nvSpPr>
          <p:spPr bwMode="auto">
            <a:xfrm>
              <a:off x="4660000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0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3" y="0"/>
                    <a:pt x="16" y="0"/>
                  </a:cubicBezTo>
                  <a:cubicBezTo>
                    <a:pt x="8" y="0"/>
                    <a:pt x="1" y="4"/>
                    <a:pt x="0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ṣḷíḋe">
              <a:extLst>
                <a:ext uri="{FF2B5EF4-FFF2-40B4-BE49-F238E27FC236}">
                  <a16:creationId xmlns:a16="http://schemas.microsoft.com/office/drawing/2014/main" id="{A68041BE-7FC3-4638-993D-F3CEE1F62360}"/>
                </a:ext>
              </a:extLst>
            </p:cNvPr>
            <p:cNvSpPr/>
            <p:nvPr/>
          </p:nvSpPr>
          <p:spPr bwMode="auto">
            <a:xfrm>
              <a:off x="4780350" y="1804190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ṡlíḍè">
              <a:extLst>
                <a:ext uri="{FF2B5EF4-FFF2-40B4-BE49-F238E27FC236}">
                  <a16:creationId xmlns:a16="http://schemas.microsoft.com/office/drawing/2014/main" id="{7F9E3E1C-646D-438A-AC8C-EC4062150DE5}"/>
                </a:ext>
              </a:extLst>
            </p:cNvPr>
            <p:cNvSpPr/>
            <p:nvPr/>
          </p:nvSpPr>
          <p:spPr bwMode="auto">
            <a:xfrm>
              <a:off x="4022764" y="1878251"/>
              <a:ext cx="108006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śļiḑe">
              <a:extLst>
                <a:ext uri="{FF2B5EF4-FFF2-40B4-BE49-F238E27FC236}">
                  <a16:creationId xmlns:a16="http://schemas.microsoft.com/office/drawing/2014/main" id="{0A96D9D2-37A6-4F44-9D9F-D0BFE1CF91A0}"/>
                </a:ext>
              </a:extLst>
            </p:cNvPr>
            <p:cNvSpPr/>
            <p:nvPr/>
          </p:nvSpPr>
          <p:spPr bwMode="auto">
            <a:xfrm>
              <a:off x="4146199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íṥḻíďè">
              <a:extLst>
                <a:ext uri="{FF2B5EF4-FFF2-40B4-BE49-F238E27FC236}">
                  <a16:creationId xmlns:a16="http://schemas.microsoft.com/office/drawing/2014/main" id="{F9BD573A-96A4-4AED-94D9-A97CF626A4A0}"/>
                </a:ext>
              </a:extLst>
            </p:cNvPr>
            <p:cNvSpPr/>
            <p:nvPr/>
          </p:nvSpPr>
          <p:spPr bwMode="auto">
            <a:xfrm>
              <a:off x="4269635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ṧľiḑè">
              <a:extLst>
                <a:ext uri="{FF2B5EF4-FFF2-40B4-BE49-F238E27FC236}">
                  <a16:creationId xmlns:a16="http://schemas.microsoft.com/office/drawing/2014/main" id="{CDA5AB74-69FA-4697-9008-560996854D69}"/>
                </a:ext>
              </a:extLst>
            </p:cNvPr>
            <p:cNvSpPr/>
            <p:nvPr/>
          </p:nvSpPr>
          <p:spPr bwMode="auto">
            <a:xfrm>
              <a:off x="4394613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4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ṡḻíḑè">
              <a:extLst>
                <a:ext uri="{FF2B5EF4-FFF2-40B4-BE49-F238E27FC236}">
                  <a16:creationId xmlns:a16="http://schemas.microsoft.com/office/drawing/2014/main" id="{9D388ABE-1F57-4E0A-BDC9-6CCDDE35F69B}"/>
                </a:ext>
              </a:extLst>
            </p:cNvPr>
            <p:cNvSpPr/>
            <p:nvPr/>
          </p:nvSpPr>
          <p:spPr bwMode="auto">
            <a:xfrm>
              <a:off x="4522678" y="1878251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ṩľiḑe">
              <a:extLst>
                <a:ext uri="{FF2B5EF4-FFF2-40B4-BE49-F238E27FC236}">
                  <a16:creationId xmlns:a16="http://schemas.microsoft.com/office/drawing/2014/main" id="{A1A2AB6E-FBEB-489A-9CD1-AE20DD0EDBD6}"/>
                </a:ext>
              </a:extLst>
            </p:cNvPr>
            <p:cNvSpPr/>
            <p:nvPr/>
          </p:nvSpPr>
          <p:spPr bwMode="auto">
            <a:xfrm>
              <a:off x="4646114" y="1878251"/>
              <a:ext cx="104920" cy="61718"/>
            </a:xfrm>
            <a:custGeom>
              <a:avLst/>
              <a:gdLst>
                <a:gd name="T0" fmla="*/ 29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şḷîḑè">
              <a:extLst>
                <a:ext uri="{FF2B5EF4-FFF2-40B4-BE49-F238E27FC236}">
                  <a16:creationId xmlns:a16="http://schemas.microsoft.com/office/drawing/2014/main" id="{039A62D6-8D2F-40A9-97A4-9BAEC3DCD666}"/>
                </a:ext>
              </a:extLst>
            </p:cNvPr>
            <p:cNvSpPr/>
            <p:nvPr/>
          </p:nvSpPr>
          <p:spPr bwMode="auto">
            <a:xfrm>
              <a:off x="3999619" y="1953855"/>
              <a:ext cx="114178" cy="63261"/>
            </a:xfrm>
            <a:custGeom>
              <a:avLst/>
              <a:gdLst>
                <a:gd name="T0" fmla="*/ 29 w 31"/>
                <a:gd name="T1" fmla="*/ 8 h 17"/>
                <a:gd name="T2" fmla="*/ 18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31" y="4"/>
                    <a:pt x="25" y="0"/>
                    <a:pt x="18" y="0"/>
                  </a:cubicBezTo>
                  <a:cubicBezTo>
                    <a:pt x="10" y="0"/>
                    <a:pt x="2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îŝḷíḍè">
              <a:extLst>
                <a:ext uri="{FF2B5EF4-FFF2-40B4-BE49-F238E27FC236}">
                  <a16:creationId xmlns:a16="http://schemas.microsoft.com/office/drawing/2014/main" id="{B92C86AE-7B90-4452-9870-DEA6A1F1C0A6}"/>
                </a:ext>
              </a:extLst>
            </p:cNvPr>
            <p:cNvSpPr/>
            <p:nvPr/>
          </p:nvSpPr>
          <p:spPr bwMode="auto">
            <a:xfrm>
              <a:off x="4124598" y="1953855"/>
              <a:ext cx="112636" cy="63261"/>
            </a:xfrm>
            <a:custGeom>
              <a:avLst/>
              <a:gdLst>
                <a:gd name="T0" fmla="*/ 30 w 31"/>
                <a:gd name="T1" fmla="*/ 8 h 17"/>
                <a:gd name="T2" fmla="*/ 18 w 31"/>
                <a:gd name="T3" fmla="*/ 0 h 17"/>
                <a:gd name="T4" fmla="*/ 2 w 31"/>
                <a:gd name="T5" fmla="*/ 8 h 17"/>
                <a:gd name="T6" fmla="*/ 14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0" y="0"/>
                    <a:pt x="3" y="4"/>
                    <a:pt x="2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ṣḷiḋé">
              <a:extLst>
                <a:ext uri="{FF2B5EF4-FFF2-40B4-BE49-F238E27FC236}">
                  <a16:creationId xmlns:a16="http://schemas.microsoft.com/office/drawing/2014/main" id="{A3C25849-D364-4353-BEFE-A77EA6A459B7}"/>
                </a:ext>
              </a:extLst>
            </p:cNvPr>
            <p:cNvSpPr/>
            <p:nvPr/>
          </p:nvSpPr>
          <p:spPr bwMode="auto">
            <a:xfrm>
              <a:off x="4252662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7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31" y="4"/>
                    <a:pt x="25" y="0"/>
                    <a:pt x="17" y="0"/>
                  </a:cubicBezTo>
                  <a:cubicBezTo>
                    <a:pt x="10" y="0"/>
                    <a:pt x="2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sḷïde">
              <a:extLst>
                <a:ext uri="{FF2B5EF4-FFF2-40B4-BE49-F238E27FC236}">
                  <a16:creationId xmlns:a16="http://schemas.microsoft.com/office/drawing/2014/main" id="{4BCE7869-A8FE-493F-8BA4-9B7E7676979C}"/>
                </a:ext>
              </a:extLst>
            </p:cNvPr>
            <p:cNvSpPr/>
            <p:nvPr/>
          </p:nvSpPr>
          <p:spPr bwMode="auto">
            <a:xfrm>
              <a:off x="4106083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8 w 31"/>
                <a:gd name="T3" fmla="*/ 0 h 17"/>
                <a:gd name="T4" fmla="*/ 1 w 31"/>
                <a:gd name="T5" fmla="*/ 9 h 17"/>
                <a:gd name="T6" fmla="*/ 13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5" y="0"/>
                    <a:pt x="18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ṣḷiďe">
              <a:extLst>
                <a:ext uri="{FF2B5EF4-FFF2-40B4-BE49-F238E27FC236}">
                  <a16:creationId xmlns:a16="http://schemas.microsoft.com/office/drawing/2014/main" id="{4BF4A3B5-5726-4660-9384-353D74C19AD0}"/>
                </a:ext>
              </a:extLst>
            </p:cNvPr>
            <p:cNvSpPr/>
            <p:nvPr/>
          </p:nvSpPr>
          <p:spPr bwMode="auto">
            <a:xfrm>
              <a:off x="4883728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6 w 30"/>
                <a:gd name="T3" fmla="*/ 0 h 17"/>
                <a:gd name="T4" fmla="*/ 1 w 30"/>
                <a:gd name="T5" fmla="*/ 8 h 17"/>
                <a:gd name="T6" fmla="*/ 14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$ḻïḍê">
              <a:extLst>
                <a:ext uri="{FF2B5EF4-FFF2-40B4-BE49-F238E27FC236}">
                  <a16:creationId xmlns:a16="http://schemas.microsoft.com/office/drawing/2014/main" id="{0A745F1C-08B1-4F4B-A7E6-7BDDCF8F082E}"/>
                </a:ext>
              </a:extLst>
            </p:cNvPr>
            <p:cNvSpPr/>
            <p:nvPr/>
          </p:nvSpPr>
          <p:spPr bwMode="auto">
            <a:xfrm>
              <a:off x="5010250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6 w 29"/>
                <a:gd name="T3" fmla="*/ 0 h 17"/>
                <a:gd name="T4" fmla="*/ 1 w 29"/>
                <a:gd name="T5" fmla="*/ 8 h 17"/>
                <a:gd name="T6" fmla="*/ 14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9" y="4"/>
                    <a:pt x="23" y="0"/>
                    <a:pt x="16" y="0"/>
                  </a:cubicBezTo>
                  <a:cubicBezTo>
                    <a:pt x="8" y="0"/>
                    <a:pt x="1" y="4"/>
                    <a:pt x="1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ṩ1ïḑê">
              <a:extLst>
                <a:ext uri="{FF2B5EF4-FFF2-40B4-BE49-F238E27FC236}">
                  <a16:creationId xmlns:a16="http://schemas.microsoft.com/office/drawing/2014/main" id="{46DF919E-0FED-4232-B43B-901D2C2EE09F}"/>
                </a:ext>
              </a:extLst>
            </p:cNvPr>
            <p:cNvSpPr/>
            <p:nvPr/>
          </p:nvSpPr>
          <p:spPr bwMode="auto">
            <a:xfrm>
              <a:off x="6525423" y="1953855"/>
              <a:ext cx="104920" cy="63261"/>
            </a:xfrm>
            <a:custGeom>
              <a:avLst/>
              <a:gdLst>
                <a:gd name="T0" fmla="*/ 28 w 29"/>
                <a:gd name="T1" fmla="*/ 8 h 17"/>
                <a:gd name="T2" fmla="*/ 13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S1íḍê">
              <a:extLst>
                <a:ext uri="{FF2B5EF4-FFF2-40B4-BE49-F238E27FC236}">
                  <a16:creationId xmlns:a16="http://schemas.microsoft.com/office/drawing/2014/main" id="{7ADF4484-2B63-4866-95E9-F6533AC04674}"/>
                </a:ext>
              </a:extLst>
            </p:cNvPr>
            <p:cNvSpPr/>
            <p:nvPr/>
          </p:nvSpPr>
          <p:spPr bwMode="auto">
            <a:xfrm>
              <a:off x="6533137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4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S1ïḍè">
              <a:extLst>
                <a:ext uri="{FF2B5EF4-FFF2-40B4-BE49-F238E27FC236}">
                  <a16:creationId xmlns:a16="http://schemas.microsoft.com/office/drawing/2014/main" id="{90FF7D1D-E27D-457D-B161-C743D06AF2BA}"/>
                </a:ext>
              </a:extLst>
            </p:cNvPr>
            <p:cNvSpPr/>
            <p:nvPr/>
          </p:nvSpPr>
          <p:spPr bwMode="auto">
            <a:xfrm>
              <a:off x="6539309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şḻîḍê">
              <a:extLst>
                <a:ext uri="{FF2B5EF4-FFF2-40B4-BE49-F238E27FC236}">
                  <a16:creationId xmlns:a16="http://schemas.microsoft.com/office/drawing/2014/main" id="{BC76014A-FFC0-4221-97FB-2EBB2B686BE1}"/>
                </a:ext>
              </a:extLst>
            </p:cNvPr>
            <p:cNvSpPr/>
            <p:nvPr/>
          </p:nvSpPr>
          <p:spPr bwMode="auto">
            <a:xfrm>
              <a:off x="6557824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ṥḷîḑe">
              <a:extLst>
                <a:ext uri="{FF2B5EF4-FFF2-40B4-BE49-F238E27FC236}">
                  <a16:creationId xmlns:a16="http://schemas.microsoft.com/office/drawing/2014/main" id="{2F8FFEB5-9F4D-4F87-81B5-2F716B7528AB}"/>
                </a:ext>
              </a:extLst>
            </p:cNvPr>
            <p:cNvSpPr/>
            <p:nvPr/>
          </p:nvSpPr>
          <p:spPr bwMode="auto">
            <a:xfrm>
              <a:off x="6153572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5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S1ïḑê">
              <a:extLst>
                <a:ext uri="{FF2B5EF4-FFF2-40B4-BE49-F238E27FC236}">
                  <a16:creationId xmlns:a16="http://schemas.microsoft.com/office/drawing/2014/main" id="{68C5BF0E-200F-4363-B74E-E792428E1E72}"/>
                </a:ext>
              </a:extLst>
            </p:cNvPr>
            <p:cNvSpPr/>
            <p:nvPr/>
          </p:nvSpPr>
          <p:spPr bwMode="auto">
            <a:xfrm>
              <a:off x="6284723" y="2108150"/>
              <a:ext cx="104920" cy="64804"/>
            </a:xfrm>
            <a:custGeom>
              <a:avLst/>
              <a:gdLst>
                <a:gd name="T0" fmla="*/ 29 w 29"/>
                <a:gd name="T1" fmla="*/ 9 h 18"/>
                <a:gd name="T2" fmla="*/ 14 w 29"/>
                <a:gd name="T3" fmla="*/ 0 h 18"/>
                <a:gd name="T4" fmla="*/ 0 w 29"/>
                <a:gd name="T5" fmla="*/ 9 h 18"/>
                <a:gd name="T6" fmla="*/ 15 w 29"/>
                <a:gd name="T7" fmla="*/ 18 h 18"/>
                <a:gd name="T8" fmla="*/ 29 w 29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8"/>
                    <a:pt x="15" y="18"/>
                  </a:cubicBezTo>
                  <a:cubicBezTo>
                    <a:pt x="23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ṧļïḑê">
              <a:extLst>
                <a:ext uri="{FF2B5EF4-FFF2-40B4-BE49-F238E27FC236}">
                  <a16:creationId xmlns:a16="http://schemas.microsoft.com/office/drawing/2014/main" id="{0201647D-D3B6-4970-B16E-41C6728B51DD}"/>
                </a:ext>
              </a:extLst>
            </p:cNvPr>
            <p:cNvSpPr/>
            <p:nvPr/>
          </p:nvSpPr>
          <p:spPr bwMode="auto">
            <a:xfrm>
              <a:off x="6412787" y="2108150"/>
              <a:ext cx="108006" cy="64804"/>
            </a:xfrm>
            <a:custGeom>
              <a:avLst/>
              <a:gdLst>
                <a:gd name="T0" fmla="*/ 29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šlïḋê">
              <a:extLst>
                <a:ext uri="{FF2B5EF4-FFF2-40B4-BE49-F238E27FC236}">
                  <a16:creationId xmlns:a16="http://schemas.microsoft.com/office/drawing/2014/main" id="{391FE1A3-3F69-4F5B-856B-85891855E5DD}"/>
                </a:ext>
              </a:extLst>
            </p:cNvPr>
            <p:cNvSpPr/>
            <p:nvPr/>
          </p:nvSpPr>
          <p:spPr bwMode="auto">
            <a:xfrm>
              <a:off x="6287809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1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şḷîḍè">
              <a:extLst>
                <a:ext uri="{FF2B5EF4-FFF2-40B4-BE49-F238E27FC236}">
                  <a16:creationId xmlns:a16="http://schemas.microsoft.com/office/drawing/2014/main" id="{612D735B-6A34-4F5B-97E5-625F30EEA2E3}"/>
                </a:ext>
              </a:extLst>
            </p:cNvPr>
            <p:cNvSpPr/>
            <p:nvPr/>
          </p:nvSpPr>
          <p:spPr bwMode="auto">
            <a:xfrm>
              <a:off x="6418959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ş1iḋe">
              <a:extLst>
                <a:ext uri="{FF2B5EF4-FFF2-40B4-BE49-F238E27FC236}">
                  <a16:creationId xmlns:a16="http://schemas.microsoft.com/office/drawing/2014/main" id="{45664554-490F-4F4E-AD8D-79710FD20A1B}"/>
                </a:ext>
              </a:extLst>
            </p:cNvPr>
            <p:cNvSpPr/>
            <p:nvPr/>
          </p:nvSpPr>
          <p:spPr bwMode="auto">
            <a:xfrm>
              <a:off x="6295524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ṧľïdè">
              <a:extLst>
                <a:ext uri="{FF2B5EF4-FFF2-40B4-BE49-F238E27FC236}">
                  <a16:creationId xmlns:a16="http://schemas.microsoft.com/office/drawing/2014/main" id="{B98F971A-D436-484C-B60B-4FD64C78AD93}"/>
                </a:ext>
              </a:extLst>
            </p:cNvPr>
            <p:cNvSpPr/>
            <p:nvPr/>
          </p:nvSpPr>
          <p:spPr bwMode="auto">
            <a:xfrm>
              <a:off x="6426674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šľíḍé">
              <a:extLst>
                <a:ext uri="{FF2B5EF4-FFF2-40B4-BE49-F238E27FC236}">
                  <a16:creationId xmlns:a16="http://schemas.microsoft.com/office/drawing/2014/main" id="{79881DF1-2DD5-42F9-BEDA-B4EFCE4C0406}"/>
                </a:ext>
              </a:extLst>
            </p:cNvPr>
            <p:cNvSpPr/>
            <p:nvPr/>
          </p:nvSpPr>
          <p:spPr bwMode="auto">
            <a:xfrm>
              <a:off x="6298609" y="2356565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5"/>
                    <a:pt x="8" y="19"/>
                    <a:pt x="17" y="19"/>
                  </a:cubicBezTo>
                  <a:cubicBezTo>
                    <a:pt x="25" y="19"/>
                    <a:pt x="31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ṥľïḓè">
              <a:extLst>
                <a:ext uri="{FF2B5EF4-FFF2-40B4-BE49-F238E27FC236}">
                  <a16:creationId xmlns:a16="http://schemas.microsoft.com/office/drawing/2014/main" id="{253E1845-FF1D-47AF-957F-1F3C1C4F06AC}"/>
                </a:ext>
              </a:extLst>
            </p:cNvPr>
            <p:cNvSpPr/>
            <p:nvPr/>
          </p:nvSpPr>
          <p:spPr bwMode="auto">
            <a:xfrm>
              <a:off x="6434389" y="2356565"/>
              <a:ext cx="112636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6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5"/>
                    <a:pt x="8" y="19"/>
                    <a:pt x="16" y="19"/>
                  </a:cubicBezTo>
                  <a:cubicBezTo>
                    <a:pt x="25" y="19"/>
                    <a:pt x="31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šlïḓé">
              <a:extLst>
                <a:ext uri="{FF2B5EF4-FFF2-40B4-BE49-F238E27FC236}">
                  <a16:creationId xmlns:a16="http://schemas.microsoft.com/office/drawing/2014/main" id="{3526451E-E1B4-4AF3-9FF5-DA267DFD6A2D}"/>
                </a:ext>
              </a:extLst>
            </p:cNvPr>
            <p:cNvSpPr/>
            <p:nvPr/>
          </p:nvSpPr>
          <p:spPr bwMode="auto">
            <a:xfrm>
              <a:off x="5886643" y="1878251"/>
              <a:ext cx="101834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4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şļîďé">
              <a:extLst>
                <a:ext uri="{FF2B5EF4-FFF2-40B4-BE49-F238E27FC236}">
                  <a16:creationId xmlns:a16="http://schemas.microsoft.com/office/drawing/2014/main" id="{14D2E5E5-1E99-4688-996E-8C605047DB00}"/>
                </a:ext>
              </a:extLst>
            </p:cNvPr>
            <p:cNvSpPr/>
            <p:nvPr/>
          </p:nvSpPr>
          <p:spPr bwMode="auto">
            <a:xfrm>
              <a:off x="6010079" y="1878251"/>
              <a:ext cx="103378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4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îśľíḓé">
              <a:extLst>
                <a:ext uri="{FF2B5EF4-FFF2-40B4-BE49-F238E27FC236}">
                  <a16:creationId xmlns:a16="http://schemas.microsoft.com/office/drawing/2014/main" id="{5E5081D1-EA35-49F7-AB4C-8306C1F8561C}"/>
                </a:ext>
              </a:extLst>
            </p:cNvPr>
            <p:cNvSpPr/>
            <p:nvPr/>
          </p:nvSpPr>
          <p:spPr bwMode="auto">
            <a:xfrm>
              <a:off x="6135057" y="1878251"/>
              <a:ext cx="101834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5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Sḻïdè">
              <a:extLst>
                <a:ext uri="{FF2B5EF4-FFF2-40B4-BE49-F238E27FC236}">
                  <a16:creationId xmlns:a16="http://schemas.microsoft.com/office/drawing/2014/main" id="{DBF1632D-FDFF-48A1-8C97-B2B2702E9288}"/>
                </a:ext>
              </a:extLst>
            </p:cNvPr>
            <p:cNvSpPr/>
            <p:nvPr/>
          </p:nvSpPr>
          <p:spPr bwMode="auto">
            <a:xfrm>
              <a:off x="6258493" y="1878251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ŝļiḓê">
              <a:extLst>
                <a:ext uri="{FF2B5EF4-FFF2-40B4-BE49-F238E27FC236}">
                  <a16:creationId xmlns:a16="http://schemas.microsoft.com/office/drawing/2014/main" id="{8030B5CF-77DD-4B4F-B627-8D4A91A86A50}"/>
                </a:ext>
              </a:extLst>
            </p:cNvPr>
            <p:cNvSpPr/>
            <p:nvPr/>
          </p:nvSpPr>
          <p:spPr bwMode="auto">
            <a:xfrm>
              <a:off x="6383472" y="1878251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iSlîḍè">
              <a:extLst>
                <a:ext uri="{FF2B5EF4-FFF2-40B4-BE49-F238E27FC236}">
                  <a16:creationId xmlns:a16="http://schemas.microsoft.com/office/drawing/2014/main" id="{813B10B0-70FB-4535-85F3-B94E33A6E591}"/>
                </a:ext>
              </a:extLst>
            </p:cNvPr>
            <p:cNvSpPr/>
            <p:nvPr/>
          </p:nvSpPr>
          <p:spPr bwMode="auto">
            <a:xfrm>
              <a:off x="5758578" y="1953855"/>
              <a:ext cx="106464" cy="63261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$1ïḑe">
              <a:extLst>
                <a:ext uri="{FF2B5EF4-FFF2-40B4-BE49-F238E27FC236}">
                  <a16:creationId xmlns:a16="http://schemas.microsoft.com/office/drawing/2014/main" id="{EA2EB7CD-2312-4AA2-8910-05D7C7B60A1B}"/>
                </a:ext>
              </a:extLst>
            </p:cNvPr>
            <p:cNvSpPr/>
            <p:nvPr/>
          </p:nvSpPr>
          <p:spPr bwMode="auto">
            <a:xfrm>
              <a:off x="5886643" y="1953855"/>
              <a:ext cx="101834" cy="63261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s1ïḑe">
              <a:extLst>
                <a:ext uri="{FF2B5EF4-FFF2-40B4-BE49-F238E27FC236}">
                  <a16:creationId xmlns:a16="http://schemas.microsoft.com/office/drawing/2014/main" id="{B055D655-66A0-469F-98AD-57247B6AE196}"/>
                </a:ext>
              </a:extLst>
            </p:cNvPr>
            <p:cNvSpPr/>
            <p:nvPr/>
          </p:nvSpPr>
          <p:spPr bwMode="auto">
            <a:xfrm>
              <a:off x="6010079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4 w 29"/>
                <a:gd name="T3" fmla="*/ 0 h 17"/>
                <a:gd name="T4" fmla="*/ 1 w 29"/>
                <a:gd name="T5" fmla="*/ 8 h 17"/>
                <a:gd name="T6" fmla="*/ 15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1" y="8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ṡḷîḍé">
              <a:extLst>
                <a:ext uri="{FF2B5EF4-FFF2-40B4-BE49-F238E27FC236}">
                  <a16:creationId xmlns:a16="http://schemas.microsoft.com/office/drawing/2014/main" id="{D8D5AC71-65AC-48DF-9262-B4C005BB10AC}"/>
                </a:ext>
              </a:extLst>
            </p:cNvPr>
            <p:cNvSpPr/>
            <p:nvPr/>
          </p:nvSpPr>
          <p:spPr bwMode="auto">
            <a:xfrm>
              <a:off x="6138143" y="1953855"/>
              <a:ext cx="106464" cy="63261"/>
            </a:xfrm>
            <a:custGeom>
              <a:avLst/>
              <a:gdLst>
                <a:gd name="T0" fmla="*/ 28 w 29"/>
                <a:gd name="T1" fmla="*/ 8 h 17"/>
                <a:gd name="T2" fmla="*/ 14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ŝḷïḍe">
              <a:extLst>
                <a:ext uri="{FF2B5EF4-FFF2-40B4-BE49-F238E27FC236}">
                  <a16:creationId xmlns:a16="http://schemas.microsoft.com/office/drawing/2014/main" id="{207BA2F1-30A3-4567-AB43-97104BE04DA1}"/>
                </a:ext>
              </a:extLst>
            </p:cNvPr>
            <p:cNvSpPr/>
            <p:nvPr/>
          </p:nvSpPr>
          <p:spPr bwMode="auto">
            <a:xfrm>
              <a:off x="6263122" y="1953855"/>
              <a:ext cx="104920" cy="63261"/>
            </a:xfrm>
            <a:custGeom>
              <a:avLst/>
              <a:gdLst>
                <a:gd name="T0" fmla="*/ 29 w 29"/>
                <a:gd name="T1" fmla="*/ 8 h 17"/>
                <a:gd name="T2" fmla="*/ 14 w 29"/>
                <a:gd name="T3" fmla="*/ 0 h 17"/>
                <a:gd name="T4" fmla="*/ 1 w 29"/>
                <a:gd name="T5" fmla="*/ 8 h 17"/>
                <a:gd name="T6" fmla="*/ 15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slîḑê">
              <a:extLst>
                <a:ext uri="{FF2B5EF4-FFF2-40B4-BE49-F238E27FC236}">
                  <a16:creationId xmlns:a16="http://schemas.microsoft.com/office/drawing/2014/main" id="{258442FA-32C4-4D6D-ADB2-BD6833FF4857}"/>
                </a:ext>
              </a:extLst>
            </p:cNvPr>
            <p:cNvSpPr/>
            <p:nvPr/>
          </p:nvSpPr>
          <p:spPr bwMode="auto">
            <a:xfrm>
              <a:off x="6389644" y="1953855"/>
              <a:ext cx="106464" cy="63261"/>
            </a:xfrm>
            <a:custGeom>
              <a:avLst/>
              <a:gdLst>
                <a:gd name="T0" fmla="*/ 28 w 29"/>
                <a:gd name="T1" fmla="*/ 8 h 17"/>
                <a:gd name="T2" fmla="*/ 14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Sḷiḓé">
              <a:extLst>
                <a:ext uri="{FF2B5EF4-FFF2-40B4-BE49-F238E27FC236}">
                  <a16:creationId xmlns:a16="http://schemas.microsoft.com/office/drawing/2014/main" id="{B69F2BCA-4F01-4EEF-B49D-883E974D423D}"/>
                </a:ext>
              </a:extLst>
            </p:cNvPr>
            <p:cNvSpPr/>
            <p:nvPr/>
          </p:nvSpPr>
          <p:spPr bwMode="auto">
            <a:xfrm>
              <a:off x="563051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5 w 29"/>
                <a:gd name="T3" fmla="*/ 0 h 17"/>
                <a:gd name="T4" fmla="*/ 0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ṣľîḋê">
              <a:extLst>
                <a:ext uri="{FF2B5EF4-FFF2-40B4-BE49-F238E27FC236}">
                  <a16:creationId xmlns:a16="http://schemas.microsoft.com/office/drawing/2014/main" id="{0F291890-1EDB-4E10-BC20-DBF2FE9D5198}"/>
                </a:ext>
              </a:extLst>
            </p:cNvPr>
            <p:cNvSpPr/>
            <p:nvPr/>
          </p:nvSpPr>
          <p:spPr bwMode="auto">
            <a:xfrm>
              <a:off x="5758578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5 w 29"/>
                <a:gd name="T3" fmla="*/ 0 h 17"/>
                <a:gd name="T4" fmla="*/ 0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3"/>
                    <a:pt x="7" y="17"/>
                    <a:pt x="14" y="17"/>
                  </a:cubicBezTo>
                  <a:cubicBezTo>
                    <a:pt x="22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ŝ1ídè">
              <a:extLst>
                <a:ext uri="{FF2B5EF4-FFF2-40B4-BE49-F238E27FC236}">
                  <a16:creationId xmlns:a16="http://schemas.microsoft.com/office/drawing/2014/main" id="{BE430328-F3A6-4849-A1A1-927C452C48C1}"/>
                </a:ext>
              </a:extLst>
            </p:cNvPr>
            <p:cNvSpPr/>
            <p:nvPr/>
          </p:nvSpPr>
          <p:spPr bwMode="auto">
            <a:xfrm>
              <a:off x="5886643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śļîdé">
              <a:extLst>
                <a:ext uri="{FF2B5EF4-FFF2-40B4-BE49-F238E27FC236}">
                  <a16:creationId xmlns:a16="http://schemas.microsoft.com/office/drawing/2014/main" id="{D36AD91E-2C47-4C1E-A3C8-895F80DE39BB}"/>
                </a:ext>
              </a:extLst>
            </p:cNvPr>
            <p:cNvSpPr/>
            <p:nvPr/>
          </p:nvSpPr>
          <p:spPr bwMode="auto">
            <a:xfrm>
              <a:off x="614894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1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Sḷïḓè">
              <a:extLst>
                <a:ext uri="{FF2B5EF4-FFF2-40B4-BE49-F238E27FC236}">
                  <a16:creationId xmlns:a16="http://schemas.microsoft.com/office/drawing/2014/main" id="{A7A47357-A2A2-4606-94A4-45CAB7AC262B}"/>
                </a:ext>
              </a:extLst>
            </p:cNvPr>
            <p:cNvSpPr/>
            <p:nvPr/>
          </p:nvSpPr>
          <p:spPr bwMode="auto">
            <a:xfrm>
              <a:off x="626929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$ľiḋé">
              <a:extLst>
                <a:ext uri="{FF2B5EF4-FFF2-40B4-BE49-F238E27FC236}">
                  <a16:creationId xmlns:a16="http://schemas.microsoft.com/office/drawing/2014/main" id="{0034B92E-36D7-46B7-8F0A-D26E3B5BF312}"/>
                </a:ext>
              </a:extLst>
            </p:cNvPr>
            <p:cNvSpPr/>
            <p:nvPr/>
          </p:nvSpPr>
          <p:spPr bwMode="auto">
            <a:xfrm>
              <a:off x="6397358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Sḷídê">
              <a:extLst>
                <a:ext uri="{FF2B5EF4-FFF2-40B4-BE49-F238E27FC236}">
                  <a16:creationId xmlns:a16="http://schemas.microsoft.com/office/drawing/2014/main" id="{8D46C6D5-C8C6-4D3D-BF68-91A0B8B44DE6}"/>
                </a:ext>
              </a:extLst>
            </p:cNvPr>
            <p:cNvSpPr/>
            <p:nvPr/>
          </p:nvSpPr>
          <p:spPr bwMode="auto">
            <a:xfrm>
              <a:off x="5627428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5 w 30"/>
                <a:gd name="T3" fmla="*/ 0 h 18"/>
                <a:gd name="T4" fmla="*/ 1 w 30"/>
                <a:gd name="T5" fmla="*/ 9 h 18"/>
                <a:gd name="T6" fmla="*/ 15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1" y="9"/>
                  </a:cubicBezTo>
                  <a:cubicBezTo>
                    <a:pt x="0" y="14"/>
                    <a:pt x="7" y="18"/>
                    <a:pt x="15" y="18"/>
                  </a:cubicBezTo>
                  <a:cubicBezTo>
                    <a:pt x="23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šļïḍê">
              <a:extLst>
                <a:ext uri="{FF2B5EF4-FFF2-40B4-BE49-F238E27FC236}">
                  <a16:creationId xmlns:a16="http://schemas.microsoft.com/office/drawing/2014/main" id="{871E38A1-BC1C-4281-B9E3-78FF44551981}"/>
                </a:ext>
              </a:extLst>
            </p:cNvPr>
            <p:cNvSpPr/>
            <p:nvPr/>
          </p:nvSpPr>
          <p:spPr bwMode="auto">
            <a:xfrm>
              <a:off x="5758578" y="2108150"/>
              <a:ext cx="106464" cy="64804"/>
            </a:xfrm>
            <a:custGeom>
              <a:avLst/>
              <a:gdLst>
                <a:gd name="T0" fmla="*/ 29 w 29"/>
                <a:gd name="T1" fmla="*/ 9 h 18"/>
                <a:gd name="T2" fmla="*/ 14 w 29"/>
                <a:gd name="T3" fmla="*/ 0 h 18"/>
                <a:gd name="T4" fmla="*/ 0 w 29"/>
                <a:gd name="T5" fmla="*/ 9 h 18"/>
                <a:gd name="T6" fmla="*/ 14 w 29"/>
                <a:gd name="T7" fmla="*/ 18 h 18"/>
                <a:gd name="T8" fmla="*/ 29 w 29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22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ṧḻïḍè">
              <a:extLst>
                <a:ext uri="{FF2B5EF4-FFF2-40B4-BE49-F238E27FC236}">
                  <a16:creationId xmlns:a16="http://schemas.microsoft.com/office/drawing/2014/main" id="{30E57851-1BB4-4D40-B02B-C4F52257654B}"/>
                </a:ext>
              </a:extLst>
            </p:cNvPr>
            <p:cNvSpPr/>
            <p:nvPr/>
          </p:nvSpPr>
          <p:spPr bwMode="auto">
            <a:xfrm>
              <a:off x="5886643" y="2108150"/>
              <a:ext cx="106464" cy="64804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šḻiḍé">
              <a:extLst>
                <a:ext uri="{FF2B5EF4-FFF2-40B4-BE49-F238E27FC236}">
                  <a16:creationId xmlns:a16="http://schemas.microsoft.com/office/drawing/2014/main" id="{B9FDB5F2-E2F2-43B8-9B0F-A0A54C2EDA6C}"/>
                </a:ext>
              </a:extLst>
            </p:cNvPr>
            <p:cNvSpPr/>
            <p:nvPr/>
          </p:nvSpPr>
          <p:spPr bwMode="auto">
            <a:xfrm>
              <a:off x="5635142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1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1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ṧḻiďe">
              <a:extLst>
                <a:ext uri="{FF2B5EF4-FFF2-40B4-BE49-F238E27FC236}">
                  <a16:creationId xmlns:a16="http://schemas.microsoft.com/office/drawing/2014/main" id="{52631043-3FA2-49FC-B77A-11CD157C7FEB}"/>
                </a:ext>
              </a:extLst>
            </p:cNvPr>
            <p:cNvSpPr/>
            <p:nvPr/>
          </p:nvSpPr>
          <p:spPr bwMode="auto">
            <a:xfrm>
              <a:off x="5766293" y="2188383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$ľíďe">
              <a:extLst>
                <a:ext uri="{FF2B5EF4-FFF2-40B4-BE49-F238E27FC236}">
                  <a16:creationId xmlns:a16="http://schemas.microsoft.com/office/drawing/2014/main" id="{F86B6370-0616-4941-B1ED-E1EE82BFA63E}"/>
                </a:ext>
              </a:extLst>
            </p:cNvPr>
            <p:cNvSpPr/>
            <p:nvPr/>
          </p:nvSpPr>
          <p:spPr bwMode="auto">
            <a:xfrm>
              <a:off x="5897443" y="2188383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šlïḍe">
              <a:extLst>
                <a:ext uri="{FF2B5EF4-FFF2-40B4-BE49-F238E27FC236}">
                  <a16:creationId xmlns:a16="http://schemas.microsoft.com/office/drawing/2014/main" id="{7C676BEC-A2F0-4F1E-9857-FF0FFB4C54B8}"/>
                </a:ext>
              </a:extLst>
            </p:cNvPr>
            <p:cNvSpPr/>
            <p:nvPr/>
          </p:nvSpPr>
          <p:spPr bwMode="auto">
            <a:xfrm>
              <a:off x="6028594" y="2188383"/>
              <a:ext cx="106464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iṧļïďê">
              <a:extLst>
                <a:ext uri="{FF2B5EF4-FFF2-40B4-BE49-F238E27FC236}">
                  <a16:creationId xmlns:a16="http://schemas.microsoft.com/office/drawing/2014/main" id="{5711445A-6057-4F0F-8999-1339A1F8277C}"/>
                </a:ext>
              </a:extLst>
            </p:cNvPr>
            <p:cNvSpPr/>
            <p:nvPr/>
          </p:nvSpPr>
          <p:spPr bwMode="auto">
            <a:xfrm>
              <a:off x="6159744" y="2188383"/>
              <a:ext cx="106464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şḷiďè">
              <a:extLst>
                <a:ext uri="{FF2B5EF4-FFF2-40B4-BE49-F238E27FC236}">
                  <a16:creationId xmlns:a16="http://schemas.microsoft.com/office/drawing/2014/main" id="{AC1E4B2E-DCD9-4478-8592-39F852482C3F}"/>
                </a:ext>
              </a:extLst>
            </p:cNvPr>
            <p:cNvSpPr/>
            <p:nvPr/>
          </p:nvSpPr>
          <p:spPr bwMode="auto">
            <a:xfrm>
              <a:off x="5379013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5 w 30"/>
                <a:gd name="T3" fmla="*/ 0 h 18"/>
                <a:gd name="T4" fmla="*/ 0 w 30"/>
                <a:gd name="T5" fmla="*/ 9 h 18"/>
                <a:gd name="T6" fmla="*/ 14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22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śļiḍe">
              <a:extLst>
                <a:ext uri="{FF2B5EF4-FFF2-40B4-BE49-F238E27FC236}">
                  <a16:creationId xmlns:a16="http://schemas.microsoft.com/office/drawing/2014/main" id="{3035A0B6-D204-4CDF-B3E3-8B29F8C596EC}"/>
                </a:ext>
              </a:extLst>
            </p:cNvPr>
            <p:cNvSpPr/>
            <p:nvPr/>
          </p:nvSpPr>
          <p:spPr bwMode="auto">
            <a:xfrm>
              <a:off x="5244777" y="2188383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s1îḍè">
              <a:extLst>
                <a:ext uri="{FF2B5EF4-FFF2-40B4-BE49-F238E27FC236}">
                  <a16:creationId xmlns:a16="http://schemas.microsoft.com/office/drawing/2014/main" id="{4AA006D0-CE14-488C-AB15-1034011ECB2B}"/>
                </a:ext>
              </a:extLst>
            </p:cNvPr>
            <p:cNvSpPr/>
            <p:nvPr/>
          </p:nvSpPr>
          <p:spPr bwMode="auto">
            <a:xfrm>
              <a:off x="5375927" y="2188383"/>
              <a:ext cx="104920" cy="69433"/>
            </a:xfrm>
            <a:custGeom>
              <a:avLst/>
              <a:gdLst>
                <a:gd name="T0" fmla="*/ 29 w 29"/>
                <a:gd name="T1" fmla="*/ 9 h 19"/>
                <a:gd name="T2" fmla="*/ 15 w 29"/>
                <a:gd name="T3" fmla="*/ 0 h 19"/>
                <a:gd name="T4" fmla="*/ 0 w 29"/>
                <a:gd name="T5" fmla="*/ 9 h 19"/>
                <a:gd name="T6" fmla="*/ 14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ṣḻïḋé">
              <a:extLst>
                <a:ext uri="{FF2B5EF4-FFF2-40B4-BE49-F238E27FC236}">
                  <a16:creationId xmlns:a16="http://schemas.microsoft.com/office/drawing/2014/main" id="{8AF76197-24D1-4CB6-A397-524B48C40FEB}"/>
                </a:ext>
              </a:extLst>
            </p:cNvPr>
            <p:cNvSpPr/>
            <p:nvPr/>
          </p:nvSpPr>
          <p:spPr bwMode="auto">
            <a:xfrm>
              <a:off x="5237062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6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ṥļïďé">
              <a:extLst>
                <a:ext uri="{FF2B5EF4-FFF2-40B4-BE49-F238E27FC236}">
                  <a16:creationId xmlns:a16="http://schemas.microsoft.com/office/drawing/2014/main" id="{3D618F6A-138B-484A-9A33-CACF0BDDFE80}"/>
                </a:ext>
              </a:extLst>
            </p:cNvPr>
            <p:cNvSpPr/>
            <p:nvPr/>
          </p:nvSpPr>
          <p:spPr bwMode="auto">
            <a:xfrm>
              <a:off x="5499363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6 w 30"/>
                <a:gd name="T3" fmla="*/ 0 h 19"/>
                <a:gd name="T4" fmla="*/ 1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8" y="0"/>
                    <a:pt x="1" y="4"/>
                    <a:pt x="1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šḻïḑê">
              <a:extLst>
                <a:ext uri="{FF2B5EF4-FFF2-40B4-BE49-F238E27FC236}">
                  <a16:creationId xmlns:a16="http://schemas.microsoft.com/office/drawing/2014/main" id="{1690345C-5D94-47B6-BDCB-7F28E1D3ED98}"/>
                </a:ext>
              </a:extLst>
            </p:cNvPr>
            <p:cNvSpPr/>
            <p:nvPr/>
          </p:nvSpPr>
          <p:spPr bwMode="auto">
            <a:xfrm>
              <a:off x="5635142" y="2271702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ṡlïḓé">
              <a:extLst>
                <a:ext uri="{FF2B5EF4-FFF2-40B4-BE49-F238E27FC236}">
                  <a16:creationId xmlns:a16="http://schemas.microsoft.com/office/drawing/2014/main" id="{9E180307-47A1-40F9-9AA7-A3113CD1196C}"/>
                </a:ext>
              </a:extLst>
            </p:cNvPr>
            <p:cNvSpPr/>
            <p:nvPr/>
          </p:nvSpPr>
          <p:spPr bwMode="auto">
            <a:xfrm>
              <a:off x="5766293" y="2271702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íṥľiďe">
              <a:extLst>
                <a:ext uri="{FF2B5EF4-FFF2-40B4-BE49-F238E27FC236}">
                  <a16:creationId xmlns:a16="http://schemas.microsoft.com/office/drawing/2014/main" id="{69529DAF-C1C7-4BC0-8AB3-E8DE44EB0D02}"/>
                </a:ext>
              </a:extLst>
            </p:cNvPr>
            <p:cNvSpPr/>
            <p:nvPr/>
          </p:nvSpPr>
          <p:spPr bwMode="auto">
            <a:xfrm>
              <a:off x="5897443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ṣľíḑè">
              <a:extLst>
                <a:ext uri="{FF2B5EF4-FFF2-40B4-BE49-F238E27FC236}">
                  <a16:creationId xmlns:a16="http://schemas.microsoft.com/office/drawing/2014/main" id="{56BDA8FA-7B28-4A30-933B-E3DAA2BC1F16}"/>
                </a:ext>
              </a:extLst>
            </p:cNvPr>
            <p:cNvSpPr/>
            <p:nvPr/>
          </p:nvSpPr>
          <p:spPr bwMode="auto">
            <a:xfrm>
              <a:off x="6033223" y="2271702"/>
              <a:ext cx="104920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ṣļidè">
              <a:extLst>
                <a:ext uri="{FF2B5EF4-FFF2-40B4-BE49-F238E27FC236}">
                  <a16:creationId xmlns:a16="http://schemas.microsoft.com/office/drawing/2014/main" id="{2254644C-D407-4E6D-9002-700BABE2FAD9}"/>
                </a:ext>
              </a:extLst>
            </p:cNvPr>
            <p:cNvSpPr/>
            <p:nvPr/>
          </p:nvSpPr>
          <p:spPr bwMode="auto">
            <a:xfrm>
              <a:off x="6164374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ṧliďé">
              <a:extLst>
                <a:ext uri="{FF2B5EF4-FFF2-40B4-BE49-F238E27FC236}">
                  <a16:creationId xmlns:a16="http://schemas.microsoft.com/office/drawing/2014/main" id="{E2DE201C-5501-48CD-A6E6-427237C03049}"/>
                </a:ext>
              </a:extLst>
            </p:cNvPr>
            <p:cNvSpPr/>
            <p:nvPr/>
          </p:nvSpPr>
          <p:spPr bwMode="auto">
            <a:xfrm>
              <a:off x="5360498" y="2356565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6 w 31"/>
                <a:gd name="T3" fmla="*/ 0 h 19"/>
                <a:gd name="T4" fmla="*/ 1 w 31"/>
                <a:gd name="T5" fmla="*/ 9 h 19"/>
                <a:gd name="T6" fmla="*/ 15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1" y="4"/>
                    <a:pt x="25" y="0"/>
                    <a:pt x="16" y="0"/>
                  </a:cubicBezTo>
                  <a:cubicBezTo>
                    <a:pt x="8" y="0"/>
                    <a:pt x="1" y="4"/>
                    <a:pt x="1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şļiḋe">
              <a:extLst>
                <a:ext uri="{FF2B5EF4-FFF2-40B4-BE49-F238E27FC236}">
                  <a16:creationId xmlns:a16="http://schemas.microsoft.com/office/drawing/2014/main" id="{270613FA-A1B0-441F-9A8A-9DF9384DF2E4}"/>
                </a:ext>
              </a:extLst>
            </p:cNvPr>
            <p:cNvSpPr/>
            <p:nvPr/>
          </p:nvSpPr>
          <p:spPr bwMode="auto">
            <a:xfrm>
              <a:off x="5496277" y="2356565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6 w 31"/>
                <a:gd name="T3" fmla="*/ 0 h 19"/>
                <a:gd name="T4" fmla="*/ 0 w 31"/>
                <a:gd name="T5" fmla="*/ 9 h 19"/>
                <a:gd name="T6" fmla="*/ 15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8" y="0"/>
                    <a:pt x="1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ṩḷíḍé">
              <a:extLst>
                <a:ext uri="{FF2B5EF4-FFF2-40B4-BE49-F238E27FC236}">
                  <a16:creationId xmlns:a16="http://schemas.microsoft.com/office/drawing/2014/main" id="{D5C70240-658A-4F94-BC95-5D015EA215C2}"/>
                </a:ext>
              </a:extLst>
            </p:cNvPr>
            <p:cNvSpPr/>
            <p:nvPr/>
          </p:nvSpPr>
          <p:spPr bwMode="auto">
            <a:xfrm>
              <a:off x="5630514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šḷíḑè">
              <a:extLst>
                <a:ext uri="{FF2B5EF4-FFF2-40B4-BE49-F238E27FC236}">
                  <a16:creationId xmlns:a16="http://schemas.microsoft.com/office/drawing/2014/main" id="{2FB15C9E-65DC-4D8D-B8A2-21613801C8A8}"/>
                </a:ext>
              </a:extLst>
            </p:cNvPr>
            <p:cNvSpPr/>
            <p:nvPr/>
          </p:nvSpPr>
          <p:spPr bwMode="auto">
            <a:xfrm>
              <a:off x="5766293" y="2356565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ṧľîďê">
              <a:extLst>
                <a:ext uri="{FF2B5EF4-FFF2-40B4-BE49-F238E27FC236}">
                  <a16:creationId xmlns:a16="http://schemas.microsoft.com/office/drawing/2014/main" id="{F32C0F1D-6577-436D-AC8D-27EADFEDC59A}"/>
                </a:ext>
              </a:extLst>
            </p:cNvPr>
            <p:cNvSpPr/>
            <p:nvPr/>
          </p:nvSpPr>
          <p:spPr bwMode="auto">
            <a:xfrm>
              <a:off x="5900529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3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íSlïdê">
              <a:extLst>
                <a:ext uri="{FF2B5EF4-FFF2-40B4-BE49-F238E27FC236}">
                  <a16:creationId xmlns:a16="http://schemas.microsoft.com/office/drawing/2014/main" id="{34B7626B-39D9-460A-BE7D-3FFA71658F3C}"/>
                </a:ext>
              </a:extLst>
            </p:cNvPr>
            <p:cNvSpPr/>
            <p:nvPr/>
          </p:nvSpPr>
          <p:spPr bwMode="auto">
            <a:xfrm>
              <a:off x="6033223" y="2356565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5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1" y="15"/>
                    <a:pt x="7" y="19"/>
                    <a:pt x="16" y="19"/>
                  </a:cubicBezTo>
                  <a:cubicBezTo>
                    <a:pt x="24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ṡļïḑê">
              <a:extLst>
                <a:ext uri="{FF2B5EF4-FFF2-40B4-BE49-F238E27FC236}">
                  <a16:creationId xmlns:a16="http://schemas.microsoft.com/office/drawing/2014/main" id="{5AF06AB6-DE29-4E45-8417-9098B5196680}"/>
                </a:ext>
              </a:extLst>
            </p:cNvPr>
            <p:cNvSpPr/>
            <p:nvPr/>
          </p:nvSpPr>
          <p:spPr bwMode="auto">
            <a:xfrm>
              <a:off x="6167459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5"/>
                    <a:pt x="7" y="19"/>
                    <a:pt x="16" y="19"/>
                  </a:cubicBezTo>
                  <a:cubicBezTo>
                    <a:pt x="24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sľíḋe">
              <a:extLst>
                <a:ext uri="{FF2B5EF4-FFF2-40B4-BE49-F238E27FC236}">
                  <a16:creationId xmlns:a16="http://schemas.microsoft.com/office/drawing/2014/main" id="{F73EF56B-62C0-4BC7-ACD6-75F4A7A25E9C}"/>
                </a:ext>
              </a:extLst>
            </p:cNvPr>
            <p:cNvSpPr/>
            <p:nvPr/>
          </p:nvSpPr>
          <p:spPr bwMode="auto">
            <a:xfrm>
              <a:off x="521854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5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2" y="5"/>
                    <a:pt x="25" y="0"/>
                    <a:pt x="17" y="0"/>
                  </a:cubicBezTo>
                  <a:cubicBezTo>
                    <a:pt x="9" y="0"/>
                    <a:pt x="1" y="5"/>
                    <a:pt x="1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íŝlïḋè">
              <a:extLst>
                <a:ext uri="{FF2B5EF4-FFF2-40B4-BE49-F238E27FC236}">
                  <a16:creationId xmlns:a16="http://schemas.microsoft.com/office/drawing/2014/main" id="{B1C12C01-D30F-419D-B56C-35ECC51C1BF9}"/>
                </a:ext>
              </a:extLst>
            </p:cNvPr>
            <p:cNvSpPr/>
            <p:nvPr/>
          </p:nvSpPr>
          <p:spPr bwMode="auto">
            <a:xfrm>
              <a:off x="5357412" y="2439884"/>
              <a:ext cx="112636" cy="74061"/>
            </a:xfrm>
            <a:custGeom>
              <a:avLst/>
              <a:gdLst>
                <a:gd name="T0" fmla="*/ 30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0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0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0" y="5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3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ṣlïďe">
              <a:extLst>
                <a:ext uri="{FF2B5EF4-FFF2-40B4-BE49-F238E27FC236}">
                  <a16:creationId xmlns:a16="http://schemas.microsoft.com/office/drawing/2014/main" id="{1CDE54FD-11E9-41CC-9EA1-62760A94390B}"/>
                </a:ext>
              </a:extLst>
            </p:cNvPr>
            <p:cNvSpPr/>
            <p:nvPr/>
          </p:nvSpPr>
          <p:spPr bwMode="auto">
            <a:xfrm>
              <a:off x="5493191" y="2439884"/>
              <a:ext cx="112636" cy="74061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1" y="5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0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iš1ïḓe">
              <a:extLst>
                <a:ext uri="{FF2B5EF4-FFF2-40B4-BE49-F238E27FC236}">
                  <a16:creationId xmlns:a16="http://schemas.microsoft.com/office/drawing/2014/main" id="{38DC34D0-7E24-4489-9E86-51843A0FEC6A}"/>
                </a:ext>
              </a:extLst>
            </p:cNvPr>
            <p:cNvSpPr/>
            <p:nvPr/>
          </p:nvSpPr>
          <p:spPr bwMode="auto">
            <a:xfrm>
              <a:off x="5627428" y="2439884"/>
              <a:ext cx="112636" cy="74061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1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1" y="5"/>
                    <a:pt x="1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śľïďe">
              <a:extLst>
                <a:ext uri="{FF2B5EF4-FFF2-40B4-BE49-F238E27FC236}">
                  <a16:creationId xmlns:a16="http://schemas.microsoft.com/office/drawing/2014/main" id="{CF78A874-F08B-490E-B0A4-0EED511F5A24}"/>
                </a:ext>
              </a:extLst>
            </p:cNvPr>
            <p:cNvSpPr/>
            <p:nvPr/>
          </p:nvSpPr>
          <p:spPr bwMode="auto">
            <a:xfrm>
              <a:off x="5766293" y="2439884"/>
              <a:ext cx="109550" cy="74061"/>
            </a:xfrm>
            <a:custGeom>
              <a:avLst/>
              <a:gdLst>
                <a:gd name="T0" fmla="*/ 30 w 30"/>
                <a:gd name="T1" fmla="*/ 10 h 20"/>
                <a:gd name="T2" fmla="*/ 15 w 30"/>
                <a:gd name="T3" fmla="*/ 0 h 20"/>
                <a:gd name="T4" fmla="*/ 0 w 30"/>
                <a:gd name="T5" fmla="*/ 10 h 20"/>
                <a:gd name="T6" fmla="*/ 15 w 30"/>
                <a:gd name="T7" fmla="*/ 20 h 20"/>
                <a:gd name="T8" fmla="*/ 30 w 3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3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iSlïḓé">
              <a:extLst>
                <a:ext uri="{FF2B5EF4-FFF2-40B4-BE49-F238E27FC236}">
                  <a16:creationId xmlns:a16="http://schemas.microsoft.com/office/drawing/2014/main" id="{2BED2CDD-2D0A-4E58-8BA4-62BDD71530BA}"/>
                </a:ext>
              </a:extLst>
            </p:cNvPr>
            <p:cNvSpPr/>
            <p:nvPr/>
          </p:nvSpPr>
          <p:spPr bwMode="auto">
            <a:xfrm>
              <a:off x="5900529" y="2439884"/>
              <a:ext cx="109550" cy="74061"/>
            </a:xfrm>
            <a:custGeom>
              <a:avLst/>
              <a:gdLst>
                <a:gd name="T0" fmla="*/ 30 w 30"/>
                <a:gd name="T1" fmla="*/ 10 h 20"/>
                <a:gd name="T2" fmla="*/ 15 w 30"/>
                <a:gd name="T3" fmla="*/ 0 h 20"/>
                <a:gd name="T4" fmla="*/ 0 w 30"/>
                <a:gd name="T5" fmla="*/ 10 h 20"/>
                <a:gd name="T6" fmla="*/ 15 w 30"/>
                <a:gd name="T7" fmla="*/ 20 h 20"/>
                <a:gd name="T8" fmla="*/ 30 w 3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ïŝļíde">
              <a:extLst>
                <a:ext uri="{FF2B5EF4-FFF2-40B4-BE49-F238E27FC236}">
                  <a16:creationId xmlns:a16="http://schemas.microsoft.com/office/drawing/2014/main" id="{9A94EE82-B419-49BE-BD05-89FE5D2DC27C}"/>
                </a:ext>
              </a:extLst>
            </p:cNvPr>
            <p:cNvSpPr/>
            <p:nvPr/>
          </p:nvSpPr>
          <p:spPr bwMode="auto">
            <a:xfrm>
              <a:off x="6036308" y="2439884"/>
              <a:ext cx="112636" cy="74061"/>
            </a:xfrm>
            <a:custGeom>
              <a:avLst/>
              <a:gdLst>
                <a:gd name="T0" fmla="*/ 30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0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7" y="20"/>
                    <a:pt x="16" y="20"/>
                  </a:cubicBezTo>
                  <a:cubicBezTo>
                    <a:pt x="24" y="20"/>
                    <a:pt x="31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îṩḻïďè">
              <a:extLst>
                <a:ext uri="{FF2B5EF4-FFF2-40B4-BE49-F238E27FC236}">
                  <a16:creationId xmlns:a16="http://schemas.microsoft.com/office/drawing/2014/main" id="{B0AA43DE-9CF0-44C9-B304-C80854B6F030}"/>
                </a:ext>
              </a:extLst>
            </p:cNvPr>
            <p:cNvSpPr/>
            <p:nvPr/>
          </p:nvSpPr>
          <p:spPr bwMode="auto">
            <a:xfrm>
              <a:off x="6170545" y="2439884"/>
              <a:ext cx="114178" cy="74061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1" y="16"/>
                    <a:pt x="8" y="20"/>
                    <a:pt x="16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ïśľîḓê">
              <a:extLst>
                <a:ext uri="{FF2B5EF4-FFF2-40B4-BE49-F238E27FC236}">
                  <a16:creationId xmlns:a16="http://schemas.microsoft.com/office/drawing/2014/main" id="{19CF8F72-1CA5-4741-A722-144DFD65C95C}"/>
                </a:ext>
              </a:extLst>
            </p:cNvPr>
            <p:cNvSpPr/>
            <p:nvPr/>
          </p:nvSpPr>
          <p:spPr bwMode="auto">
            <a:xfrm>
              <a:off x="5210833" y="2532461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5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2" y="4"/>
                    <a:pt x="25" y="0"/>
                    <a:pt x="17" y="0"/>
                  </a:cubicBezTo>
                  <a:cubicBezTo>
                    <a:pt x="9" y="0"/>
                    <a:pt x="1" y="4"/>
                    <a:pt x="1" y="10"/>
                  </a:cubicBezTo>
                  <a:cubicBezTo>
                    <a:pt x="0" y="15"/>
                    <a:pt x="7" y="20"/>
                    <a:pt x="15" y="20"/>
                  </a:cubicBezTo>
                  <a:cubicBezTo>
                    <a:pt x="24" y="20"/>
                    <a:pt x="31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ṧľiḑê">
              <a:extLst>
                <a:ext uri="{FF2B5EF4-FFF2-40B4-BE49-F238E27FC236}">
                  <a16:creationId xmlns:a16="http://schemas.microsoft.com/office/drawing/2014/main" id="{3EB72D1B-13FB-4A97-BF7B-C56A22D2C903}"/>
                </a:ext>
              </a:extLst>
            </p:cNvPr>
            <p:cNvSpPr/>
            <p:nvPr/>
          </p:nvSpPr>
          <p:spPr bwMode="auto">
            <a:xfrm>
              <a:off x="5349698" y="2532461"/>
              <a:ext cx="114178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5" y="0"/>
                    <a:pt x="16" y="0"/>
                  </a:cubicBezTo>
                  <a:cubicBezTo>
                    <a:pt x="8" y="0"/>
                    <a:pt x="1" y="4"/>
                    <a:pt x="0" y="10"/>
                  </a:cubicBezTo>
                  <a:cubicBezTo>
                    <a:pt x="0" y="15"/>
                    <a:pt x="7" y="20"/>
                    <a:pt x="15" y="20"/>
                  </a:cubicBezTo>
                  <a:cubicBezTo>
                    <a:pt x="24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îṣḷiḓe">
              <a:extLst>
                <a:ext uri="{FF2B5EF4-FFF2-40B4-BE49-F238E27FC236}">
                  <a16:creationId xmlns:a16="http://schemas.microsoft.com/office/drawing/2014/main" id="{E549AA05-ADD7-41D5-9EAC-FEDBE4128019}"/>
                </a:ext>
              </a:extLst>
            </p:cNvPr>
            <p:cNvSpPr/>
            <p:nvPr/>
          </p:nvSpPr>
          <p:spPr bwMode="auto">
            <a:xfrm>
              <a:off x="6039394" y="2532461"/>
              <a:ext cx="114178" cy="72519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7" y="20"/>
                    <a:pt x="16" y="20"/>
                  </a:cubicBezTo>
                  <a:cubicBezTo>
                    <a:pt x="24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Sḻîde">
              <a:extLst>
                <a:ext uri="{FF2B5EF4-FFF2-40B4-BE49-F238E27FC236}">
                  <a16:creationId xmlns:a16="http://schemas.microsoft.com/office/drawing/2014/main" id="{D430A5AE-4035-48E9-977F-3756438B8A87}"/>
                </a:ext>
              </a:extLst>
            </p:cNvPr>
            <p:cNvSpPr/>
            <p:nvPr/>
          </p:nvSpPr>
          <p:spPr bwMode="auto">
            <a:xfrm>
              <a:off x="6175174" y="2532461"/>
              <a:ext cx="115721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6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1" y="15"/>
                    <a:pt x="8" y="20"/>
                    <a:pt x="16" y="20"/>
                  </a:cubicBezTo>
                  <a:cubicBezTo>
                    <a:pt x="25" y="20"/>
                    <a:pt x="32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šḻïdè">
              <a:extLst>
                <a:ext uri="{FF2B5EF4-FFF2-40B4-BE49-F238E27FC236}">
                  <a16:creationId xmlns:a16="http://schemas.microsoft.com/office/drawing/2014/main" id="{0E2F9C6D-A179-4F49-A967-E338ABD5DCB1}"/>
                </a:ext>
              </a:extLst>
            </p:cNvPr>
            <p:cNvSpPr/>
            <p:nvPr/>
          </p:nvSpPr>
          <p:spPr bwMode="auto">
            <a:xfrm>
              <a:off x="6314039" y="2532461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5"/>
                    <a:pt x="8" y="20"/>
                    <a:pt x="16" y="20"/>
                  </a:cubicBezTo>
                  <a:cubicBezTo>
                    <a:pt x="25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íšlïdé">
              <a:extLst>
                <a:ext uri="{FF2B5EF4-FFF2-40B4-BE49-F238E27FC236}">
                  <a16:creationId xmlns:a16="http://schemas.microsoft.com/office/drawing/2014/main" id="{7D584059-77C7-4F7B-951D-DFE31DC4F34D}"/>
                </a:ext>
              </a:extLst>
            </p:cNvPr>
            <p:cNvSpPr/>
            <p:nvPr/>
          </p:nvSpPr>
          <p:spPr bwMode="auto">
            <a:xfrm>
              <a:off x="6448276" y="2532461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7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1" y="10"/>
                  </a:cubicBezTo>
                  <a:cubicBezTo>
                    <a:pt x="1" y="15"/>
                    <a:pt x="9" y="20"/>
                    <a:pt x="17" y="20"/>
                  </a:cubicBezTo>
                  <a:cubicBezTo>
                    <a:pt x="26" y="20"/>
                    <a:pt x="32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ṥlíďê">
              <a:extLst>
                <a:ext uri="{FF2B5EF4-FFF2-40B4-BE49-F238E27FC236}">
                  <a16:creationId xmlns:a16="http://schemas.microsoft.com/office/drawing/2014/main" id="{6B779264-7709-4CC3-84E3-923439D37380}"/>
                </a:ext>
              </a:extLst>
            </p:cNvPr>
            <p:cNvSpPr/>
            <p:nvPr/>
          </p:nvSpPr>
          <p:spPr bwMode="auto">
            <a:xfrm>
              <a:off x="9228665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6" y="18"/>
                    <a:pt x="15" y="23"/>
                    <a:pt x="24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ṧ1îḑè">
              <a:extLst>
                <a:ext uri="{FF2B5EF4-FFF2-40B4-BE49-F238E27FC236}">
                  <a16:creationId xmlns:a16="http://schemas.microsoft.com/office/drawing/2014/main" id="{94A7AE8B-A377-443F-A837-05A18EE62B11}"/>
                </a:ext>
              </a:extLst>
            </p:cNvPr>
            <p:cNvSpPr/>
            <p:nvPr/>
          </p:nvSpPr>
          <p:spPr bwMode="auto">
            <a:xfrm>
              <a:off x="9324328" y="3112609"/>
              <a:ext cx="141951" cy="87948"/>
            </a:xfrm>
            <a:custGeom>
              <a:avLst/>
              <a:gdLst>
                <a:gd name="T0" fmla="*/ 36 w 39"/>
                <a:gd name="T1" fmla="*/ 12 h 24"/>
                <a:gd name="T2" fmla="*/ 14 w 39"/>
                <a:gd name="T3" fmla="*/ 0 h 24"/>
                <a:gd name="T4" fmla="*/ 3 w 39"/>
                <a:gd name="T5" fmla="*/ 12 h 24"/>
                <a:gd name="T6" fmla="*/ 25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3" y="12"/>
                  </a:cubicBezTo>
                  <a:cubicBezTo>
                    <a:pt x="6" y="19"/>
                    <a:pt x="16" y="24"/>
                    <a:pt x="25" y="24"/>
                  </a:cubicBezTo>
                  <a:cubicBezTo>
                    <a:pt x="34" y="24"/>
                    <a:pt x="39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íṩḷîďê">
              <a:extLst>
                <a:ext uri="{FF2B5EF4-FFF2-40B4-BE49-F238E27FC236}">
                  <a16:creationId xmlns:a16="http://schemas.microsoft.com/office/drawing/2014/main" id="{687522FD-1B66-47FF-8AB0-14415E14E88F}"/>
                </a:ext>
              </a:extLst>
            </p:cNvPr>
            <p:cNvSpPr/>
            <p:nvPr/>
          </p:nvSpPr>
          <p:spPr bwMode="auto">
            <a:xfrm>
              <a:off x="8717950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3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3"/>
                    <a:pt x="13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slídê">
              <a:extLst>
                <a:ext uri="{FF2B5EF4-FFF2-40B4-BE49-F238E27FC236}">
                  <a16:creationId xmlns:a16="http://schemas.microsoft.com/office/drawing/2014/main" id="{55192C3B-E666-4F8C-8C7D-97E23B060540}"/>
                </a:ext>
              </a:extLst>
            </p:cNvPr>
            <p:cNvSpPr/>
            <p:nvPr/>
          </p:nvSpPr>
          <p:spPr bwMode="auto">
            <a:xfrm>
              <a:off x="8842929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Sḷiḓê">
              <a:extLst>
                <a:ext uri="{FF2B5EF4-FFF2-40B4-BE49-F238E27FC236}">
                  <a16:creationId xmlns:a16="http://schemas.microsoft.com/office/drawing/2014/main" id="{474711CE-F031-41A5-ADB3-63109D7E668E}"/>
                </a:ext>
              </a:extLst>
            </p:cNvPr>
            <p:cNvSpPr/>
            <p:nvPr/>
          </p:nvSpPr>
          <p:spPr bwMode="auto">
            <a:xfrm>
              <a:off x="9210150" y="1804190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îšļiḓe">
              <a:extLst>
                <a:ext uri="{FF2B5EF4-FFF2-40B4-BE49-F238E27FC236}">
                  <a16:creationId xmlns:a16="http://schemas.microsoft.com/office/drawing/2014/main" id="{83AA0447-AD70-4FEC-BBBB-9F21A5C8BE19}"/>
                </a:ext>
              </a:extLst>
            </p:cNvPr>
            <p:cNvSpPr/>
            <p:nvPr/>
          </p:nvSpPr>
          <p:spPr bwMode="auto">
            <a:xfrm>
              <a:off x="9335128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7" y="4"/>
                    <a:pt x="19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ïṥ1ïḑe">
              <a:extLst>
                <a:ext uri="{FF2B5EF4-FFF2-40B4-BE49-F238E27FC236}">
                  <a16:creationId xmlns:a16="http://schemas.microsoft.com/office/drawing/2014/main" id="{86F74EAE-708B-42DF-B693-0D0EE5767875}"/>
                </a:ext>
              </a:extLst>
            </p:cNvPr>
            <p:cNvSpPr/>
            <p:nvPr/>
          </p:nvSpPr>
          <p:spPr bwMode="auto">
            <a:xfrm>
              <a:off x="6466791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5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işľíḍé">
              <a:extLst>
                <a:ext uri="{FF2B5EF4-FFF2-40B4-BE49-F238E27FC236}">
                  <a16:creationId xmlns:a16="http://schemas.microsoft.com/office/drawing/2014/main" id="{8BB584F9-B6DA-4CDF-80C4-E17A98BF968B}"/>
                </a:ext>
              </a:extLst>
            </p:cNvPr>
            <p:cNvSpPr/>
            <p:nvPr/>
          </p:nvSpPr>
          <p:spPr bwMode="auto">
            <a:xfrm>
              <a:off x="6550110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îṣḻíḋe">
              <a:extLst>
                <a:ext uri="{FF2B5EF4-FFF2-40B4-BE49-F238E27FC236}">
                  <a16:creationId xmlns:a16="http://schemas.microsoft.com/office/drawing/2014/main" id="{DBF3CFBE-E535-4347-AC85-F3A30B2C69AC}"/>
                </a:ext>
              </a:extLst>
            </p:cNvPr>
            <p:cNvSpPr/>
            <p:nvPr/>
          </p:nvSpPr>
          <p:spPr bwMode="auto">
            <a:xfrm>
              <a:off x="6699775" y="2356565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5 w 32"/>
                <a:gd name="T3" fmla="*/ 0 h 19"/>
                <a:gd name="T4" fmla="*/ 1 w 32"/>
                <a:gd name="T5" fmla="*/ 9 h 19"/>
                <a:gd name="T6" fmla="*/ 17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9" y="19"/>
                    <a:pt x="17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$ļíḑê">
              <a:extLst>
                <a:ext uri="{FF2B5EF4-FFF2-40B4-BE49-F238E27FC236}">
                  <a16:creationId xmlns:a16="http://schemas.microsoft.com/office/drawing/2014/main" id="{41DC1C31-F8F4-4D71-A547-29004614BDFA}"/>
                </a:ext>
              </a:extLst>
            </p:cNvPr>
            <p:cNvSpPr/>
            <p:nvPr/>
          </p:nvSpPr>
          <p:spPr bwMode="auto">
            <a:xfrm>
              <a:off x="6568626" y="2356565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5"/>
                    <a:pt x="8" y="19"/>
                    <a:pt x="16" y="19"/>
                  </a:cubicBezTo>
                  <a:cubicBezTo>
                    <a:pt x="25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S1íďé">
              <a:extLst>
                <a:ext uri="{FF2B5EF4-FFF2-40B4-BE49-F238E27FC236}">
                  <a16:creationId xmlns:a16="http://schemas.microsoft.com/office/drawing/2014/main" id="{727949E8-8DF9-4F06-879D-899E7B4198A0}"/>
                </a:ext>
              </a:extLst>
            </p:cNvPr>
            <p:cNvSpPr/>
            <p:nvPr/>
          </p:nvSpPr>
          <p:spPr bwMode="auto">
            <a:xfrm>
              <a:off x="671057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5"/>
                    <a:pt x="23" y="0"/>
                    <a:pt x="15" y="0"/>
                  </a:cubicBezTo>
                  <a:cubicBezTo>
                    <a:pt x="7" y="0"/>
                    <a:pt x="0" y="5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ṡḷíďè">
              <a:extLst>
                <a:ext uri="{FF2B5EF4-FFF2-40B4-BE49-F238E27FC236}">
                  <a16:creationId xmlns:a16="http://schemas.microsoft.com/office/drawing/2014/main" id="{33771CBC-4463-43B2-8969-F8D93A408E9A}"/>
                </a:ext>
              </a:extLst>
            </p:cNvPr>
            <p:cNvSpPr/>
            <p:nvPr/>
          </p:nvSpPr>
          <p:spPr bwMode="auto">
            <a:xfrm>
              <a:off x="6587141" y="2532461"/>
              <a:ext cx="117264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1" y="15"/>
                    <a:pt x="9" y="20"/>
                    <a:pt x="17" y="20"/>
                  </a:cubicBezTo>
                  <a:cubicBezTo>
                    <a:pt x="26" y="20"/>
                    <a:pt x="32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ṣļiḋe">
              <a:extLst>
                <a:ext uri="{FF2B5EF4-FFF2-40B4-BE49-F238E27FC236}">
                  <a16:creationId xmlns:a16="http://schemas.microsoft.com/office/drawing/2014/main" id="{73A5DC7D-EC29-4AF7-9E36-E582D9272850}"/>
                </a:ext>
              </a:extLst>
            </p:cNvPr>
            <p:cNvSpPr/>
            <p:nvPr/>
          </p:nvSpPr>
          <p:spPr bwMode="auto">
            <a:xfrm>
              <a:off x="6722920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1" y="10"/>
                  </a:cubicBezTo>
                  <a:cubicBezTo>
                    <a:pt x="2" y="15"/>
                    <a:pt x="9" y="20"/>
                    <a:pt x="18" y="20"/>
                  </a:cubicBezTo>
                  <a:cubicBezTo>
                    <a:pt x="26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îṥḷiḑe">
              <a:extLst>
                <a:ext uri="{FF2B5EF4-FFF2-40B4-BE49-F238E27FC236}">
                  <a16:creationId xmlns:a16="http://schemas.microsoft.com/office/drawing/2014/main" id="{386CD2A2-99C2-4528-9DDF-0770BD43B95D}"/>
                </a:ext>
              </a:extLst>
            </p:cNvPr>
            <p:cNvSpPr/>
            <p:nvPr/>
          </p:nvSpPr>
          <p:spPr bwMode="auto">
            <a:xfrm>
              <a:off x="6860242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9" y="20"/>
                    <a:pt x="18" y="20"/>
                  </a:cubicBezTo>
                  <a:cubicBezTo>
                    <a:pt x="26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ïśļíḓè">
              <a:extLst>
                <a:ext uri="{FF2B5EF4-FFF2-40B4-BE49-F238E27FC236}">
                  <a16:creationId xmlns:a16="http://schemas.microsoft.com/office/drawing/2014/main" id="{3F8557AE-A92E-4659-A008-DACA75EDE214}"/>
                </a:ext>
              </a:extLst>
            </p:cNvPr>
            <p:cNvSpPr/>
            <p:nvPr/>
          </p:nvSpPr>
          <p:spPr bwMode="auto">
            <a:xfrm>
              <a:off x="6597941" y="2623494"/>
              <a:ext cx="117264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6"/>
                    <a:pt x="8" y="20"/>
                    <a:pt x="17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ṡ1iḓè">
              <a:extLst>
                <a:ext uri="{FF2B5EF4-FFF2-40B4-BE49-F238E27FC236}">
                  <a16:creationId xmlns:a16="http://schemas.microsoft.com/office/drawing/2014/main" id="{45222DE5-9F43-43C9-8209-7C0D49F85A7B}"/>
                </a:ext>
              </a:extLst>
            </p:cNvPr>
            <p:cNvSpPr/>
            <p:nvPr/>
          </p:nvSpPr>
          <p:spPr bwMode="auto">
            <a:xfrm>
              <a:off x="6736806" y="2623494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6"/>
                    <a:pt x="9" y="20"/>
                    <a:pt x="17" y="20"/>
                  </a:cubicBezTo>
                  <a:cubicBezTo>
                    <a:pt x="26" y="20"/>
                    <a:pt x="32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iṧḻîḍe">
              <a:extLst>
                <a:ext uri="{FF2B5EF4-FFF2-40B4-BE49-F238E27FC236}">
                  <a16:creationId xmlns:a16="http://schemas.microsoft.com/office/drawing/2014/main" id="{709A5524-7F6B-44DE-94EF-048A26E2A13F}"/>
                </a:ext>
              </a:extLst>
            </p:cNvPr>
            <p:cNvSpPr/>
            <p:nvPr/>
          </p:nvSpPr>
          <p:spPr bwMode="auto">
            <a:xfrm>
              <a:off x="6875671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1" y="16"/>
                    <a:pt x="9" y="20"/>
                    <a:pt x="18" y="20"/>
                  </a:cubicBezTo>
                  <a:cubicBezTo>
                    <a:pt x="26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ïsḷîḍé">
              <a:extLst>
                <a:ext uri="{FF2B5EF4-FFF2-40B4-BE49-F238E27FC236}">
                  <a16:creationId xmlns:a16="http://schemas.microsoft.com/office/drawing/2014/main" id="{5EF327C9-2347-4186-84AB-53CF63A15968}"/>
                </a:ext>
              </a:extLst>
            </p:cNvPr>
            <p:cNvSpPr/>
            <p:nvPr/>
          </p:nvSpPr>
          <p:spPr bwMode="auto">
            <a:xfrm>
              <a:off x="7014537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ś1íďe">
              <a:extLst>
                <a:ext uri="{FF2B5EF4-FFF2-40B4-BE49-F238E27FC236}">
                  <a16:creationId xmlns:a16="http://schemas.microsoft.com/office/drawing/2014/main" id="{AFD095FE-CBD5-4AB4-8F82-5EB84104FB43}"/>
                </a:ext>
              </a:extLst>
            </p:cNvPr>
            <p:cNvSpPr/>
            <p:nvPr/>
          </p:nvSpPr>
          <p:spPr bwMode="auto">
            <a:xfrm>
              <a:off x="6605656" y="2714528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9" y="22"/>
                    <a:pt x="18" y="22"/>
                  </a:cubicBezTo>
                  <a:cubicBezTo>
                    <a:pt x="27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isļïḍé">
              <a:extLst>
                <a:ext uri="{FF2B5EF4-FFF2-40B4-BE49-F238E27FC236}">
                  <a16:creationId xmlns:a16="http://schemas.microsoft.com/office/drawing/2014/main" id="{6847D4C4-E828-4F18-8C9C-7B76268FB81F}"/>
                </a:ext>
              </a:extLst>
            </p:cNvPr>
            <p:cNvSpPr/>
            <p:nvPr/>
          </p:nvSpPr>
          <p:spPr bwMode="auto">
            <a:xfrm>
              <a:off x="6747607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5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1" y="17"/>
                    <a:pt x="9" y="22"/>
                    <a:pt x="18" y="22"/>
                  </a:cubicBezTo>
                  <a:cubicBezTo>
                    <a:pt x="27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ṩļíḓè">
              <a:extLst>
                <a:ext uri="{FF2B5EF4-FFF2-40B4-BE49-F238E27FC236}">
                  <a16:creationId xmlns:a16="http://schemas.microsoft.com/office/drawing/2014/main" id="{98D270CF-7091-4D85-8AF2-896887ECB4BA}"/>
                </a:ext>
              </a:extLst>
            </p:cNvPr>
            <p:cNvSpPr/>
            <p:nvPr/>
          </p:nvSpPr>
          <p:spPr bwMode="auto">
            <a:xfrm>
              <a:off x="6886473" y="2714528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ṣḻiďè">
              <a:extLst>
                <a:ext uri="{FF2B5EF4-FFF2-40B4-BE49-F238E27FC236}">
                  <a16:creationId xmlns:a16="http://schemas.microsoft.com/office/drawing/2014/main" id="{4138382B-A913-43D7-A247-93F25C787472}"/>
                </a:ext>
              </a:extLst>
            </p:cNvPr>
            <p:cNvSpPr/>
            <p:nvPr/>
          </p:nvSpPr>
          <p:spPr bwMode="auto">
            <a:xfrm>
              <a:off x="7028424" y="2714528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ṧ1îḋè">
              <a:extLst>
                <a:ext uri="{FF2B5EF4-FFF2-40B4-BE49-F238E27FC236}">
                  <a16:creationId xmlns:a16="http://schemas.microsoft.com/office/drawing/2014/main" id="{F7725955-F285-4D30-8C03-CC77BC2AD248}"/>
                </a:ext>
              </a:extLst>
            </p:cNvPr>
            <p:cNvSpPr/>
            <p:nvPr/>
          </p:nvSpPr>
          <p:spPr bwMode="auto">
            <a:xfrm>
              <a:off x="6616456" y="2810191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8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9" y="22"/>
                    <a:pt x="18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íśḻidè">
              <a:extLst>
                <a:ext uri="{FF2B5EF4-FFF2-40B4-BE49-F238E27FC236}">
                  <a16:creationId xmlns:a16="http://schemas.microsoft.com/office/drawing/2014/main" id="{C999F5D3-D617-4A89-868E-CD982B1FB0A4}"/>
                </a:ext>
              </a:extLst>
            </p:cNvPr>
            <p:cNvSpPr/>
            <p:nvPr/>
          </p:nvSpPr>
          <p:spPr bwMode="auto">
            <a:xfrm>
              <a:off x="6758407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í$ľidé">
              <a:extLst>
                <a:ext uri="{FF2B5EF4-FFF2-40B4-BE49-F238E27FC236}">
                  <a16:creationId xmlns:a16="http://schemas.microsoft.com/office/drawing/2014/main" id="{7137E98B-44CD-4A42-9574-D6758E221719}"/>
                </a:ext>
              </a:extLst>
            </p:cNvPr>
            <p:cNvSpPr/>
            <p:nvPr/>
          </p:nvSpPr>
          <p:spPr bwMode="auto">
            <a:xfrm>
              <a:off x="6900359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ï$líḓe">
              <a:extLst>
                <a:ext uri="{FF2B5EF4-FFF2-40B4-BE49-F238E27FC236}">
                  <a16:creationId xmlns:a16="http://schemas.microsoft.com/office/drawing/2014/main" id="{18FA0455-18C9-4F04-9F54-E1D81C09D2E7}"/>
                </a:ext>
              </a:extLst>
            </p:cNvPr>
            <p:cNvSpPr/>
            <p:nvPr/>
          </p:nvSpPr>
          <p:spPr bwMode="auto">
            <a:xfrm>
              <a:off x="6627257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íṥľíḋê">
              <a:extLst>
                <a:ext uri="{FF2B5EF4-FFF2-40B4-BE49-F238E27FC236}">
                  <a16:creationId xmlns:a16="http://schemas.microsoft.com/office/drawing/2014/main" id="{4776E912-AD40-40F9-8A64-4D5D39CA73F4}"/>
                </a:ext>
              </a:extLst>
            </p:cNvPr>
            <p:cNvSpPr/>
            <p:nvPr/>
          </p:nvSpPr>
          <p:spPr bwMode="auto">
            <a:xfrm>
              <a:off x="6773837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5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îśľîḋe">
              <a:extLst>
                <a:ext uri="{FF2B5EF4-FFF2-40B4-BE49-F238E27FC236}">
                  <a16:creationId xmlns:a16="http://schemas.microsoft.com/office/drawing/2014/main" id="{82E5AF4B-DEA5-49DF-9C92-C260260A35E3}"/>
                </a:ext>
              </a:extLst>
            </p:cNvPr>
            <p:cNvSpPr/>
            <p:nvPr/>
          </p:nvSpPr>
          <p:spPr bwMode="auto">
            <a:xfrm>
              <a:off x="6915788" y="2907396"/>
              <a:ext cx="128065" cy="84863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ṩḻiḑe">
              <a:extLst>
                <a:ext uri="{FF2B5EF4-FFF2-40B4-BE49-F238E27FC236}">
                  <a16:creationId xmlns:a16="http://schemas.microsoft.com/office/drawing/2014/main" id="{536DDF6F-6A03-4C8A-BF48-74113999752F}"/>
                </a:ext>
              </a:extLst>
            </p:cNvPr>
            <p:cNvSpPr/>
            <p:nvPr/>
          </p:nvSpPr>
          <p:spPr bwMode="auto">
            <a:xfrm>
              <a:off x="7060825" y="2907396"/>
              <a:ext cx="128065" cy="84863"/>
            </a:xfrm>
            <a:custGeom>
              <a:avLst/>
              <a:gdLst>
                <a:gd name="T0" fmla="*/ 33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3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îSľiďé">
              <a:extLst>
                <a:ext uri="{FF2B5EF4-FFF2-40B4-BE49-F238E27FC236}">
                  <a16:creationId xmlns:a16="http://schemas.microsoft.com/office/drawing/2014/main" id="{066B98CC-88CC-4E2C-8391-0ED61966D5AA}"/>
                </a:ext>
              </a:extLst>
            </p:cNvPr>
            <p:cNvSpPr/>
            <p:nvPr/>
          </p:nvSpPr>
          <p:spPr bwMode="auto">
            <a:xfrm>
              <a:off x="7207405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5 w 34"/>
                <a:gd name="T3" fmla="*/ 0 h 23"/>
                <a:gd name="T4" fmla="*/ 1 w 34"/>
                <a:gd name="T5" fmla="*/ 11 h 23"/>
                <a:gd name="T6" fmla="*/ 19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ïṡļíḋé">
              <a:extLst>
                <a:ext uri="{FF2B5EF4-FFF2-40B4-BE49-F238E27FC236}">
                  <a16:creationId xmlns:a16="http://schemas.microsoft.com/office/drawing/2014/main" id="{89BF8453-CBEF-4667-9D59-7DF09A504591}"/>
                </a:ext>
              </a:extLst>
            </p:cNvPr>
            <p:cNvSpPr/>
            <p:nvPr/>
          </p:nvSpPr>
          <p:spPr bwMode="auto">
            <a:xfrm>
              <a:off x="6784638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iṧ1ïḋé">
              <a:extLst>
                <a:ext uri="{FF2B5EF4-FFF2-40B4-BE49-F238E27FC236}">
                  <a16:creationId xmlns:a16="http://schemas.microsoft.com/office/drawing/2014/main" id="{72288525-9831-4ACE-8A06-7375E4A55850}"/>
                </a:ext>
              </a:extLst>
            </p:cNvPr>
            <p:cNvSpPr/>
            <p:nvPr/>
          </p:nvSpPr>
          <p:spPr bwMode="auto">
            <a:xfrm>
              <a:off x="6929675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20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20" y="23"/>
                  </a:cubicBezTo>
                  <a:cubicBezTo>
                    <a:pt x="29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ïS1iḋê">
              <a:extLst>
                <a:ext uri="{FF2B5EF4-FFF2-40B4-BE49-F238E27FC236}">
                  <a16:creationId xmlns:a16="http://schemas.microsoft.com/office/drawing/2014/main" id="{93222CF0-4983-4001-8456-FF7428701B43}"/>
                </a:ext>
              </a:extLst>
            </p:cNvPr>
            <p:cNvSpPr/>
            <p:nvPr/>
          </p:nvSpPr>
          <p:spPr bwMode="auto">
            <a:xfrm>
              <a:off x="7079340" y="3010774"/>
              <a:ext cx="128065" cy="83319"/>
            </a:xfrm>
            <a:custGeom>
              <a:avLst/>
              <a:gdLst>
                <a:gd name="T0" fmla="*/ 33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3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išḻídé">
              <a:extLst>
                <a:ext uri="{FF2B5EF4-FFF2-40B4-BE49-F238E27FC236}">
                  <a16:creationId xmlns:a16="http://schemas.microsoft.com/office/drawing/2014/main" id="{136871D3-0304-4326-954D-0A432FC71BAA}"/>
                </a:ext>
              </a:extLst>
            </p:cNvPr>
            <p:cNvSpPr/>
            <p:nvPr/>
          </p:nvSpPr>
          <p:spPr bwMode="auto">
            <a:xfrm>
              <a:off x="7225921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20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20" y="23"/>
                  </a:cubicBezTo>
                  <a:cubicBezTo>
                    <a:pt x="29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îŝḷiḑé">
              <a:extLst>
                <a:ext uri="{FF2B5EF4-FFF2-40B4-BE49-F238E27FC236}">
                  <a16:creationId xmlns:a16="http://schemas.microsoft.com/office/drawing/2014/main" id="{E9A9C4C9-837C-47AA-8F89-8E3F7971F984}"/>
                </a:ext>
              </a:extLst>
            </p:cNvPr>
            <p:cNvSpPr/>
            <p:nvPr/>
          </p:nvSpPr>
          <p:spPr bwMode="auto">
            <a:xfrm>
              <a:off x="7664118" y="3010774"/>
              <a:ext cx="131151" cy="83319"/>
            </a:xfrm>
            <a:custGeom>
              <a:avLst/>
              <a:gdLst>
                <a:gd name="T0" fmla="*/ 35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5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î$ļïḋê">
              <a:extLst>
                <a:ext uri="{FF2B5EF4-FFF2-40B4-BE49-F238E27FC236}">
                  <a16:creationId xmlns:a16="http://schemas.microsoft.com/office/drawing/2014/main" id="{2596CA1F-8240-478C-87EC-2FF7830CEDE1}"/>
                </a:ext>
              </a:extLst>
            </p:cNvPr>
            <p:cNvSpPr/>
            <p:nvPr/>
          </p:nvSpPr>
          <p:spPr bwMode="auto">
            <a:xfrm>
              <a:off x="6798524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íṩ1îḑé">
              <a:extLst>
                <a:ext uri="{FF2B5EF4-FFF2-40B4-BE49-F238E27FC236}">
                  <a16:creationId xmlns:a16="http://schemas.microsoft.com/office/drawing/2014/main" id="{EF45B65E-3965-4EB7-9B92-9BAE7B0E6DE7}"/>
                </a:ext>
              </a:extLst>
            </p:cNvPr>
            <p:cNvSpPr/>
            <p:nvPr/>
          </p:nvSpPr>
          <p:spPr bwMode="auto">
            <a:xfrm>
              <a:off x="6948190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5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5" y="0"/>
                  </a:cubicBezTo>
                  <a:cubicBezTo>
                    <a:pt x="6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ïş1íḋè">
              <a:extLst>
                <a:ext uri="{FF2B5EF4-FFF2-40B4-BE49-F238E27FC236}">
                  <a16:creationId xmlns:a16="http://schemas.microsoft.com/office/drawing/2014/main" id="{01A32569-4B24-4581-98B3-9E87CBD34CC5}"/>
                </a:ext>
              </a:extLst>
            </p:cNvPr>
            <p:cNvSpPr/>
            <p:nvPr/>
          </p:nvSpPr>
          <p:spPr bwMode="auto">
            <a:xfrm>
              <a:off x="7637887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ṣḷîde">
              <a:extLst>
                <a:ext uri="{FF2B5EF4-FFF2-40B4-BE49-F238E27FC236}">
                  <a16:creationId xmlns:a16="http://schemas.microsoft.com/office/drawing/2014/main" id="{2D135517-F572-4B18-BA8C-1C33F2EB23C9}"/>
                </a:ext>
              </a:extLst>
            </p:cNvPr>
            <p:cNvSpPr/>
            <p:nvPr/>
          </p:nvSpPr>
          <p:spPr bwMode="auto">
            <a:xfrm>
              <a:off x="7784467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ṣľïḑé">
              <a:extLst>
                <a:ext uri="{FF2B5EF4-FFF2-40B4-BE49-F238E27FC236}">
                  <a16:creationId xmlns:a16="http://schemas.microsoft.com/office/drawing/2014/main" id="{AE3F1E58-5940-48B5-8583-7851826AB267}"/>
                </a:ext>
              </a:extLst>
            </p:cNvPr>
            <p:cNvSpPr/>
            <p:nvPr/>
          </p:nvSpPr>
          <p:spPr bwMode="auto">
            <a:xfrm>
              <a:off x="7926418" y="2907396"/>
              <a:ext cx="134237" cy="84863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şlíḋe">
              <a:extLst>
                <a:ext uri="{FF2B5EF4-FFF2-40B4-BE49-F238E27FC236}">
                  <a16:creationId xmlns:a16="http://schemas.microsoft.com/office/drawing/2014/main" id="{50F35DFD-9436-42A4-B11F-986ED61C470E}"/>
                </a:ext>
              </a:extLst>
            </p:cNvPr>
            <p:cNvSpPr/>
            <p:nvPr/>
          </p:nvSpPr>
          <p:spPr bwMode="auto">
            <a:xfrm>
              <a:off x="8072998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isḷíďê">
              <a:extLst>
                <a:ext uri="{FF2B5EF4-FFF2-40B4-BE49-F238E27FC236}">
                  <a16:creationId xmlns:a16="http://schemas.microsoft.com/office/drawing/2014/main" id="{1D0A3A23-89FE-4AD0-BD94-5F367D08C942}"/>
                </a:ext>
              </a:extLst>
            </p:cNvPr>
            <p:cNvSpPr/>
            <p:nvPr/>
          </p:nvSpPr>
          <p:spPr bwMode="auto">
            <a:xfrm>
              <a:off x="8218035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4 w 36"/>
                <a:gd name="T3" fmla="*/ 0 h 23"/>
                <a:gd name="T4" fmla="*/ 2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ṩlíḍe">
              <a:extLst>
                <a:ext uri="{FF2B5EF4-FFF2-40B4-BE49-F238E27FC236}">
                  <a16:creationId xmlns:a16="http://schemas.microsoft.com/office/drawing/2014/main" id="{D4135C2D-75A9-4F4D-AB63-262197832906}"/>
                </a:ext>
              </a:extLst>
            </p:cNvPr>
            <p:cNvSpPr/>
            <p:nvPr/>
          </p:nvSpPr>
          <p:spPr bwMode="auto">
            <a:xfrm>
              <a:off x="8359986" y="2907396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îṡļidê">
              <a:extLst>
                <a:ext uri="{FF2B5EF4-FFF2-40B4-BE49-F238E27FC236}">
                  <a16:creationId xmlns:a16="http://schemas.microsoft.com/office/drawing/2014/main" id="{99CF537F-05FD-42CD-8BFF-51518E1765F2}"/>
                </a:ext>
              </a:extLst>
            </p:cNvPr>
            <p:cNvSpPr/>
            <p:nvPr/>
          </p:nvSpPr>
          <p:spPr bwMode="auto">
            <a:xfrm>
              <a:off x="8506566" y="2907396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ï$1îḋé">
              <a:extLst>
                <a:ext uri="{FF2B5EF4-FFF2-40B4-BE49-F238E27FC236}">
                  <a16:creationId xmlns:a16="http://schemas.microsoft.com/office/drawing/2014/main" id="{DF8F7E0D-FA1C-4C98-9DB7-2C541054FD8D}"/>
                </a:ext>
              </a:extLst>
            </p:cNvPr>
            <p:cNvSpPr/>
            <p:nvPr/>
          </p:nvSpPr>
          <p:spPr bwMode="auto">
            <a:xfrm>
              <a:off x="8648517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5 w 38"/>
                <a:gd name="T3" fmla="*/ 0 h 23"/>
                <a:gd name="T4" fmla="*/ 3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3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íṡḻîḑé">
              <a:extLst>
                <a:ext uri="{FF2B5EF4-FFF2-40B4-BE49-F238E27FC236}">
                  <a16:creationId xmlns:a16="http://schemas.microsoft.com/office/drawing/2014/main" id="{BCCFCF16-B7C9-4C6E-9262-35532556A422}"/>
                </a:ext>
              </a:extLst>
            </p:cNvPr>
            <p:cNvSpPr/>
            <p:nvPr/>
          </p:nvSpPr>
          <p:spPr bwMode="auto">
            <a:xfrm>
              <a:off x="8795097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íṥḷïḋe">
              <a:extLst>
                <a:ext uri="{FF2B5EF4-FFF2-40B4-BE49-F238E27FC236}">
                  <a16:creationId xmlns:a16="http://schemas.microsoft.com/office/drawing/2014/main" id="{1B4CE343-CD74-4680-9DF2-FCDDE4F75134}"/>
                </a:ext>
              </a:extLst>
            </p:cNvPr>
            <p:cNvSpPr/>
            <p:nvPr/>
          </p:nvSpPr>
          <p:spPr bwMode="auto">
            <a:xfrm>
              <a:off x="7134886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10" y="20"/>
                    <a:pt x="19" y="20"/>
                  </a:cubicBezTo>
                  <a:cubicBezTo>
                    <a:pt x="27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îṧḷïḓé">
              <a:extLst>
                <a:ext uri="{FF2B5EF4-FFF2-40B4-BE49-F238E27FC236}">
                  <a16:creationId xmlns:a16="http://schemas.microsoft.com/office/drawing/2014/main" id="{DAAA1D1F-6545-47AC-917A-7765140F95D2}"/>
                </a:ext>
              </a:extLst>
            </p:cNvPr>
            <p:cNvSpPr/>
            <p:nvPr/>
          </p:nvSpPr>
          <p:spPr bwMode="auto">
            <a:xfrm>
              <a:off x="7273752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10" y="20"/>
                    <a:pt x="18" y="20"/>
                  </a:cubicBezTo>
                  <a:cubicBezTo>
                    <a:pt x="27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î$líḋe">
              <a:extLst>
                <a:ext uri="{FF2B5EF4-FFF2-40B4-BE49-F238E27FC236}">
                  <a16:creationId xmlns:a16="http://schemas.microsoft.com/office/drawing/2014/main" id="{B5CA5739-C239-4662-B1F3-EB63A92F5F24}"/>
                </a:ext>
              </a:extLst>
            </p:cNvPr>
            <p:cNvSpPr/>
            <p:nvPr/>
          </p:nvSpPr>
          <p:spPr bwMode="auto">
            <a:xfrm>
              <a:off x="7407988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5 w 34"/>
                <a:gd name="T3" fmla="*/ 0 h 20"/>
                <a:gd name="T4" fmla="*/ 2 w 34"/>
                <a:gd name="T5" fmla="*/ 10 h 20"/>
                <a:gd name="T6" fmla="*/ 19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19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ṧḻíḑe">
              <a:extLst>
                <a:ext uri="{FF2B5EF4-FFF2-40B4-BE49-F238E27FC236}">
                  <a16:creationId xmlns:a16="http://schemas.microsoft.com/office/drawing/2014/main" id="{15FC65E4-4AF8-4C09-9C69-1B8ACD271F8E}"/>
                </a:ext>
              </a:extLst>
            </p:cNvPr>
            <p:cNvSpPr/>
            <p:nvPr/>
          </p:nvSpPr>
          <p:spPr bwMode="auto">
            <a:xfrm>
              <a:off x="7546854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3" y="15"/>
                    <a:pt x="11" y="20"/>
                    <a:pt x="19" y="20"/>
                  </a:cubicBezTo>
                  <a:cubicBezTo>
                    <a:pt x="28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iṩḻiďè">
              <a:extLst>
                <a:ext uri="{FF2B5EF4-FFF2-40B4-BE49-F238E27FC236}">
                  <a16:creationId xmlns:a16="http://schemas.microsoft.com/office/drawing/2014/main" id="{878E2432-24D5-4E1E-BC24-3F21E44B815D}"/>
                </a:ext>
              </a:extLst>
            </p:cNvPr>
            <p:cNvSpPr/>
            <p:nvPr/>
          </p:nvSpPr>
          <p:spPr bwMode="auto">
            <a:xfrm>
              <a:off x="7682633" y="2532461"/>
              <a:ext cx="123436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9" y="20"/>
                    <a:pt x="34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ïśḷïdê">
              <a:extLst>
                <a:ext uri="{FF2B5EF4-FFF2-40B4-BE49-F238E27FC236}">
                  <a16:creationId xmlns:a16="http://schemas.microsoft.com/office/drawing/2014/main" id="{2292F20B-C2B2-44CE-9EDD-41FD18AEF757}"/>
                </a:ext>
              </a:extLst>
            </p:cNvPr>
            <p:cNvSpPr/>
            <p:nvPr/>
          </p:nvSpPr>
          <p:spPr bwMode="auto">
            <a:xfrm>
              <a:off x="7819955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íṣ1îḍè">
              <a:extLst>
                <a:ext uri="{FF2B5EF4-FFF2-40B4-BE49-F238E27FC236}">
                  <a16:creationId xmlns:a16="http://schemas.microsoft.com/office/drawing/2014/main" id="{6404AF94-54BF-4836-92CA-B6E6CE6C36A3}"/>
                </a:ext>
              </a:extLst>
            </p:cNvPr>
            <p:cNvSpPr/>
            <p:nvPr/>
          </p:nvSpPr>
          <p:spPr bwMode="auto">
            <a:xfrm>
              <a:off x="7958820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1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1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iSľíďê">
              <a:extLst>
                <a:ext uri="{FF2B5EF4-FFF2-40B4-BE49-F238E27FC236}">
                  <a16:creationId xmlns:a16="http://schemas.microsoft.com/office/drawing/2014/main" id="{D8457C9F-E57D-46FA-8607-0758CA330850}"/>
                </a:ext>
              </a:extLst>
            </p:cNvPr>
            <p:cNvSpPr/>
            <p:nvPr/>
          </p:nvSpPr>
          <p:spPr bwMode="auto">
            <a:xfrm>
              <a:off x="8094599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2" y="20"/>
                    <a:pt x="21" y="20"/>
                  </a:cubicBezTo>
                  <a:cubicBezTo>
                    <a:pt x="29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í$1îḑê">
              <a:extLst>
                <a:ext uri="{FF2B5EF4-FFF2-40B4-BE49-F238E27FC236}">
                  <a16:creationId xmlns:a16="http://schemas.microsoft.com/office/drawing/2014/main" id="{AE6123D4-E86B-475D-9A6A-8CD83B2676B1}"/>
                </a:ext>
              </a:extLst>
            </p:cNvPr>
            <p:cNvSpPr/>
            <p:nvPr/>
          </p:nvSpPr>
          <p:spPr bwMode="auto">
            <a:xfrm>
              <a:off x="8233464" y="2532461"/>
              <a:ext cx="123436" cy="72519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3" y="15"/>
                    <a:pt x="12" y="20"/>
                    <a:pt x="21" y="20"/>
                  </a:cubicBezTo>
                  <a:cubicBezTo>
                    <a:pt x="29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îşḻîďê">
              <a:extLst>
                <a:ext uri="{FF2B5EF4-FFF2-40B4-BE49-F238E27FC236}">
                  <a16:creationId xmlns:a16="http://schemas.microsoft.com/office/drawing/2014/main" id="{D9961E93-83CE-4D51-86B1-9B1370EC9496}"/>
                </a:ext>
              </a:extLst>
            </p:cNvPr>
            <p:cNvSpPr/>
            <p:nvPr/>
          </p:nvSpPr>
          <p:spPr bwMode="auto">
            <a:xfrm>
              <a:off x="8367701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3" y="20"/>
                    <a:pt x="21" y="20"/>
                  </a:cubicBezTo>
                  <a:cubicBezTo>
                    <a:pt x="30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iṣḻíďè">
              <a:extLst>
                <a:ext uri="{FF2B5EF4-FFF2-40B4-BE49-F238E27FC236}">
                  <a16:creationId xmlns:a16="http://schemas.microsoft.com/office/drawing/2014/main" id="{FDCF22DB-51A0-450A-82A8-DA9089770B0B}"/>
                </a:ext>
              </a:extLst>
            </p:cNvPr>
            <p:cNvSpPr/>
            <p:nvPr/>
          </p:nvSpPr>
          <p:spPr bwMode="auto">
            <a:xfrm>
              <a:off x="8506566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3" y="20"/>
                    <a:pt x="21" y="20"/>
                  </a:cubicBezTo>
                  <a:cubicBezTo>
                    <a:pt x="30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ïş1íďé">
              <a:extLst>
                <a:ext uri="{FF2B5EF4-FFF2-40B4-BE49-F238E27FC236}">
                  <a16:creationId xmlns:a16="http://schemas.microsoft.com/office/drawing/2014/main" id="{F718A0F7-B59D-4E35-AF32-4B9D5D521989}"/>
                </a:ext>
              </a:extLst>
            </p:cNvPr>
            <p:cNvSpPr/>
            <p:nvPr/>
          </p:nvSpPr>
          <p:spPr bwMode="auto">
            <a:xfrm>
              <a:off x="8642346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5"/>
                    <a:pt x="14" y="20"/>
                    <a:pt x="22" y="20"/>
                  </a:cubicBezTo>
                  <a:cubicBezTo>
                    <a:pt x="31" y="20"/>
                    <a:pt x="36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iṡlîḋé">
              <a:extLst>
                <a:ext uri="{FF2B5EF4-FFF2-40B4-BE49-F238E27FC236}">
                  <a16:creationId xmlns:a16="http://schemas.microsoft.com/office/drawing/2014/main" id="{58D293BE-8F73-4699-A4A8-3B83CA75C9FB}"/>
                </a:ext>
              </a:extLst>
            </p:cNvPr>
            <p:cNvSpPr/>
            <p:nvPr/>
          </p:nvSpPr>
          <p:spPr bwMode="auto">
            <a:xfrm>
              <a:off x="7153402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0" y="20"/>
                    <a:pt x="18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îṣļïḑé">
              <a:extLst>
                <a:ext uri="{FF2B5EF4-FFF2-40B4-BE49-F238E27FC236}">
                  <a16:creationId xmlns:a16="http://schemas.microsoft.com/office/drawing/2014/main" id="{430D99E4-85E8-47C3-AC50-61783087990F}"/>
                </a:ext>
              </a:extLst>
            </p:cNvPr>
            <p:cNvSpPr/>
            <p:nvPr/>
          </p:nvSpPr>
          <p:spPr bwMode="auto">
            <a:xfrm>
              <a:off x="7290725" y="2623494"/>
              <a:ext cx="121893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0" y="20"/>
                    <a:pt x="19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íśḷïde">
              <a:extLst>
                <a:ext uri="{FF2B5EF4-FFF2-40B4-BE49-F238E27FC236}">
                  <a16:creationId xmlns:a16="http://schemas.microsoft.com/office/drawing/2014/main" id="{B222FE18-E9C8-4CA4-BCE2-C9D41F03E6CD}"/>
                </a:ext>
              </a:extLst>
            </p:cNvPr>
            <p:cNvSpPr/>
            <p:nvPr/>
          </p:nvSpPr>
          <p:spPr bwMode="auto">
            <a:xfrm>
              <a:off x="7429590" y="2623494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1 w 34"/>
                <a:gd name="T5" fmla="*/ 10 h 20"/>
                <a:gd name="T6" fmla="*/ 19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1" y="20"/>
                    <a:pt x="19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ïṧḷíḍê">
              <a:extLst>
                <a:ext uri="{FF2B5EF4-FFF2-40B4-BE49-F238E27FC236}">
                  <a16:creationId xmlns:a16="http://schemas.microsoft.com/office/drawing/2014/main" id="{F672AACC-1B75-4843-84D8-0266C24258F7}"/>
                </a:ext>
              </a:extLst>
            </p:cNvPr>
            <p:cNvSpPr/>
            <p:nvPr/>
          </p:nvSpPr>
          <p:spPr bwMode="auto">
            <a:xfrm>
              <a:off x="7568455" y="2623494"/>
              <a:ext cx="124979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1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8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íṧ1iḑê">
              <a:extLst>
                <a:ext uri="{FF2B5EF4-FFF2-40B4-BE49-F238E27FC236}">
                  <a16:creationId xmlns:a16="http://schemas.microsoft.com/office/drawing/2014/main" id="{6C5966F7-F5AD-4304-965B-79E83CE3BEC1}"/>
                </a:ext>
              </a:extLst>
            </p:cNvPr>
            <p:cNvSpPr/>
            <p:nvPr/>
          </p:nvSpPr>
          <p:spPr bwMode="auto">
            <a:xfrm>
              <a:off x="7707320" y="2623494"/>
              <a:ext cx="123436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9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ïslíḑe">
              <a:extLst>
                <a:ext uri="{FF2B5EF4-FFF2-40B4-BE49-F238E27FC236}">
                  <a16:creationId xmlns:a16="http://schemas.microsoft.com/office/drawing/2014/main" id="{999DD761-21B0-4F16-9AA4-02A2AF7398CA}"/>
                </a:ext>
              </a:extLst>
            </p:cNvPr>
            <p:cNvSpPr/>
            <p:nvPr/>
          </p:nvSpPr>
          <p:spPr bwMode="auto">
            <a:xfrm>
              <a:off x="7846185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0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6"/>
                    <a:pt x="12" y="20"/>
                    <a:pt x="20" y="20"/>
                  </a:cubicBezTo>
                  <a:cubicBezTo>
                    <a:pt x="29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îsḷíďè">
              <a:extLst>
                <a:ext uri="{FF2B5EF4-FFF2-40B4-BE49-F238E27FC236}">
                  <a16:creationId xmlns:a16="http://schemas.microsoft.com/office/drawing/2014/main" id="{A25EBFBC-FA01-4185-80F5-8157A4BD3040}"/>
                </a:ext>
              </a:extLst>
            </p:cNvPr>
            <p:cNvSpPr/>
            <p:nvPr/>
          </p:nvSpPr>
          <p:spPr bwMode="auto">
            <a:xfrm>
              <a:off x="7985050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29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iS1ídé">
              <a:extLst>
                <a:ext uri="{FF2B5EF4-FFF2-40B4-BE49-F238E27FC236}">
                  <a16:creationId xmlns:a16="http://schemas.microsoft.com/office/drawing/2014/main" id="{241A0C32-E872-47DD-B23A-F9DCB5B6210B}"/>
                </a:ext>
              </a:extLst>
            </p:cNvPr>
            <p:cNvSpPr/>
            <p:nvPr/>
          </p:nvSpPr>
          <p:spPr bwMode="auto">
            <a:xfrm>
              <a:off x="8123916" y="2623494"/>
              <a:ext cx="126522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îşḻïḍe">
              <a:extLst>
                <a:ext uri="{FF2B5EF4-FFF2-40B4-BE49-F238E27FC236}">
                  <a16:creationId xmlns:a16="http://schemas.microsoft.com/office/drawing/2014/main" id="{73C21DC0-4850-421B-9837-702ADD0C16E2}"/>
                </a:ext>
              </a:extLst>
            </p:cNvPr>
            <p:cNvSpPr/>
            <p:nvPr/>
          </p:nvSpPr>
          <p:spPr bwMode="auto">
            <a:xfrm>
              <a:off x="8262781" y="2623494"/>
              <a:ext cx="126522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ïŝḻídè">
              <a:extLst>
                <a:ext uri="{FF2B5EF4-FFF2-40B4-BE49-F238E27FC236}">
                  <a16:creationId xmlns:a16="http://schemas.microsoft.com/office/drawing/2014/main" id="{BE58816A-1620-4CC5-87DF-0FA51D5645E8}"/>
                </a:ext>
              </a:extLst>
            </p:cNvPr>
            <p:cNvSpPr/>
            <p:nvPr/>
          </p:nvSpPr>
          <p:spPr bwMode="auto">
            <a:xfrm>
              <a:off x="8400103" y="2623494"/>
              <a:ext cx="132693" cy="72519"/>
            </a:xfrm>
            <a:custGeom>
              <a:avLst/>
              <a:gdLst>
                <a:gd name="T0" fmla="*/ 33 w 36"/>
                <a:gd name="T1" fmla="*/ 10 h 20"/>
                <a:gd name="T2" fmla="*/ 14 w 36"/>
                <a:gd name="T3" fmla="*/ 0 h 20"/>
                <a:gd name="T4" fmla="*/ 2 w 36"/>
                <a:gd name="T5" fmla="*/ 10 h 20"/>
                <a:gd name="T6" fmla="*/ 2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3" y="20"/>
                    <a:pt x="22" y="20"/>
                  </a:cubicBezTo>
                  <a:cubicBezTo>
                    <a:pt x="30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îṣ1îdè">
              <a:extLst>
                <a:ext uri="{FF2B5EF4-FFF2-40B4-BE49-F238E27FC236}">
                  <a16:creationId xmlns:a16="http://schemas.microsoft.com/office/drawing/2014/main" id="{44B18006-6336-43F2-8D4B-E2E520FDBF07}"/>
                </a:ext>
              </a:extLst>
            </p:cNvPr>
            <p:cNvSpPr/>
            <p:nvPr/>
          </p:nvSpPr>
          <p:spPr bwMode="auto">
            <a:xfrm>
              <a:off x="8538968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2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2" y="20"/>
                  </a:cubicBezTo>
                  <a:cubicBezTo>
                    <a:pt x="31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íšḷîḍê">
              <a:extLst>
                <a:ext uri="{FF2B5EF4-FFF2-40B4-BE49-F238E27FC236}">
                  <a16:creationId xmlns:a16="http://schemas.microsoft.com/office/drawing/2014/main" id="{7A6A7335-AFC6-4EE0-B3CC-3F86A30647FB}"/>
                </a:ext>
              </a:extLst>
            </p:cNvPr>
            <p:cNvSpPr/>
            <p:nvPr/>
          </p:nvSpPr>
          <p:spPr bwMode="auto">
            <a:xfrm>
              <a:off x="8677833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íṩḻídè">
              <a:extLst>
                <a:ext uri="{FF2B5EF4-FFF2-40B4-BE49-F238E27FC236}">
                  <a16:creationId xmlns:a16="http://schemas.microsoft.com/office/drawing/2014/main" id="{BC2D53B6-30F8-4923-8E87-7D64317ACD0B}"/>
                </a:ext>
              </a:extLst>
            </p:cNvPr>
            <p:cNvSpPr/>
            <p:nvPr/>
          </p:nvSpPr>
          <p:spPr bwMode="auto">
            <a:xfrm>
              <a:off x="7170375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4 w 33"/>
                <a:gd name="T3" fmla="*/ 0 h 22"/>
                <a:gd name="T4" fmla="*/ 1 w 33"/>
                <a:gd name="T5" fmla="*/ 11 h 22"/>
                <a:gd name="T6" fmla="*/ 19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ïsḷíḋé">
              <a:extLst>
                <a:ext uri="{FF2B5EF4-FFF2-40B4-BE49-F238E27FC236}">
                  <a16:creationId xmlns:a16="http://schemas.microsoft.com/office/drawing/2014/main" id="{DA8618CD-D5C9-4E92-8884-B97644FE874D}"/>
                </a:ext>
              </a:extLst>
            </p:cNvPr>
            <p:cNvSpPr/>
            <p:nvPr/>
          </p:nvSpPr>
          <p:spPr bwMode="auto">
            <a:xfrm>
              <a:off x="7309240" y="2714528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iSļiḑê">
              <a:extLst>
                <a:ext uri="{FF2B5EF4-FFF2-40B4-BE49-F238E27FC236}">
                  <a16:creationId xmlns:a16="http://schemas.microsoft.com/office/drawing/2014/main" id="{8D83F68F-C2F2-4F6A-A110-97DE2A80A1B5}"/>
                </a:ext>
              </a:extLst>
            </p:cNvPr>
            <p:cNvSpPr/>
            <p:nvPr/>
          </p:nvSpPr>
          <p:spPr bwMode="auto">
            <a:xfrm>
              <a:off x="7452733" y="2714528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1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íSḻíďè">
              <a:extLst>
                <a:ext uri="{FF2B5EF4-FFF2-40B4-BE49-F238E27FC236}">
                  <a16:creationId xmlns:a16="http://schemas.microsoft.com/office/drawing/2014/main" id="{B8DD2006-C9EC-4FFC-8659-72291D44AF83}"/>
                </a:ext>
              </a:extLst>
            </p:cNvPr>
            <p:cNvSpPr/>
            <p:nvPr/>
          </p:nvSpPr>
          <p:spPr bwMode="auto">
            <a:xfrm>
              <a:off x="7590056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íŝḻîďe">
              <a:extLst>
                <a:ext uri="{FF2B5EF4-FFF2-40B4-BE49-F238E27FC236}">
                  <a16:creationId xmlns:a16="http://schemas.microsoft.com/office/drawing/2014/main" id="{9E499910-F613-4F46-9806-FC0FD129E41E}"/>
                </a:ext>
              </a:extLst>
            </p:cNvPr>
            <p:cNvSpPr/>
            <p:nvPr/>
          </p:nvSpPr>
          <p:spPr bwMode="auto">
            <a:xfrm>
              <a:off x="7733550" y="2714528"/>
              <a:ext cx="126522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i$ļïḍe">
              <a:extLst>
                <a:ext uri="{FF2B5EF4-FFF2-40B4-BE49-F238E27FC236}">
                  <a16:creationId xmlns:a16="http://schemas.microsoft.com/office/drawing/2014/main" id="{8A3670A9-54EF-4154-A38D-96A260020BDA}"/>
                </a:ext>
              </a:extLst>
            </p:cNvPr>
            <p:cNvSpPr/>
            <p:nvPr/>
          </p:nvSpPr>
          <p:spPr bwMode="auto">
            <a:xfrm>
              <a:off x="7872415" y="2714528"/>
              <a:ext cx="126522" cy="80233"/>
            </a:xfrm>
            <a:custGeom>
              <a:avLst/>
              <a:gdLst>
                <a:gd name="T0" fmla="*/ 34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2" y="22"/>
                    <a:pt x="21" y="22"/>
                  </a:cubicBezTo>
                  <a:cubicBezTo>
                    <a:pt x="30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iṥļíḓe">
              <a:extLst>
                <a:ext uri="{FF2B5EF4-FFF2-40B4-BE49-F238E27FC236}">
                  <a16:creationId xmlns:a16="http://schemas.microsoft.com/office/drawing/2014/main" id="{8421E5E8-AA41-4737-9D55-333942589ED2}"/>
                </a:ext>
              </a:extLst>
            </p:cNvPr>
            <p:cNvSpPr/>
            <p:nvPr/>
          </p:nvSpPr>
          <p:spPr bwMode="auto">
            <a:xfrm>
              <a:off x="8014366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3" y="17"/>
                    <a:pt x="12" y="22"/>
                    <a:pt x="21" y="22"/>
                  </a:cubicBezTo>
                  <a:cubicBezTo>
                    <a:pt x="30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îślíḑe">
              <a:extLst>
                <a:ext uri="{FF2B5EF4-FFF2-40B4-BE49-F238E27FC236}">
                  <a16:creationId xmlns:a16="http://schemas.microsoft.com/office/drawing/2014/main" id="{9893A328-E954-4CDB-9528-14C79388E524}"/>
                </a:ext>
              </a:extLst>
            </p:cNvPr>
            <p:cNvSpPr/>
            <p:nvPr/>
          </p:nvSpPr>
          <p:spPr bwMode="auto">
            <a:xfrm>
              <a:off x="815323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5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ïslïḋè">
              <a:extLst>
                <a:ext uri="{FF2B5EF4-FFF2-40B4-BE49-F238E27FC236}">
                  <a16:creationId xmlns:a16="http://schemas.microsoft.com/office/drawing/2014/main" id="{ABF7DFAB-E0A3-4FA2-A4D6-48C5A5FE588E}"/>
                </a:ext>
              </a:extLst>
            </p:cNvPr>
            <p:cNvSpPr/>
            <p:nvPr/>
          </p:nvSpPr>
          <p:spPr bwMode="auto">
            <a:xfrm>
              <a:off x="8295182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ïsļîdè">
              <a:extLst>
                <a:ext uri="{FF2B5EF4-FFF2-40B4-BE49-F238E27FC236}">
                  <a16:creationId xmlns:a16="http://schemas.microsoft.com/office/drawing/2014/main" id="{BCEB9638-6CD6-4887-AFF6-41C12C24FEEC}"/>
                </a:ext>
              </a:extLst>
            </p:cNvPr>
            <p:cNvSpPr/>
            <p:nvPr/>
          </p:nvSpPr>
          <p:spPr bwMode="auto">
            <a:xfrm>
              <a:off x="8437133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1" y="22"/>
                  </a:cubicBezTo>
                  <a:cubicBezTo>
                    <a:pt x="30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í$lîḋe">
              <a:extLst>
                <a:ext uri="{FF2B5EF4-FFF2-40B4-BE49-F238E27FC236}">
                  <a16:creationId xmlns:a16="http://schemas.microsoft.com/office/drawing/2014/main" id="{5F6BE61E-A030-46E8-A63E-32D7E601EB18}"/>
                </a:ext>
              </a:extLst>
            </p:cNvPr>
            <p:cNvSpPr/>
            <p:nvPr/>
          </p:nvSpPr>
          <p:spPr bwMode="auto">
            <a:xfrm>
              <a:off x="8575998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ïSļîdê">
              <a:extLst>
                <a:ext uri="{FF2B5EF4-FFF2-40B4-BE49-F238E27FC236}">
                  <a16:creationId xmlns:a16="http://schemas.microsoft.com/office/drawing/2014/main" id="{7C4BD5CC-6BE2-499D-B123-E70912907B9D}"/>
                </a:ext>
              </a:extLst>
            </p:cNvPr>
            <p:cNvSpPr/>
            <p:nvPr/>
          </p:nvSpPr>
          <p:spPr bwMode="auto">
            <a:xfrm>
              <a:off x="871795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3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1" y="5"/>
                    <a:pt x="22" y="0"/>
                    <a:pt x="13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íšľïḓé">
              <a:extLst>
                <a:ext uri="{FF2B5EF4-FFF2-40B4-BE49-F238E27FC236}">
                  <a16:creationId xmlns:a16="http://schemas.microsoft.com/office/drawing/2014/main" id="{3C0298F8-7339-4BE0-B622-B0550E0C4EAD}"/>
                </a:ext>
              </a:extLst>
            </p:cNvPr>
            <p:cNvSpPr/>
            <p:nvPr/>
          </p:nvSpPr>
          <p:spPr bwMode="auto">
            <a:xfrm>
              <a:off x="7185804" y="2810191"/>
              <a:ext cx="128065" cy="80233"/>
            </a:xfrm>
            <a:custGeom>
              <a:avLst/>
              <a:gdLst>
                <a:gd name="T0" fmla="*/ 34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0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7" y="0"/>
                    <a:pt x="0" y="5"/>
                    <a:pt x="2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iṧ1ïḓé">
              <a:extLst>
                <a:ext uri="{FF2B5EF4-FFF2-40B4-BE49-F238E27FC236}">
                  <a16:creationId xmlns:a16="http://schemas.microsoft.com/office/drawing/2014/main" id="{B5F65B19-0D8F-4CF0-8AA4-8CCA1F5C7027}"/>
                </a:ext>
              </a:extLst>
            </p:cNvPr>
            <p:cNvSpPr/>
            <p:nvPr/>
          </p:nvSpPr>
          <p:spPr bwMode="auto">
            <a:xfrm>
              <a:off x="7330841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ś1ídè">
              <a:extLst>
                <a:ext uri="{FF2B5EF4-FFF2-40B4-BE49-F238E27FC236}">
                  <a16:creationId xmlns:a16="http://schemas.microsoft.com/office/drawing/2014/main" id="{0E3CF0E4-D7D1-46B0-AD50-E257557BC5C1}"/>
                </a:ext>
              </a:extLst>
            </p:cNvPr>
            <p:cNvSpPr/>
            <p:nvPr/>
          </p:nvSpPr>
          <p:spPr bwMode="auto">
            <a:xfrm>
              <a:off x="7474336" y="2810191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20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1" y="22"/>
                    <a:pt x="20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îŝľidè">
              <a:extLst>
                <a:ext uri="{FF2B5EF4-FFF2-40B4-BE49-F238E27FC236}">
                  <a16:creationId xmlns:a16="http://schemas.microsoft.com/office/drawing/2014/main" id="{96D19835-1D12-4AC0-96A2-16B7B9A2CAA9}"/>
                </a:ext>
              </a:extLst>
            </p:cNvPr>
            <p:cNvSpPr/>
            <p:nvPr/>
          </p:nvSpPr>
          <p:spPr bwMode="auto">
            <a:xfrm>
              <a:off x="7616287" y="2810191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ïş1iḑè">
              <a:extLst>
                <a:ext uri="{FF2B5EF4-FFF2-40B4-BE49-F238E27FC236}">
                  <a16:creationId xmlns:a16="http://schemas.microsoft.com/office/drawing/2014/main" id="{8FBE3A03-40BF-416F-B315-A1110DC90023}"/>
                </a:ext>
              </a:extLst>
            </p:cNvPr>
            <p:cNvSpPr/>
            <p:nvPr/>
          </p:nvSpPr>
          <p:spPr bwMode="auto">
            <a:xfrm>
              <a:off x="7758238" y="2810191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íś1íḍè">
              <a:extLst>
                <a:ext uri="{FF2B5EF4-FFF2-40B4-BE49-F238E27FC236}">
                  <a16:creationId xmlns:a16="http://schemas.microsoft.com/office/drawing/2014/main" id="{908BD58D-2921-41AF-BDFF-89364290C35A}"/>
                </a:ext>
              </a:extLst>
            </p:cNvPr>
            <p:cNvSpPr/>
            <p:nvPr/>
          </p:nvSpPr>
          <p:spPr bwMode="auto">
            <a:xfrm>
              <a:off x="7900189" y="2810191"/>
              <a:ext cx="128065" cy="80233"/>
            </a:xfrm>
            <a:custGeom>
              <a:avLst/>
              <a:gdLst>
                <a:gd name="T0" fmla="*/ 34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7"/>
                    <a:pt x="12" y="22"/>
                    <a:pt x="21" y="22"/>
                  </a:cubicBezTo>
                  <a:cubicBezTo>
                    <a:pt x="30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ïşľïḍè">
              <a:extLst>
                <a:ext uri="{FF2B5EF4-FFF2-40B4-BE49-F238E27FC236}">
                  <a16:creationId xmlns:a16="http://schemas.microsoft.com/office/drawing/2014/main" id="{C3BB0CE7-9ABA-4C88-9E2A-D8FC66116F17}"/>
                </a:ext>
              </a:extLst>
            </p:cNvPr>
            <p:cNvSpPr/>
            <p:nvPr/>
          </p:nvSpPr>
          <p:spPr bwMode="auto">
            <a:xfrm>
              <a:off x="8043682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1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2" y="22"/>
                    <a:pt x="21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ṥľîḓê">
              <a:extLst>
                <a:ext uri="{FF2B5EF4-FFF2-40B4-BE49-F238E27FC236}">
                  <a16:creationId xmlns:a16="http://schemas.microsoft.com/office/drawing/2014/main" id="{682C22C3-1AF6-49D2-AC1A-33BFA98F1506}"/>
                </a:ext>
              </a:extLst>
            </p:cNvPr>
            <p:cNvSpPr/>
            <p:nvPr/>
          </p:nvSpPr>
          <p:spPr bwMode="auto">
            <a:xfrm>
              <a:off x="8185633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iṣḻídè">
              <a:extLst>
                <a:ext uri="{FF2B5EF4-FFF2-40B4-BE49-F238E27FC236}">
                  <a16:creationId xmlns:a16="http://schemas.microsoft.com/office/drawing/2014/main" id="{A5D81CDA-72E6-4E1D-A921-D4F038A9018C}"/>
                </a:ext>
              </a:extLst>
            </p:cNvPr>
            <p:cNvSpPr/>
            <p:nvPr/>
          </p:nvSpPr>
          <p:spPr bwMode="auto">
            <a:xfrm>
              <a:off x="8327585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sḷïḋé">
              <a:extLst>
                <a:ext uri="{FF2B5EF4-FFF2-40B4-BE49-F238E27FC236}">
                  <a16:creationId xmlns:a16="http://schemas.microsoft.com/office/drawing/2014/main" id="{D25E5E2B-FD60-412A-B826-2D7ABD136D88}"/>
                </a:ext>
              </a:extLst>
            </p:cNvPr>
            <p:cNvSpPr/>
            <p:nvPr/>
          </p:nvSpPr>
          <p:spPr bwMode="auto">
            <a:xfrm>
              <a:off x="8469536" y="2810191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2 w 37"/>
                <a:gd name="T5" fmla="*/ 11 h 22"/>
                <a:gd name="T6" fmla="*/ 22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4" y="22"/>
                    <a:pt x="22" y="22"/>
                  </a:cubicBezTo>
                  <a:cubicBezTo>
                    <a:pt x="31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îşlîḍè">
              <a:extLst>
                <a:ext uri="{FF2B5EF4-FFF2-40B4-BE49-F238E27FC236}">
                  <a16:creationId xmlns:a16="http://schemas.microsoft.com/office/drawing/2014/main" id="{1FD0DAEF-60CE-4B1F-9F9A-9C0AACB1A34E}"/>
                </a:ext>
              </a:extLst>
            </p:cNvPr>
            <p:cNvSpPr/>
            <p:nvPr/>
          </p:nvSpPr>
          <p:spPr bwMode="auto">
            <a:xfrm>
              <a:off x="8613030" y="2810191"/>
              <a:ext cx="134237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2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îṣḷîḍe">
              <a:extLst>
                <a:ext uri="{FF2B5EF4-FFF2-40B4-BE49-F238E27FC236}">
                  <a16:creationId xmlns:a16="http://schemas.microsoft.com/office/drawing/2014/main" id="{15947AB4-62AF-408D-B5CF-EC29EC2287F0}"/>
                </a:ext>
              </a:extLst>
            </p:cNvPr>
            <p:cNvSpPr/>
            <p:nvPr/>
          </p:nvSpPr>
          <p:spPr bwMode="auto">
            <a:xfrm>
              <a:off x="8754981" y="2810191"/>
              <a:ext cx="134237" cy="80233"/>
            </a:xfrm>
            <a:custGeom>
              <a:avLst/>
              <a:gdLst>
                <a:gd name="T0" fmla="*/ 35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3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ïŝliďè">
              <a:extLst>
                <a:ext uri="{FF2B5EF4-FFF2-40B4-BE49-F238E27FC236}">
                  <a16:creationId xmlns:a16="http://schemas.microsoft.com/office/drawing/2014/main" id="{4CE2BF6D-EC57-4991-A393-ED551674D38C}"/>
                </a:ext>
              </a:extLst>
            </p:cNvPr>
            <p:cNvSpPr/>
            <p:nvPr/>
          </p:nvSpPr>
          <p:spPr bwMode="auto">
            <a:xfrm>
              <a:off x="9889046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12 w 35"/>
                <a:gd name="T3" fmla="*/ 0 h 18"/>
                <a:gd name="T4" fmla="*/ 3 w 35"/>
                <a:gd name="T5" fmla="*/ 9 h 18"/>
                <a:gd name="T6" fmla="*/ 23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8"/>
                    <a:pt x="23" y="18"/>
                  </a:cubicBezTo>
                  <a:cubicBezTo>
                    <a:pt x="31" y="18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ï$lidê">
              <a:extLst>
                <a:ext uri="{FF2B5EF4-FFF2-40B4-BE49-F238E27FC236}">
                  <a16:creationId xmlns:a16="http://schemas.microsoft.com/office/drawing/2014/main" id="{B79BB008-67BD-456A-BCC5-6E2EDD58E7C3}"/>
                </a:ext>
              </a:extLst>
            </p:cNvPr>
            <p:cNvSpPr/>
            <p:nvPr/>
          </p:nvSpPr>
          <p:spPr bwMode="auto">
            <a:xfrm>
              <a:off x="9808813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íSlïḓè">
              <a:extLst>
                <a:ext uri="{FF2B5EF4-FFF2-40B4-BE49-F238E27FC236}">
                  <a16:creationId xmlns:a16="http://schemas.microsoft.com/office/drawing/2014/main" id="{19E9C892-E5C3-408E-B576-2E5C05ABBB9C}"/>
                </a:ext>
              </a:extLst>
            </p:cNvPr>
            <p:cNvSpPr/>
            <p:nvPr/>
          </p:nvSpPr>
          <p:spPr bwMode="auto">
            <a:xfrm>
              <a:off x="9939964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îSḷîḋé">
              <a:extLst>
                <a:ext uri="{FF2B5EF4-FFF2-40B4-BE49-F238E27FC236}">
                  <a16:creationId xmlns:a16="http://schemas.microsoft.com/office/drawing/2014/main" id="{6ED5DEB1-676E-4FF4-803B-8409CFC3ECD3}"/>
                </a:ext>
              </a:extLst>
            </p:cNvPr>
            <p:cNvSpPr/>
            <p:nvPr/>
          </p:nvSpPr>
          <p:spPr bwMode="auto">
            <a:xfrm>
              <a:off x="9506396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13 w 36"/>
                <a:gd name="T3" fmla="*/ 0 h 19"/>
                <a:gd name="T4" fmla="*/ 3 w 36"/>
                <a:gd name="T5" fmla="*/ 9 h 19"/>
                <a:gd name="T6" fmla="*/ 24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6" y="15"/>
                    <a:pt x="15" y="19"/>
                    <a:pt x="24" y="19"/>
                  </a:cubicBezTo>
                  <a:cubicBezTo>
                    <a:pt x="32" y="19"/>
                    <a:pt x="36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iṣ1iďe">
              <a:extLst>
                <a:ext uri="{FF2B5EF4-FFF2-40B4-BE49-F238E27FC236}">
                  <a16:creationId xmlns:a16="http://schemas.microsoft.com/office/drawing/2014/main" id="{0E4A024B-0C4D-4672-B1C0-1778A8789312}"/>
                </a:ext>
              </a:extLst>
            </p:cNvPr>
            <p:cNvSpPr/>
            <p:nvPr/>
          </p:nvSpPr>
          <p:spPr bwMode="auto">
            <a:xfrm>
              <a:off x="9554228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6" y="16"/>
                    <a:pt x="15" y="20"/>
                    <a:pt x="24" y="20"/>
                  </a:cubicBezTo>
                  <a:cubicBezTo>
                    <a:pt x="32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iṩlïḑè">
              <a:extLst>
                <a:ext uri="{FF2B5EF4-FFF2-40B4-BE49-F238E27FC236}">
                  <a16:creationId xmlns:a16="http://schemas.microsoft.com/office/drawing/2014/main" id="{60EB9594-C0EF-4916-950E-3809315EC1C1}"/>
                </a:ext>
              </a:extLst>
            </p:cNvPr>
            <p:cNvSpPr/>
            <p:nvPr/>
          </p:nvSpPr>
          <p:spPr bwMode="auto">
            <a:xfrm>
              <a:off x="9600516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3 w 37"/>
                <a:gd name="T5" fmla="*/ 10 h 20"/>
                <a:gd name="T6" fmla="*/ 2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2" y="0"/>
                    <a:pt x="13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6" y="15"/>
                    <a:pt x="16" y="20"/>
                    <a:pt x="24" y="20"/>
                  </a:cubicBezTo>
                  <a:cubicBezTo>
                    <a:pt x="33" y="20"/>
                    <a:pt x="37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iṡlíďê">
              <a:extLst>
                <a:ext uri="{FF2B5EF4-FFF2-40B4-BE49-F238E27FC236}">
                  <a16:creationId xmlns:a16="http://schemas.microsoft.com/office/drawing/2014/main" id="{A42F9977-99C2-4349-B88B-DC20A0498EDF}"/>
                </a:ext>
              </a:extLst>
            </p:cNvPr>
            <p:cNvSpPr/>
            <p:nvPr/>
          </p:nvSpPr>
          <p:spPr bwMode="auto">
            <a:xfrm>
              <a:off x="9375246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2 w 37"/>
                <a:gd name="T5" fmla="*/ 10 h 20"/>
                <a:gd name="T6" fmla="*/ 2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6"/>
                    <a:pt x="15" y="20"/>
                    <a:pt x="23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íṩḻíḋè">
              <a:extLst>
                <a:ext uri="{FF2B5EF4-FFF2-40B4-BE49-F238E27FC236}">
                  <a16:creationId xmlns:a16="http://schemas.microsoft.com/office/drawing/2014/main" id="{8B531676-DD10-4F3E-977F-F113415901BB}"/>
                </a:ext>
              </a:extLst>
            </p:cNvPr>
            <p:cNvSpPr/>
            <p:nvPr/>
          </p:nvSpPr>
          <p:spPr bwMode="auto">
            <a:xfrm>
              <a:off x="9514111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3 w 37"/>
                <a:gd name="T5" fmla="*/ 10 h 20"/>
                <a:gd name="T6" fmla="*/ 2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3" y="10"/>
                  </a:cubicBezTo>
                  <a:cubicBezTo>
                    <a:pt x="6" y="16"/>
                    <a:pt x="15" y="20"/>
                    <a:pt x="24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íṧḻídè">
              <a:extLst>
                <a:ext uri="{FF2B5EF4-FFF2-40B4-BE49-F238E27FC236}">
                  <a16:creationId xmlns:a16="http://schemas.microsoft.com/office/drawing/2014/main" id="{476DF6C8-0520-4311-BFE2-91A869589E4F}"/>
                </a:ext>
              </a:extLst>
            </p:cNvPr>
            <p:cNvSpPr/>
            <p:nvPr/>
          </p:nvSpPr>
          <p:spPr bwMode="auto">
            <a:xfrm>
              <a:off x="9375246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3 w 34"/>
                <a:gd name="T5" fmla="*/ 9 h 18"/>
                <a:gd name="T6" fmla="*/ 2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4"/>
                    <a:pt x="14" y="18"/>
                    <a:pt x="22" y="18"/>
                  </a:cubicBezTo>
                  <a:cubicBezTo>
                    <a:pt x="30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sľîde">
              <a:extLst>
                <a:ext uri="{FF2B5EF4-FFF2-40B4-BE49-F238E27FC236}">
                  <a16:creationId xmlns:a16="http://schemas.microsoft.com/office/drawing/2014/main" id="{2570F6E7-2418-403C-B97C-50B62E273CD0}"/>
                </a:ext>
              </a:extLst>
            </p:cNvPr>
            <p:cNvSpPr/>
            <p:nvPr/>
          </p:nvSpPr>
          <p:spPr bwMode="auto">
            <a:xfrm>
              <a:off x="9418448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íşľiďé">
              <a:extLst>
                <a:ext uri="{FF2B5EF4-FFF2-40B4-BE49-F238E27FC236}">
                  <a16:creationId xmlns:a16="http://schemas.microsoft.com/office/drawing/2014/main" id="{4465990F-1A44-4AB6-94E6-EECC3CB5315C}"/>
                </a:ext>
              </a:extLst>
            </p:cNvPr>
            <p:cNvSpPr/>
            <p:nvPr/>
          </p:nvSpPr>
          <p:spPr bwMode="auto">
            <a:xfrm>
              <a:off x="9463193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4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ïṣļïḓè">
              <a:extLst>
                <a:ext uri="{FF2B5EF4-FFF2-40B4-BE49-F238E27FC236}">
                  <a16:creationId xmlns:a16="http://schemas.microsoft.com/office/drawing/2014/main" id="{80F32A6F-9E8E-4AC2-8541-8E1F92196CD6}"/>
                </a:ext>
              </a:extLst>
            </p:cNvPr>
            <p:cNvSpPr/>
            <p:nvPr/>
          </p:nvSpPr>
          <p:spPr bwMode="auto">
            <a:xfrm>
              <a:off x="8199520" y="1734757"/>
              <a:ext cx="114178" cy="58632"/>
            </a:xfrm>
            <a:custGeom>
              <a:avLst/>
              <a:gdLst>
                <a:gd name="T0" fmla="*/ 29 w 31"/>
                <a:gd name="T1" fmla="*/ 8 h 16"/>
                <a:gd name="T2" fmla="*/ 13 w 31"/>
                <a:gd name="T3" fmla="*/ 0 h 16"/>
                <a:gd name="T4" fmla="*/ 2 w 31"/>
                <a:gd name="T5" fmla="*/ 8 h 16"/>
                <a:gd name="T6" fmla="*/ 19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2" y="8"/>
                  </a:cubicBezTo>
                  <a:cubicBezTo>
                    <a:pt x="4" y="12"/>
                    <a:pt x="11" y="16"/>
                    <a:pt x="19" y="16"/>
                  </a:cubicBezTo>
                  <a:cubicBezTo>
                    <a:pt x="26" y="16"/>
                    <a:pt x="31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i$1îḋê">
              <a:extLst>
                <a:ext uri="{FF2B5EF4-FFF2-40B4-BE49-F238E27FC236}">
                  <a16:creationId xmlns:a16="http://schemas.microsoft.com/office/drawing/2014/main" id="{FC681CD3-46E4-4D49-982C-D458F682BA7C}"/>
                </a:ext>
              </a:extLst>
            </p:cNvPr>
            <p:cNvSpPr/>
            <p:nvPr/>
          </p:nvSpPr>
          <p:spPr bwMode="auto">
            <a:xfrm>
              <a:off x="710865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3 w 29"/>
                <a:gd name="T3" fmla="*/ 0 h 16"/>
                <a:gd name="T4" fmla="*/ 1 w 29"/>
                <a:gd name="T5" fmla="*/ 8 h 16"/>
                <a:gd name="T6" fmla="*/ 16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1" y="8"/>
                  </a:cubicBezTo>
                  <a:cubicBezTo>
                    <a:pt x="2" y="12"/>
                    <a:pt x="8" y="16"/>
                    <a:pt x="16" y="16"/>
                  </a:cubicBezTo>
                  <a:cubicBezTo>
                    <a:pt x="23" y="16"/>
                    <a:pt x="29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îṧľîḓe">
              <a:extLst>
                <a:ext uri="{FF2B5EF4-FFF2-40B4-BE49-F238E27FC236}">
                  <a16:creationId xmlns:a16="http://schemas.microsoft.com/office/drawing/2014/main" id="{8860804E-2F26-4296-966A-6CCDB858EA9E}"/>
                </a:ext>
              </a:extLst>
            </p:cNvPr>
            <p:cNvSpPr/>
            <p:nvPr/>
          </p:nvSpPr>
          <p:spPr bwMode="auto">
            <a:xfrm>
              <a:off x="722900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3 w 29"/>
                <a:gd name="T3" fmla="*/ 0 h 16"/>
                <a:gd name="T4" fmla="*/ 1 w 29"/>
                <a:gd name="T5" fmla="*/ 8 h 16"/>
                <a:gd name="T6" fmla="*/ 16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1" y="8"/>
                  </a:cubicBezTo>
                  <a:cubicBezTo>
                    <a:pt x="2" y="12"/>
                    <a:pt x="9" y="16"/>
                    <a:pt x="16" y="16"/>
                  </a:cubicBezTo>
                  <a:cubicBezTo>
                    <a:pt x="24" y="16"/>
                    <a:pt x="29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íŝlïḍè">
              <a:extLst>
                <a:ext uri="{FF2B5EF4-FFF2-40B4-BE49-F238E27FC236}">
                  <a16:creationId xmlns:a16="http://schemas.microsoft.com/office/drawing/2014/main" id="{DB8AD4FC-87DE-48BC-8175-356D85D876AF}"/>
                </a:ext>
              </a:extLst>
            </p:cNvPr>
            <p:cNvSpPr/>
            <p:nvPr/>
          </p:nvSpPr>
          <p:spPr bwMode="auto">
            <a:xfrm>
              <a:off x="6875672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9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ïṡliďê">
              <a:extLst>
                <a:ext uri="{FF2B5EF4-FFF2-40B4-BE49-F238E27FC236}">
                  <a16:creationId xmlns:a16="http://schemas.microsoft.com/office/drawing/2014/main" id="{235DBD42-60ED-462F-ADAD-8222AA2D200C}"/>
                </a:ext>
              </a:extLst>
            </p:cNvPr>
            <p:cNvSpPr/>
            <p:nvPr/>
          </p:nvSpPr>
          <p:spPr bwMode="auto">
            <a:xfrm>
              <a:off x="6999108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3 w 29"/>
                <a:gd name="T3" fmla="*/ 0 h 17"/>
                <a:gd name="T4" fmla="*/ 1 w 29"/>
                <a:gd name="T5" fmla="*/ 9 h 17"/>
                <a:gd name="T6" fmla="*/ 16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9" y="17"/>
                    <a:pt x="16" y="17"/>
                  </a:cubicBezTo>
                  <a:cubicBezTo>
                    <a:pt x="24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îṡľiḑé">
              <a:extLst>
                <a:ext uri="{FF2B5EF4-FFF2-40B4-BE49-F238E27FC236}">
                  <a16:creationId xmlns:a16="http://schemas.microsoft.com/office/drawing/2014/main" id="{17C5B702-0FFE-4FC5-A694-DF412AA28684}"/>
                </a:ext>
              </a:extLst>
            </p:cNvPr>
            <p:cNvSpPr/>
            <p:nvPr/>
          </p:nvSpPr>
          <p:spPr bwMode="auto">
            <a:xfrm>
              <a:off x="6889558" y="1878251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3 w 29"/>
                <a:gd name="T3" fmla="*/ 0 h 17"/>
                <a:gd name="T4" fmla="*/ 1 w 29"/>
                <a:gd name="T5" fmla="*/ 9 h 17"/>
                <a:gd name="T6" fmla="*/ 16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ṡ1íḍê">
              <a:extLst>
                <a:ext uri="{FF2B5EF4-FFF2-40B4-BE49-F238E27FC236}">
                  <a16:creationId xmlns:a16="http://schemas.microsoft.com/office/drawing/2014/main" id="{1FBA1AB8-EA0F-42A0-B9F7-287EEAA6C9C8}"/>
                </a:ext>
              </a:extLst>
            </p:cNvPr>
            <p:cNvSpPr/>
            <p:nvPr/>
          </p:nvSpPr>
          <p:spPr bwMode="auto">
            <a:xfrm>
              <a:off x="7137973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íŝḻîdè">
              <a:extLst>
                <a:ext uri="{FF2B5EF4-FFF2-40B4-BE49-F238E27FC236}">
                  <a16:creationId xmlns:a16="http://schemas.microsoft.com/office/drawing/2014/main" id="{E51E6213-EACA-4E1B-9170-74AD8CC7975F}"/>
                </a:ext>
              </a:extLst>
            </p:cNvPr>
            <p:cNvSpPr/>
            <p:nvPr/>
          </p:nvSpPr>
          <p:spPr bwMode="auto">
            <a:xfrm>
              <a:off x="7262951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ïšlíḓè">
              <a:extLst>
                <a:ext uri="{FF2B5EF4-FFF2-40B4-BE49-F238E27FC236}">
                  <a16:creationId xmlns:a16="http://schemas.microsoft.com/office/drawing/2014/main" id="{B3EFB9C5-68FF-4CCE-B9A8-27F0C183FFB7}"/>
                </a:ext>
              </a:extLst>
            </p:cNvPr>
            <p:cNvSpPr/>
            <p:nvPr/>
          </p:nvSpPr>
          <p:spPr bwMode="auto">
            <a:xfrm>
              <a:off x="7386387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íşliďè">
              <a:extLst>
                <a:ext uri="{FF2B5EF4-FFF2-40B4-BE49-F238E27FC236}">
                  <a16:creationId xmlns:a16="http://schemas.microsoft.com/office/drawing/2014/main" id="{640CA24C-9AE2-41E7-B9BD-1BC3FC54B177}"/>
                </a:ext>
              </a:extLst>
            </p:cNvPr>
            <p:cNvSpPr/>
            <p:nvPr/>
          </p:nvSpPr>
          <p:spPr bwMode="auto">
            <a:xfrm>
              <a:off x="7634802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iSľidê">
              <a:extLst>
                <a:ext uri="{FF2B5EF4-FFF2-40B4-BE49-F238E27FC236}">
                  <a16:creationId xmlns:a16="http://schemas.microsoft.com/office/drawing/2014/main" id="{D00A8248-8340-495A-BCDD-94A52987BCCA}"/>
                </a:ext>
              </a:extLst>
            </p:cNvPr>
            <p:cNvSpPr/>
            <p:nvPr/>
          </p:nvSpPr>
          <p:spPr bwMode="auto">
            <a:xfrm>
              <a:off x="7736637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8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íṩlïḑè">
              <a:extLst>
                <a:ext uri="{FF2B5EF4-FFF2-40B4-BE49-F238E27FC236}">
                  <a16:creationId xmlns:a16="http://schemas.microsoft.com/office/drawing/2014/main" id="{FDE0AE6A-1785-4FBF-B754-34ACC6C92EBE}"/>
                </a:ext>
              </a:extLst>
            </p:cNvPr>
            <p:cNvSpPr/>
            <p:nvPr/>
          </p:nvSpPr>
          <p:spPr bwMode="auto">
            <a:xfrm>
              <a:off x="7860072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2 w 30"/>
                <a:gd name="T3" fmla="*/ 0 h 17"/>
                <a:gd name="T4" fmla="*/ 1 w 30"/>
                <a:gd name="T5" fmla="*/ 9 h 17"/>
                <a:gd name="T6" fmla="*/ 18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ṧľíḍé">
              <a:extLst>
                <a:ext uri="{FF2B5EF4-FFF2-40B4-BE49-F238E27FC236}">
                  <a16:creationId xmlns:a16="http://schemas.microsoft.com/office/drawing/2014/main" id="{47043016-6A9F-4236-941D-2A4D78B51E60}"/>
                </a:ext>
              </a:extLst>
            </p:cNvPr>
            <p:cNvSpPr/>
            <p:nvPr/>
          </p:nvSpPr>
          <p:spPr bwMode="auto">
            <a:xfrm>
              <a:off x="7980422" y="1804190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íśľiḋê">
              <a:extLst>
                <a:ext uri="{FF2B5EF4-FFF2-40B4-BE49-F238E27FC236}">
                  <a16:creationId xmlns:a16="http://schemas.microsoft.com/office/drawing/2014/main" id="{6BEA510C-28DC-4046-B4DF-90CDB44BF13C}"/>
                </a:ext>
              </a:extLst>
            </p:cNvPr>
            <p:cNvSpPr/>
            <p:nvPr/>
          </p:nvSpPr>
          <p:spPr bwMode="auto">
            <a:xfrm>
              <a:off x="8105400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ïṡļiďé">
              <a:extLst>
                <a:ext uri="{FF2B5EF4-FFF2-40B4-BE49-F238E27FC236}">
                  <a16:creationId xmlns:a16="http://schemas.microsoft.com/office/drawing/2014/main" id="{AD880710-9D79-412C-8319-08150E259C9E}"/>
                </a:ext>
              </a:extLst>
            </p:cNvPr>
            <p:cNvSpPr/>
            <p:nvPr/>
          </p:nvSpPr>
          <p:spPr bwMode="auto">
            <a:xfrm>
              <a:off x="8228836" y="1804190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íṧľïḍè">
              <a:extLst>
                <a:ext uri="{FF2B5EF4-FFF2-40B4-BE49-F238E27FC236}">
                  <a16:creationId xmlns:a16="http://schemas.microsoft.com/office/drawing/2014/main" id="{322F8057-70D8-47CC-82A6-A1C825FE2E60}"/>
                </a:ext>
              </a:extLst>
            </p:cNvPr>
            <p:cNvSpPr/>
            <p:nvPr/>
          </p:nvSpPr>
          <p:spPr bwMode="auto">
            <a:xfrm>
              <a:off x="8349186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î$ļiḋé">
              <a:extLst>
                <a:ext uri="{FF2B5EF4-FFF2-40B4-BE49-F238E27FC236}">
                  <a16:creationId xmlns:a16="http://schemas.microsoft.com/office/drawing/2014/main" id="{8B6DF712-35A5-40F3-B691-5ACE16D74BB6}"/>
                </a:ext>
              </a:extLst>
            </p:cNvPr>
            <p:cNvSpPr/>
            <p:nvPr/>
          </p:nvSpPr>
          <p:spPr bwMode="auto">
            <a:xfrm>
              <a:off x="8474165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iSlïḋê">
              <a:extLst>
                <a:ext uri="{FF2B5EF4-FFF2-40B4-BE49-F238E27FC236}">
                  <a16:creationId xmlns:a16="http://schemas.microsoft.com/office/drawing/2014/main" id="{84C4CAEA-9F30-455C-BBAB-D8BA7F1B22C4}"/>
                </a:ext>
              </a:extLst>
            </p:cNvPr>
            <p:cNvSpPr/>
            <p:nvPr/>
          </p:nvSpPr>
          <p:spPr bwMode="auto">
            <a:xfrm>
              <a:off x="92903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3 w 33"/>
                <a:gd name="T5" fmla="*/ 8 h 17"/>
                <a:gd name="T6" fmla="*/ 21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5" y="13"/>
                    <a:pt x="14" y="17"/>
                    <a:pt x="21" y="17"/>
                  </a:cubicBezTo>
                  <a:cubicBezTo>
                    <a:pt x="29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ïšľîḓé">
              <a:extLst>
                <a:ext uri="{FF2B5EF4-FFF2-40B4-BE49-F238E27FC236}">
                  <a16:creationId xmlns:a16="http://schemas.microsoft.com/office/drawing/2014/main" id="{37A599FC-295E-4185-8983-52E8385AB4D8}"/>
                </a:ext>
              </a:extLst>
            </p:cNvPr>
            <p:cNvSpPr/>
            <p:nvPr/>
          </p:nvSpPr>
          <p:spPr bwMode="auto">
            <a:xfrm>
              <a:off x="9415362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3" y="8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ïşḻíḋê">
              <a:extLst>
                <a:ext uri="{FF2B5EF4-FFF2-40B4-BE49-F238E27FC236}">
                  <a16:creationId xmlns:a16="http://schemas.microsoft.com/office/drawing/2014/main" id="{4A70BBEB-C98B-4CF7-95E2-5B06A2288F31}"/>
                </a:ext>
              </a:extLst>
            </p:cNvPr>
            <p:cNvSpPr/>
            <p:nvPr/>
          </p:nvSpPr>
          <p:spPr bwMode="auto">
            <a:xfrm>
              <a:off x="9543426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îḍê">
              <a:extLst>
                <a:ext uri="{FF2B5EF4-FFF2-40B4-BE49-F238E27FC236}">
                  <a16:creationId xmlns:a16="http://schemas.microsoft.com/office/drawing/2014/main" id="{AFB7D5FC-4745-455E-9E32-C93E085E742D}"/>
                </a:ext>
              </a:extLst>
            </p:cNvPr>
            <p:cNvSpPr/>
            <p:nvPr/>
          </p:nvSpPr>
          <p:spPr bwMode="auto">
            <a:xfrm>
              <a:off x="9666862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3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sľïďe">
              <a:extLst>
                <a:ext uri="{FF2B5EF4-FFF2-40B4-BE49-F238E27FC236}">
                  <a16:creationId xmlns:a16="http://schemas.microsoft.com/office/drawing/2014/main" id="{6D563F08-E492-4313-96F7-E23B39FB69FC}"/>
                </a:ext>
              </a:extLst>
            </p:cNvPr>
            <p:cNvSpPr/>
            <p:nvPr/>
          </p:nvSpPr>
          <p:spPr bwMode="auto">
            <a:xfrm>
              <a:off x="9794927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ś1ïde">
              <a:extLst>
                <a:ext uri="{FF2B5EF4-FFF2-40B4-BE49-F238E27FC236}">
                  <a16:creationId xmlns:a16="http://schemas.microsoft.com/office/drawing/2014/main" id="{2930E51A-0378-4CD2-B8C6-7C9789A4C10C}"/>
                </a:ext>
              </a:extLst>
            </p:cNvPr>
            <p:cNvSpPr/>
            <p:nvPr/>
          </p:nvSpPr>
          <p:spPr bwMode="auto">
            <a:xfrm>
              <a:off x="9918363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12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îš1îḋe">
              <a:extLst>
                <a:ext uri="{FF2B5EF4-FFF2-40B4-BE49-F238E27FC236}">
                  <a16:creationId xmlns:a16="http://schemas.microsoft.com/office/drawing/2014/main" id="{D28F508C-2361-4E48-99DC-70DF6916484A}"/>
                </a:ext>
              </a:extLst>
            </p:cNvPr>
            <p:cNvSpPr/>
            <p:nvPr/>
          </p:nvSpPr>
          <p:spPr bwMode="auto">
            <a:xfrm>
              <a:off x="10046427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1 w 34"/>
                <a:gd name="T3" fmla="*/ 0 h 17"/>
                <a:gd name="T4" fmla="*/ 3 w 34"/>
                <a:gd name="T5" fmla="*/ 8 h 17"/>
                <a:gd name="T6" fmla="*/ 23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iṧ1ïďè">
              <a:extLst>
                <a:ext uri="{FF2B5EF4-FFF2-40B4-BE49-F238E27FC236}">
                  <a16:creationId xmlns:a16="http://schemas.microsoft.com/office/drawing/2014/main" id="{CF478FF6-4114-4F35-B938-EB51CEA2CFF8}"/>
                </a:ext>
              </a:extLst>
            </p:cNvPr>
            <p:cNvSpPr/>
            <p:nvPr/>
          </p:nvSpPr>
          <p:spPr bwMode="auto">
            <a:xfrm>
              <a:off x="10169863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12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7" y="13"/>
                    <a:pt x="16" y="17"/>
                    <a:pt x="23" y="17"/>
                  </a:cubicBezTo>
                  <a:cubicBezTo>
                    <a:pt x="31" y="17"/>
                    <a:pt x="35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sḻïḓe">
              <a:extLst>
                <a:ext uri="{FF2B5EF4-FFF2-40B4-BE49-F238E27FC236}">
                  <a16:creationId xmlns:a16="http://schemas.microsoft.com/office/drawing/2014/main" id="{15F2A8CD-B2B4-4C60-BD8E-8E19A79B805A}"/>
                </a:ext>
              </a:extLst>
            </p:cNvPr>
            <p:cNvSpPr/>
            <p:nvPr/>
          </p:nvSpPr>
          <p:spPr bwMode="auto">
            <a:xfrm>
              <a:off x="10297928" y="1953855"/>
              <a:ext cx="128065" cy="63261"/>
            </a:xfrm>
            <a:custGeom>
              <a:avLst/>
              <a:gdLst>
                <a:gd name="T0" fmla="*/ 31 w 35"/>
                <a:gd name="T1" fmla="*/ 8 h 17"/>
                <a:gd name="T2" fmla="*/ 11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1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8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3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ïṡļîďe">
              <a:extLst>
                <a:ext uri="{FF2B5EF4-FFF2-40B4-BE49-F238E27FC236}">
                  <a16:creationId xmlns:a16="http://schemas.microsoft.com/office/drawing/2014/main" id="{42E384C2-B51C-49B7-AB66-9742CFE2CD25}"/>
                </a:ext>
              </a:extLst>
            </p:cNvPr>
            <p:cNvSpPr/>
            <p:nvPr/>
          </p:nvSpPr>
          <p:spPr bwMode="auto">
            <a:xfrm>
              <a:off x="9330500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îşḻiḍè">
              <a:extLst>
                <a:ext uri="{FF2B5EF4-FFF2-40B4-BE49-F238E27FC236}">
                  <a16:creationId xmlns:a16="http://schemas.microsoft.com/office/drawing/2014/main" id="{B731E4A2-C61C-4B4D-8BFA-6F2079683E37}"/>
                </a:ext>
              </a:extLst>
            </p:cNvPr>
            <p:cNvSpPr/>
            <p:nvPr/>
          </p:nvSpPr>
          <p:spPr bwMode="auto">
            <a:xfrm>
              <a:off x="9458565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Sḻîḓè">
              <a:extLst>
                <a:ext uri="{FF2B5EF4-FFF2-40B4-BE49-F238E27FC236}">
                  <a16:creationId xmlns:a16="http://schemas.microsoft.com/office/drawing/2014/main" id="{896D2B01-B684-4701-8518-7F0D2DE4E6ED}"/>
                </a:ext>
              </a:extLst>
            </p:cNvPr>
            <p:cNvSpPr/>
            <p:nvPr/>
          </p:nvSpPr>
          <p:spPr bwMode="auto">
            <a:xfrm>
              <a:off x="9586629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îŝḻîḑé">
              <a:extLst>
                <a:ext uri="{FF2B5EF4-FFF2-40B4-BE49-F238E27FC236}">
                  <a16:creationId xmlns:a16="http://schemas.microsoft.com/office/drawing/2014/main" id="{F88C4D2D-9913-498C-AE58-195D5825C108}"/>
                </a:ext>
              </a:extLst>
            </p:cNvPr>
            <p:cNvSpPr/>
            <p:nvPr/>
          </p:nvSpPr>
          <p:spPr bwMode="auto">
            <a:xfrm>
              <a:off x="9714694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îS1ïḍê">
              <a:extLst>
                <a:ext uri="{FF2B5EF4-FFF2-40B4-BE49-F238E27FC236}">
                  <a16:creationId xmlns:a16="http://schemas.microsoft.com/office/drawing/2014/main" id="{982C38EB-B74D-4461-9525-F40B53F588E0}"/>
                </a:ext>
              </a:extLst>
            </p:cNvPr>
            <p:cNvSpPr/>
            <p:nvPr/>
          </p:nvSpPr>
          <p:spPr bwMode="auto">
            <a:xfrm>
              <a:off x="9842758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í$ļïďé">
              <a:extLst>
                <a:ext uri="{FF2B5EF4-FFF2-40B4-BE49-F238E27FC236}">
                  <a16:creationId xmlns:a16="http://schemas.microsoft.com/office/drawing/2014/main" id="{B8E602CC-0841-42C3-9C30-BAB87DC2633B}"/>
                </a:ext>
              </a:extLst>
            </p:cNvPr>
            <p:cNvSpPr/>
            <p:nvPr/>
          </p:nvSpPr>
          <p:spPr bwMode="auto">
            <a:xfrm>
              <a:off x="9969280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1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îsḻïďe">
              <a:extLst>
                <a:ext uri="{FF2B5EF4-FFF2-40B4-BE49-F238E27FC236}">
                  <a16:creationId xmlns:a16="http://schemas.microsoft.com/office/drawing/2014/main" id="{DB9701F5-B40E-4D98-912F-53DBD6E801F6}"/>
                </a:ext>
              </a:extLst>
            </p:cNvPr>
            <p:cNvSpPr/>
            <p:nvPr/>
          </p:nvSpPr>
          <p:spPr bwMode="auto">
            <a:xfrm>
              <a:off x="10097345" y="2031003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11 w 35"/>
                <a:gd name="T3" fmla="*/ 0 h 17"/>
                <a:gd name="T4" fmla="*/ 3 w 35"/>
                <a:gd name="T5" fmla="*/ 9 h 17"/>
                <a:gd name="T6" fmla="*/ 23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3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išlîḋê">
              <a:extLst>
                <a:ext uri="{FF2B5EF4-FFF2-40B4-BE49-F238E27FC236}">
                  <a16:creationId xmlns:a16="http://schemas.microsoft.com/office/drawing/2014/main" id="{C1404140-5F0E-4F6B-BC3B-DBB8E57C0066}"/>
                </a:ext>
              </a:extLst>
            </p:cNvPr>
            <p:cNvSpPr/>
            <p:nvPr/>
          </p:nvSpPr>
          <p:spPr bwMode="auto">
            <a:xfrm>
              <a:off x="10222323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12 w 36"/>
                <a:gd name="T3" fmla="*/ 0 h 17"/>
                <a:gd name="T4" fmla="*/ 4 w 36"/>
                <a:gd name="T5" fmla="*/ 9 h 17"/>
                <a:gd name="T6" fmla="*/ 24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4" y="9"/>
                  </a:cubicBezTo>
                  <a:cubicBezTo>
                    <a:pt x="7" y="13"/>
                    <a:pt x="16" y="17"/>
                    <a:pt x="24" y="17"/>
                  </a:cubicBezTo>
                  <a:cubicBezTo>
                    <a:pt x="32" y="17"/>
                    <a:pt x="36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ṧľîde">
              <a:extLst>
                <a:ext uri="{FF2B5EF4-FFF2-40B4-BE49-F238E27FC236}">
                  <a16:creationId xmlns:a16="http://schemas.microsoft.com/office/drawing/2014/main" id="{FEF2538E-03C8-49C5-8E5D-04E7482ECA24}"/>
                </a:ext>
              </a:extLst>
            </p:cNvPr>
            <p:cNvSpPr/>
            <p:nvPr/>
          </p:nvSpPr>
          <p:spPr bwMode="auto">
            <a:xfrm>
              <a:off x="7758238" y="1878251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iṡḷïďê">
              <a:extLst>
                <a:ext uri="{FF2B5EF4-FFF2-40B4-BE49-F238E27FC236}">
                  <a16:creationId xmlns:a16="http://schemas.microsoft.com/office/drawing/2014/main" id="{CF7AC411-0DAE-4CA3-9770-A1B457050631}"/>
                </a:ext>
              </a:extLst>
            </p:cNvPr>
            <p:cNvSpPr/>
            <p:nvPr/>
          </p:nvSpPr>
          <p:spPr bwMode="auto">
            <a:xfrm>
              <a:off x="7883216" y="1878251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ṣľiďè">
              <a:extLst>
                <a:ext uri="{FF2B5EF4-FFF2-40B4-BE49-F238E27FC236}">
                  <a16:creationId xmlns:a16="http://schemas.microsoft.com/office/drawing/2014/main" id="{C7DE41D4-749D-43CA-A7FF-0B1D15228329}"/>
                </a:ext>
              </a:extLst>
            </p:cNvPr>
            <p:cNvSpPr/>
            <p:nvPr/>
          </p:nvSpPr>
          <p:spPr bwMode="auto">
            <a:xfrm>
              <a:off x="8006652" y="1878251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ïṧ1íḋé">
              <a:extLst>
                <a:ext uri="{FF2B5EF4-FFF2-40B4-BE49-F238E27FC236}">
                  <a16:creationId xmlns:a16="http://schemas.microsoft.com/office/drawing/2014/main" id="{4404C3F9-F5DD-465A-9630-05D2D2E85C98}"/>
                </a:ext>
              </a:extLst>
            </p:cNvPr>
            <p:cNvSpPr/>
            <p:nvPr/>
          </p:nvSpPr>
          <p:spPr bwMode="auto">
            <a:xfrm>
              <a:off x="8130087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íşḷîḍé">
              <a:extLst>
                <a:ext uri="{FF2B5EF4-FFF2-40B4-BE49-F238E27FC236}">
                  <a16:creationId xmlns:a16="http://schemas.microsoft.com/office/drawing/2014/main" id="{D6EE1209-A811-4F63-8A0A-BEABE51E1323}"/>
                </a:ext>
              </a:extLst>
            </p:cNvPr>
            <p:cNvSpPr/>
            <p:nvPr/>
          </p:nvSpPr>
          <p:spPr bwMode="auto">
            <a:xfrm>
              <a:off x="8255067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íşḷiḍé">
              <a:extLst>
                <a:ext uri="{FF2B5EF4-FFF2-40B4-BE49-F238E27FC236}">
                  <a16:creationId xmlns:a16="http://schemas.microsoft.com/office/drawing/2014/main" id="{925137D0-2468-4C7A-9014-BEE10D8E6A6F}"/>
                </a:ext>
              </a:extLst>
            </p:cNvPr>
            <p:cNvSpPr/>
            <p:nvPr/>
          </p:nvSpPr>
          <p:spPr bwMode="auto">
            <a:xfrm>
              <a:off x="8383131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1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1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ṧ1íḑé">
              <a:extLst>
                <a:ext uri="{FF2B5EF4-FFF2-40B4-BE49-F238E27FC236}">
                  <a16:creationId xmlns:a16="http://schemas.microsoft.com/office/drawing/2014/main" id="{DAC558FE-ECD1-40B4-896C-274DE8382889}"/>
                </a:ext>
              </a:extLst>
            </p:cNvPr>
            <p:cNvSpPr/>
            <p:nvPr/>
          </p:nvSpPr>
          <p:spPr bwMode="auto">
            <a:xfrm>
              <a:off x="8506566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ïṣlïḑè">
              <a:extLst>
                <a:ext uri="{FF2B5EF4-FFF2-40B4-BE49-F238E27FC236}">
                  <a16:creationId xmlns:a16="http://schemas.microsoft.com/office/drawing/2014/main" id="{DC60885F-1352-4002-B076-32CD86C30C73}"/>
                </a:ext>
              </a:extLst>
            </p:cNvPr>
            <p:cNvSpPr/>
            <p:nvPr/>
          </p:nvSpPr>
          <p:spPr bwMode="auto">
            <a:xfrm>
              <a:off x="8630002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ïšḻïďè">
              <a:extLst>
                <a:ext uri="{FF2B5EF4-FFF2-40B4-BE49-F238E27FC236}">
                  <a16:creationId xmlns:a16="http://schemas.microsoft.com/office/drawing/2014/main" id="{3CAC09A5-042E-407D-852A-2FDCF946A872}"/>
                </a:ext>
              </a:extLst>
            </p:cNvPr>
            <p:cNvSpPr/>
            <p:nvPr/>
          </p:nvSpPr>
          <p:spPr bwMode="auto">
            <a:xfrm>
              <a:off x="8754981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ï$ļïde">
              <a:extLst>
                <a:ext uri="{FF2B5EF4-FFF2-40B4-BE49-F238E27FC236}">
                  <a16:creationId xmlns:a16="http://schemas.microsoft.com/office/drawing/2014/main" id="{C3324606-A388-4BC2-B55B-F8054437FF2F}"/>
                </a:ext>
              </a:extLst>
            </p:cNvPr>
            <p:cNvSpPr/>
            <p:nvPr/>
          </p:nvSpPr>
          <p:spPr bwMode="auto">
            <a:xfrm>
              <a:off x="8878417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ṥḻiḍê">
              <a:extLst>
                <a:ext uri="{FF2B5EF4-FFF2-40B4-BE49-F238E27FC236}">
                  <a16:creationId xmlns:a16="http://schemas.microsoft.com/office/drawing/2014/main" id="{F667938B-4835-4189-AA78-1807D0758183}"/>
                </a:ext>
              </a:extLst>
            </p:cNvPr>
            <p:cNvSpPr/>
            <p:nvPr/>
          </p:nvSpPr>
          <p:spPr bwMode="auto">
            <a:xfrm>
              <a:off x="9003395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işlîḓe">
              <a:extLst>
                <a:ext uri="{FF2B5EF4-FFF2-40B4-BE49-F238E27FC236}">
                  <a16:creationId xmlns:a16="http://schemas.microsoft.com/office/drawing/2014/main" id="{0303E46E-9832-485C-BA64-68FFF72BF971}"/>
                </a:ext>
              </a:extLst>
            </p:cNvPr>
            <p:cNvSpPr/>
            <p:nvPr/>
          </p:nvSpPr>
          <p:spPr bwMode="auto">
            <a:xfrm>
              <a:off x="9126831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iṡ1îḍé">
              <a:extLst>
                <a:ext uri="{FF2B5EF4-FFF2-40B4-BE49-F238E27FC236}">
                  <a16:creationId xmlns:a16="http://schemas.microsoft.com/office/drawing/2014/main" id="{0ED01B6F-10C5-4102-8C9A-766EB6009A9F}"/>
                </a:ext>
              </a:extLst>
            </p:cNvPr>
            <p:cNvSpPr/>
            <p:nvPr/>
          </p:nvSpPr>
          <p:spPr bwMode="auto">
            <a:xfrm>
              <a:off x="9250267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9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íṥlíďé">
              <a:extLst>
                <a:ext uri="{FF2B5EF4-FFF2-40B4-BE49-F238E27FC236}">
                  <a16:creationId xmlns:a16="http://schemas.microsoft.com/office/drawing/2014/main" id="{170880CA-4B34-4713-80A5-A299E08B3511}"/>
                </a:ext>
              </a:extLst>
            </p:cNvPr>
            <p:cNvSpPr/>
            <p:nvPr/>
          </p:nvSpPr>
          <p:spPr bwMode="auto">
            <a:xfrm>
              <a:off x="9375246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4" y="17"/>
                    <a:pt x="21" y="17"/>
                  </a:cubicBezTo>
                  <a:cubicBezTo>
                    <a:pt x="29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ṩ1íḍe">
              <a:extLst>
                <a:ext uri="{FF2B5EF4-FFF2-40B4-BE49-F238E27FC236}">
                  <a16:creationId xmlns:a16="http://schemas.microsoft.com/office/drawing/2014/main" id="{F84D2BE9-8605-4305-BBFF-3768F2AA7B93}"/>
                </a:ext>
              </a:extLst>
            </p:cNvPr>
            <p:cNvSpPr/>
            <p:nvPr/>
          </p:nvSpPr>
          <p:spPr bwMode="auto">
            <a:xfrm>
              <a:off x="9498681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29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ṣḷïḋe">
              <a:extLst>
                <a:ext uri="{FF2B5EF4-FFF2-40B4-BE49-F238E27FC236}">
                  <a16:creationId xmlns:a16="http://schemas.microsoft.com/office/drawing/2014/main" id="{87A207FB-629C-4590-83B5-E121362CAFE4}"/>
                </a:ext>
              </a:extLst>
            </p:cNvPr>
            <p:cNvSpPr/>
            <p:nvPr/>
          </p:nvSpPr>
          <p:spPr bwMode="auto">
            <a:xfrm>
              <a:off x="962366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îṧlíḓé">
              <a:extLst>
                <a:ext uri="{FF2B5EF4-FFF2-40B4-BE49-F238E27FC236}">
                  <a16:creationId xmlns:a16="http://schemas.microsoft.com/office/drawing/2014/main" id="{2C0F4E62-E2F4-459B-BF76-510EB722FC9C}"/>
                </a:ext>
              </a:extLst>
            </p:cNvPr>
            <p:cNvSpPr/>
            <p:nvPr/>
          </p:nvSpPr>
          <p:spPr bwMode="auto">
            <a:xfrm>
              <a:off x="9747095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S1ïḓè">
              <a:extLst>
                <a:ext uri="{FF2B5EF4-FFF2-40B4-BE49-F238E27FC236}">
                  <a16:creationId xmlns:a16="http://schemas.microsoft.com/office/drawing/2014/main" id="{71909BDB-FC95-4821-8D04-AD64417B12CA}"/>
                </a:ext>
              </a:extLst>
            </p:cNvPr>
            <p:cNvSpPr/>
            <p:nvPr/>
          </p:nvSpPr>
          <p:spPr bwMode="auto">
            <a:xfrm>
              <a:off x="9870531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íśḻïḍè">
              <a:extLst>
                <a:ext uri="{FF2B5EF4-FFF2-40B4-BE49-F238E27FC236}">
                  <a16:creationId xmlns:a16="http://schemas.microsoft.com/office/drawing/2014/main" id="{5F4486FC-5EB4-4918-A11C-505F03E8019F}"/>
                </a:ext>
              </a:extLst>
            </p:cNvPr>
            <p:cNvSpPr/>
            <p:nvPr/>
          </p:nvSpPr>
          <p:spPr bwMode="auto">
            <a:xfrm>
              <a:off x="999551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ïšļíḍê">
              <a:extLst>
                <a:ext uri="{FF2B5EF4-FFF2-40B4-BE49-F238E27FC236}">
                  <a16:creationId xmlns:a16="http://schemas.microsoft.com/office/drawing/2014/main" id="{E8350635-08D3-40FE-B564-C191C05A9FA8}"/>
                </a:ext>
              </a:extLst>
            </p:cNvPr>
            <p:cNvSpPr/>
            <p:nvPr/>
          </p:nvSpPr>
          <p:spPr bwMode="auto">
            <a:xfrm>
              <a:off x="10118946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12 w 35"/>
                <a:gd name="T3" fmla="*/ 0 h 17"/>
                <a:gd name="T4" fmla="*/ 4 w 35"/>
                <a:gd name="T5" fmla="*/ 9 h 17"/>
                <a:gd name="T6" fmla="*/ 23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4" y="9"/>
                  </a:cubicBezTo>
                  <a:cubicBezTo>
                    <a:pt x="7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şļïḑe">
              <a:extLst>
                <a:ext uri="{FF2B5EF4-FFF2-40B4-BE49-F238E27FC236}">
                  <a16:creationId xmlns:a16="http://schemas.microsoft.com/office/drawing/2014/main" id="{0B0DE685-BACE-45C4-8153-A0561261D0AC}"/>
                </a:ext>
              </a:extLst>
            </p:cNvPr>
            <p:cNvSpPr/>
            <p:nvPr/>
          </p:nvSpPr>
          <p:spPr bwMode="auto">
            <a:xfrm>
              <a:off x="6648859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4 w 30"/>
                <a:gd name="T3" fmla="*/ 0 h 17"/>
                <a:gd name="T4" fmla="*/ 1 w 30"/>
                <a:gd name="T5" fmla="*/ 8 h 17"/>
                <a:gd name="T6" fmla="*/ 16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í$1iďé">
              <a:extLst>
                <a:ext uri="{FF2B5EF4-FFF2-40B4-BE49-F238E27FC236}">
                  <a16:creationId xmlns:a16="http://schemas.microsoft.com/office/drawing/2014/main" id="{97075A01-268F-4FE7-B0C0-A6C6E184152B}"/>
                </a:ext>
              </a:extLst>
            </p:cNvPr>
            <p:cNvSpPr/>
            <p:nvPr/>
          </p:nvSpPr>
          <p:spPr bwMode="auto">
            <a:xfrm>
              <a:off x="6776924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3 w 29"/>
                <a:gd name="T3" fmla="*/ 0 h 17"/>
                <a:gd name="T4" fmla="*/ 0 w 29"/>
                <a:gd name="T5" fmla="*/ 8 h 17"/>
                <a:gd name="T6" fmla="*/ 16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šḻîḋê">
              <a:extLst>
                <a:ext uri="{FF2B5EF4-FFF2-40B4-BE49-F238E27FC236}">
                  <a16:creationId xmlns:a16="http://schemas.microsoft.com/office/drawing/2014/main" id="{B8A980DA-6837-49B8-8AA6-29ECF46BE5A8}"/>
                </a:ext>
              </a:extLst>
            </p:cNvPr>
            <p:cNvSpPr/>
            <p:nvPr/>
          </p:nvSpPr>
          <p:spPr bwMode="auto">
            <a:xfrm>
              <a:off x="6900360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4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îṧļîďe">
              <a:extLst>
                <a:ext uri="{FF2B5EF4-FFF2-40B4-BE49-F238E27FC236}">
                  <a16:creationId xmlns:a16="http://schemas.microsoft.com/office/drawing/2014/main" id="{A7E68E34-EC16-4A5F-BAE0-01F6C150DE06}"/>
                </a:ext>
              </a:extLst>
            </p:cNvPr>
            <p:cNvSpPr/>
            <p:nvPr/>
          </p:nvSpPr>
          <p:spPr bwMode="auto">
            <a:xfrm>
              <a:off x="7028424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0 w 30"/>
                <a:gd name="T5" fmla="*/ 8 h 17"/>
                <a:gd name="T6" fmla="*/ 16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$1ídè">
              <a:extLst>
                <a:ext uri="{FF2B5EF4-FFF2-40B4-BE49-F238E27FC236}">
                  <a16:creationId xmlns:a16="http://schemas.microsoft.com/office/drawing/2014/main" id="{92E213EB-2C42-473E-8DEC-A4E8D3E8AD47}"/>
                </a:ext>
              </a:extLst>
            </p:cNvPr>
            <p:cNvSpPr/>
            <p:nvPr/>
          </p:nvSpPr>
          <p:spPr bwMode="auto">
            <a:xfrm>
              <a:off x="7153403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íṡľíḓé">
              <a:extLst>
                <a:ext uri="{FF2B5EF4-FFF2-40B4-BE49-F238E27FC236}">
                  <a16:creationId xmlns:a16="http://schemas.microsoft.com/office/drawing/2014/main" id="{8D074FAF-D9E1-4879-8D47-6BD8EA616973}"/>
                </a:ext>
              </a:extLst>
            </p:cNvPr>
            <p:cNvSpPr/>
            <p:nvPr/>
          </p:nvSpPr>
          <p:spPr bwMode="auto">
            <a:xfrm>
              <a:off x="7279924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isľïḑé">
              <a:extLst>
                <a:ext uri="{FF2B5EF4-FFF2-40B4-BE49-F238E27FC236}">
                  <a16:creationId xmlns:a16="http://schemas.microsoft.com/office/drawing/2014/main" id="{D4979D67-F979-47E8-8F83-8BA7C21F9A0F}"/>
                </a:ext>
              </a:extLst>
            </p:cNvPr>
            <p:cNvSpPr/>
            <p:nvPr/>
          </p:nvSpPr>
          <p:spPr bwMode="auto">
            <a:xfrm>
              <a:off x="7404903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7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2" y="13"/>
                    <a:pt x="10" y="17"/>
                    <a:pt x="17" y="17"/>
                  </a:cubicBezTo>
                  <a:cubicBezTo>
                    <a:pt x="25" y="17"/>
                    <a:pt x="31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ślíḑé">
              <a:extLst>
                <a:ext uri="{FF2B5EF4-FFF2-40B4-BE49-F238E27FC236}">
                  <a16:creationId xmlns:a16="http://schemas.microsoft.com/office/drawing/2014/main" id="{C70050D7-4A32-42AA-BD06-27836D50EB2F}"/>
                </a:ext>
              </a:extLst>
            </p:cNvPr>
            <p:cNvSpPr/>
            <p:nvPr/>
          </p:nvSpPr>
          <p:spPr bwMode="auto">
            <a:xfrm>
              <a:off x="7528338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4 w 31"/>
                <a:gd name="T3" fmla="*/ 0 h 17"/>
                <a:gd name="T4" fmla="*/ 2 w 31"/>
                <a:gd name="T5" fmla="*/ 8 h 17"/>
                <a:gd name="T6" fmla="*/ 18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2" y="8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îśļïḓé">
              <a:extLst>
                <a:ext uri="{FF2B5EF4-FFF2-40B4-BE49-F238E27FC236}">
                  <a16:creationId xmlns:a16="http://schemas.microsoft.com/office/drawing/2014/main" id="{108D77B0-10C8-41BB-B1E3-007B67D7ED54}"/>
                </a:ext>
              </a:extLst>
            </p:cNvPr>
            <p:cNvSpPr/>
            <p:nvPr/>
          </p:nvSpPr>
          <p:spPr bwMode="auto">
            <a:xfrm>
              <a:off x="7656403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8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ís1îḑè">
              <a:extLst>
                <a:ext uri="{FF2B5EF4-FFF2-40B4-BE49-F238E27FC236}">
                  <a16:creationId xmlns:a16="http://schemas.microsoft.com/office/drawing/2014/main" id="{B362EDEC-93B5-494D-A3D2-1C6A0E3FE589}"/>
                </a:ext>
              </a:extLst>
            </p:cNvPr>
            <p:cNvSpPr/>
            <p:nvPr/>
          </p:nvSpPr>
          <p:spPr bwMode="auto">
            <a:xfrm>
              <a:off x="7779839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6" y="0"/>
                    <a:pt x="0" y="4"/>
                    <a:pt x="2" y="8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işlïḑé">
              <a:extLst>
                <a:ext uri="{FF2B5EF4-FFF2-40B4-BE49-F238E27FC236}">
                  <a16:creationId xmlns:a16="http://schemas.microsoft.com/office/drawing/2014/main" id="{430243EE-8719-44FA-9834-650572205FBC}"/>
                </a:ext>
              </a:extLst>
            </p:cNvPr>
            <p:cNvSpPr/>
            <p:nvPr/>
          </p:nvSpPr>
          <p:spPr bwMode="auto">
            <a:xfrm>
              <a:off x="7907903" y="1953855"/>
              <a:ext cx="112636" cy="63261"/>
            </a:xfrm>
            <a:custGeom>
              <a:avLst/>
              <a:gdLst>
                <a:gd name="T0" fmla="*/ 30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8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iS1iḑe">
              <a:extLst>
                <a:ext uri="{FF2B5EF4-FFF2-40B4-BE49-F238E27FC236}">
                  <a16:creationId xmlns:a16="http://schemas.microsoft.com/office/drawing/2014/main" id="{E30DB2D9-392C-4D85-AAFA-10F2E0A209F4}"/>
                </a:ext>
              </a:extLst>
            </p:cNvPr>
            <p:cNvSpPr/>
            <p:nvPr/>
          </p:nvSpPr>
          <p:spPr bwMode="auto">
            <a:xfrm>
              <a:off x="8032882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íṥliḋé">
              <a:extLst>
                <a:ext uri="{FF2B5EF4-FFF2-40B4-BE49-F238E27FC236}">
                  <a16:creationId xmlns:a16="http://schemas.microsoft.com/office/drawing/2014/main" id="{612DD6E5-341C-41B2-8FEF-577237970755}"/>
                </a:ext>
              </a:extLst>
            </p:cNvPr>
            <p:cNvSpPr/>
            <p:nvPr/>
          </p:nvSpPr>
          <p:spPr bwMode="auto">
            <a:xfrm>
              <a:off x="8159404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îSļîḓé">
              <a:extLst>
                <a:ext uri="{FF2B5EF4-FFF2-40B4-BE49-F238E27FC236}">
                  <a16:creationId xmlns:a16="http://schemas.microsoft.com/office/drawing/2014/main" id="{472B99DB-62CA-46FD-AC25-9792D5DBC9A4}"/>
                </a:ext>
              </a:extLst>
            </p:cNvPr>
            <p:cNvSpPr/>
            <p:nvPr/>
          </p:nvSpPr>
          <p:spPr bwMode="auto">
            <a:xfrm>
              <a:off x="8284382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ïṣļïdé">
              <a:extLst>
                <a:ext uri="{FF2B5EF4-FFF2-40B4-BE49-F238E27FC236}">
                  <a16:creationId xmlns:a16="http://schemas.microsoft.com/office/drawing/2014/main" id="{B00BA694-4FD1-4326-9E40-B096F7AA591B}"/>
                </a:ext>
              </a:extLst>
            </p:cNvPr>
            <p:cNvSpPr/>
            <p:nvPr/>
          </p:nvSpPr>
          <p:spPr bwMode="auto">
            <a:xfrm>
              <a:off x="8412447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ṥļiďé">
              <a:extLst>
                <a:ext uri="{FF2B5EF4-FFF2-40B4-BE49-F238E27FC236}">
                  <a16:creationId xmlns:a16="http://schemas.microsoft.com/office/drawing/2014/main" id="{BFD79406-B9EA-47A9-9056-FCBE6007B5F4}"/>
                </a:ext>
              </a:extLst>
            </p:cNvPr>
            <p:cNvSpPr/>
            <p:nvPr/>
          </p:nvSpPr>
          <p:spPr bwMode="auto">
            <a:xfrm>
              <a:off x="8535883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íṥļïḋé">
              <a:extLst>
                <a:ext uri="{FF2B5EF4-FFF2-40B4-BE49-F238E27FC236}">
                  <a16:creationId xmlns:a16="http://schemas.microsoft.com/office/drawing/2014/main" id="{12C1552B-3175-4FD7-9310-889877C9035D}"/>
                </a:ext>
              </a:extLst>
            </p:cNvPr>
            <p:cNvSpPr/>
            <p:nvPr/>
          </p:nvSpPr>
          <p:spPr bwMode="auto">
            <a:xfrm>
              <a:off x="8663947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íṩḷíḍe">
              <a:extLst>
                <a:ext uri="{FF2B5EF4-FFF2-40B4-BE49-F238E27FC236}">
                  <a16:creationId xmlns:a16="http://schemas.microsoft.com/office/drawing/2014/main" id="{3A3D7122-6C99-42EA-91B5-082CB1CA3B00}"/>
                </a:ext>
              </a:extLst>
            </p:cNvPr>
            <p:cNvSpPr/>
            <p:nvPr/>
          </p:nvSpPr>
          <p:spPr bwMode="auto">
            <a:xfrm>
              <a:off x="87873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0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3" y="17"/>
                    <a:pt x="20" y="17"/>
                  </a:cubicBezTo>
                  <a:cubicBezTo>
                    <a:pt x="28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í$ḷíḓé">
              <a:extLst>
                <a:ext uri="{FF2B5EF4-FFF2-40B4-BE49-F238E27FC236}">
                  <a16:creationId xmlns:a16="http://schemas.microsoft.com/office/drawing/2014/main" id="{27BCEE82-8E51-4A04-AC75-E5B0D0E5AD33}"/>
                </a:ext>
              </a:extLst>
            </p:cNvPr>
            <p:cNvSpPr/>
            <p:nvPr/>
          </p:nvSpPr>
          <p:spPr bwMode="auto">
            <a:xfrm>
              <a:off x="8915448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ïṥlîďe">
              <a:extLst>
                <a:ext uri="{FF2B5EF4-FFF2-40B4-BE49-F238E27FC236}">
                  <a16:creationId xmlns:a16="http://schemas.microsoft.com/office/drawing/2014/main" id="{865B3746-6C82-4650-83AE-67030454A2F4}"/>
                </a:ext>
              </a:extLst>
            </p:cNvPr>
            <p:cNvSpPr/>
            <p:nvPr/>
          </p:nvSpPr>
          <p:spPr bwMode="auto">
            <a:xfrm>
              <a:off x="90388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1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9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ïś1îḑê">
              <a:extLst>
                <a:ext uri="{FF2B5EF4-FFF2-40B4-BE49-F238E27FC236}">
                  <a16:creationId xmlns:a16="http://schemas.microsoft.com/office/drawing/2014/main" id="{733FB7AD-5557-4772-8C47-BF201B73C2AA}"/>
                </a:ext>
              </a:extLst>
            </p:cNvPr>
            <p:cNvSpPr/>
            <p:nvPr/>
          </p:nvSpPr>
          <p:spPr bwMode="auto">
            <a:xfrm>
              <a:off x="9166947" y="1953855"/>
              <a:ext cx="120350" cy="63261"/>
            </a:xfrm>
            <a:custGeom>
              <a:avLst/>
              <a:gdLst>
                <a:gd name="T0" fmla="*/ 30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1 w 33"/>
                <a:gd name="T7" fmla="*/ 17 h 17"/>
                <a:gd name="T8" fmla="*/ 30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îśḷîḓé">
              <a:extLst>
                <a:ext uri="{FF2B5EF4-FFF2-40B4-BE49-F238E27FC236}">
                  <a16:creationId xmlns:a16="http://schemas.microsoft.com/office/drawing/2014/main" id="{9F2A65F7-2979-4A37-AD09-AABFEF3F46E6}"/>
                </a:ext>
              </a:extLst>
            </p:cNvPr>
            <p:cNvSpPr/>
            <p:nvPr/>
          </p:nvSpPr>
          <p:spPr bwMode="auto">
            <a:xfrm>
              <a:off x="6659660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4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işḷidè">
              <a:extLst>
                <a:ext uri="{FF2B5EF4-FFF2-40B4-BE49-F238E27FC236}">
                  <a16:creationId xmlns:a16="http://schemas.microsoft.com/office/drawing/2014/main" id="{BCDB23FF-C021-4ED0-9917-4AC2325AF12C}"/>
                </a:ext>
              </a:extLst>
            </p:cNvPr>
            <p:cNvSpPr/>
            <p:nvPr/>
          </p:nvSpPr>
          <p:spPr bwMode="auto">
            <a:xfrm>
              <a:off x="6787724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ïṩlíḑê">
              <a:extLst>
                <a:ext uri="{FF2B5EF4-FFF2-40B4-BE49-F238E27FC236}">
                  <a16:creationId xmlns:a16="http://schemas.microsoft.com/office/drawing/2014/main" id="{30BEF031-0205-4B4D-9889-DB6A34848C52}"/>
                </a:ext>
              </a:extLst>
            </p:cNvPr>
            <p:cNvSpPr/>
            <p:nvPr/>
          </p:nvSpPr>
          <p:spPr bwMode="auto">
            <a:xfrm>
              <a:off x="6915789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0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ïsḷïḍè">
              <a:extLst>
                <a:ext uri="{FF2B5EF4-FFF2-40B4-BE49-F238E27FC236}">
                  <a16:creationId xmlns:a16="http://schemas.microsoft.com/office/drawing/2014/main" id="{96ECD30E-9B8E-4B42-93E0-5DBA0CC30C00}"/>
                </a:ext>
              </a:extLst>
            </p:cNvPr>
            <p:cNvSpPr/>
            <p:nvPr/>
          </p:nvSpPr>
          <p:spPr bwMode="auto">
            <a:xfrm>
              <a:off x="7043853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0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3"/>
                    <a:pt x="9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íšļîḓê">
              <a:extLst>
                <a:ext uri="{FF2B5EF4-FFF2-40B4-BE49-F238E27FC236}">
                  <a16:creationId xmlns:a16="http://schemas.microsoft.com/office/drawing/2014/main" id="{414AD045-2EDF-4C0F-A4BB-F592EDC81B94}"/>
                </a:ext>
              </a:extLst>
            </p:cNvPr>
            <p:cNvSpPr/>
            <p:nvPr/>
          </p:nvSpPr>
          <p:spPr bwMode="auto">
            <a:xfrm>
              <a:off x="7167289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4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10" y="17"/>
                    <a:pt x="18" y="17"/>
                  </a:cubicBezTo>
                  <a:cubicBezTo>
                    <a:pt x="25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îšḻïḓe">
              <a:extLst>
                <a:ext uri="{FF2B5EF4-FFF2-40B4-BE49-F238E27FC236}">
                  <a16:creationId xmlns:a16="http://schemas.microsoft.com/office/drawing/2014/main" id="{E029A124-F7A5-4F02-B553-EB93DA5A653A}"/>
                </a:ext>
              </a:extLst>
            </p:cNvPr>
            <p:cNvSpPr/>
            <p:nvPr/>
          </p:nvSpPr>
          <p:spPr bwMode="auto">
            <a:xfrm>
              <a:off x="7295354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4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îṣľiḍê">
              <a:extLst>
                <a:ext uri="{FF2B5EF4-FFF2-40B4-BE49-F238E27FC236}">
                  <a16:creationId xmlns:a16="http://schemas.microsoft.com/office/drawing/2014/main" id="{A5D188F2-95C6-48EE-8AF4-060582A8DF4E}"/>
                </a:ext>
              </a:extLst>
            </p:cNvPr>
            <p:cNvSpPr/>
            <p:nvPr/>
          </p:nvSpPr>
          <p:spPr bwMode="auto">
            <a:xfrm>
              <a:off x="7423418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ïŝľïḑè">
              <a:extLst>
                <a:ext uri="{FF2B5EF4-FFF2-40B4-BE49-F238E27FC236}">
                  <a16:creationId xmlns:a16="http://schemas.microsoft.com/office/drawing/2014/main" id="{DE0EA721-88E9-4E92-8111-AB7E7D1533A1}"/>
                </a:ext>
              </a:extLst>
            </p:cNvPr>
            <p:cNvSpPr/>
            <p:nvPr/>
          </p:nvSpPr>
          <p:spPr bwMode="auto">
            <a:xfrm>
              <a:off x="7549940" y="2031003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îṥḷiḓè">
              <a:extLst>
                <a:ext uri="{FF2B5EF4-FFF2-40B4-BE49-F238E27FC236}">
                  <a16:creationId xmlns:a16="http://schemas.microsoft.com/office/drawing/2014/main" id="{75B7FC18-4A6E-4F8D-A039-4FB91F071CBC}"/>
                </a:ext>
              </a:extLst>
            </p:cNvPr>
            <p:cNvSpPr/>
            <p:nvPr/>
          </p:nvSpPr>
          <p:spPr bwMode="auto">
            <a:xfrm>
              <a:off x="7678005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ŝḻíḍê">
              <a:extLst>
                <a:ext uri="{FF2B5EF4-FFF2-40B4-BE49-F238E27FC236}">
                  <a16:creationId xmlns:a16="http://schemas.microsoft.com/office/drawing/2014/main" id="{6D04B14C-6790-4720-BC15-41BA0EB65F7F}"/>
                </a:ext>
              </a:extLst>
            </p:cNvPr>
            <p:cNvSpPr/>
            <p:nvPr/>
          </p:nvSpPr>
          <p:spPr bwMode="auto">
            <a:xfrm>
              <a:off x="7806069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iṡ1ïḑe">
              <a:extLst>
                <a:ext uri="{FF2B5EF4-FFF2-40B4-BE49-F238E27FC236}">
                  <a16:creationId xmlns:a16="http://schemas.microsoft.com/office/drawing/2014/main" id="{4A9E429F-0381-4F03-8CB4-DC8F8B3096FA}"/>
                </a:ext>
              </a:extLst>
            </p:cNvPr>
            <p:cNvSpPr/>
            <p:nvPr/>
          </p:nvSpPr>
          <p:spPr bwMode="auto">
            <a:xfrm>
              <a:off x="7934134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íSḷiďê">
              <a:extLst>
                <a:ext uri="{FF2B5EF4-FFF2-40B4-BE49-F238E27FC236}">
                  <a16:creationId xmlns:a16="http://schemas.microsoft.com/office/drawing/2014/main" id="{94A8354B-641C-4FE3-828F-7B4111DC4E99}"/>
                </a:ext>
              </a:extLst>
            </p:cNvPr>
            <p:cNvSpPr/>
            <p:nvPr/>
          </p:nvSpPr>
          <p:spPr bwMode="auto">
            <a:xfrm>
              <a:off x="8060655" y="2031003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2 w 31"/>
                <a:gd name="T3" fmla="*/ 0 h 17"/>
                <a:gd name="T4" fmla="*/ 1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íŝḷïdé">
              <a:extLst>
                <a:ext uri="{FF2B5EF4-FFF2-40B4-BE49-F238E27FC236}">
                  <a16:creationId xmlns:a16="http://schemas.microsoft.com/office/drawing/2014/main" id="{72C1D62B-9E0A-4470-A5D3-E0775E60CFC0}"/>
                </a:ext>
              </a:extLst>
            </p:cNvPr>
            <p:cNvSpPr/>
            <p:nvPr/>
          </p:nvSpPr>
          <p:spPr bwMode="auto">
            <a:xfrm>
              <a:off x="818563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ïṡliďè">
              <a:extLst>
                <a:ext uri="{FF2B5EF4-FFF2-40B4-BE49-F238E27FC236}">
                  <a16:creationId xmlns:a16="http://schemas.microsoft.com/office/drawing/2014/main" id="{F0415CBC-5B81-4FD1-855C-600CA500383F}"/>
                </a:ext>
              </a:extLst>
            </p:cNvPr>
            <p:cNvSpPr/>
            <p:nvPr/>
          </p:nvSpPr>
          <p:spPr bwMode="auto">
            <a:xfrm>
              <a:off x="8313699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iś1îḑê">
              <a:extLst>
                <a:ext uri="{FF2B5EF4-FFF2-40B4-BE49-F238E27FC236}">
                  <a16:creationId xmlns:a16="http://schemas.microsoft.com/office/drawing/2014/main" id="{C6BE404B-EA9C-45BD-98CA-934E6D0E1074}"/>
                </a:ext>
              </a:extLst>
            </p:cNvPr>
            <p:cNvSpPr/>
            <p:nvPr/>
          </p:nvSpPr>
          <p:spPr bwMode="auto">
            <a:xfrm>
              <a:off x="8440220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i$lîďe">
              <a:extLst>
                <a:ext uri="{FF2B5EF4-FFF2-40B4-BE49-F238E27FC236}">
                  <a16:creationId xmlns:a16="http://schemas.microsoft.com/office/drawing/2014/main" id="{3F43EEFF-8101-40F0-9583-9E5BE3C1213E}"/>
                </a:ext>
              </a:extLst>
            </p:cNvPr>
            <p:cNvSpPr/>
            <p:nvPr/>
          </p:nvSpPr>
          <p:spPr bwMode="auto">
            <a:xfrm>
              <a:off x="8568284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îşlíḑé">
              <a:extLst>
                <a:ext uri="{FF2B5EF4-FFF2-40B4-BE49-F238E27FC236}">
                  <a16:creationId xmlns:a16="http://schemas.microsoft.com/office/drawing/2014/main" id="{9A14D67E-BFE9-4137-A440-9B15DAECCDB0}"/>
                </a:ext>
              </a:extLst>
            </p:cNvPr>
            <p:cNvSpPr/>
            <p:nvPr/>
          </p:nvSpPr>
          <p:spPr bwMode="auto">
            <a:xfrm>
              <a:off x="8696349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îṥļïďe">
              <a:extLst>
                <a:ext uri="{FF2B5EF4-FFF2-40B4-BE49-F238E27FC236}">
                  <a16:creationId xmlns:a16="http://schemas.microsoft.com/office/drawing/2014/main" id="{7A35B283-85C5-4AC0-B53C-38C9E2D74311}"/>
                </a:ext>
              </a:extLst>
            </p:cNvPr>
            <p:cNvSpPr/>
            <p:nvPr/>
          </p:nvSpPr>
          <p:spPr bwMode="auto">
            <a:xfrm>
              <a:off x="882441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îṡļíḍe">
              <a:extLst>
                <a:ext uri="{FF2B5EF4-FFF2-40B4-BE49-F238E27FC236}">
                  <a16:creationId xmlns:a16="http://schemas.microsoft.com/office/drawing/2014/main" id="{AF0A6FFD-D219-453D-9755-B811B3F62A5A}"/>
                </a:ext>
              </a:extLst>
            </p:cNvPr>
            <p:cNvSpPr/>
            <p:nvPr/>
          </p:nvSpPr>
          <p:spPr bwMode="auto">
            <a:xfrm>
              <a:off x="8952478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ṧļïḑe">
              <a:extLst>
                <a:ext uri="{FF2B5EF4-FFF2-40B4-BE49-F238E27FC236}">
                  <a16:creationId xmlns:a16="http://schemas.microsoft.com/office/drawing/2014/main" id="{0F139DE9-88E8-4273-88D2-787710BB0818}"/>
                </a:ext>
              </a:extLst>
            </p:cNvPr>
            <p:cNvSpPr/>
            <p:nvPr/>
          </p:nvSpPr>
          <p:spPr bwMode="auto">
            <a:xfrm>
              <a:off x="9079000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9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iŝľïdé">
              <a:extLst>
                <a:ext uri="{FF2B5EF4-FFF2-40B4-BE49-F238E27FC236}">
                  <a16:creationId xmlns:a16="http://schemas.microsoft.com/office/drawing/2014/main" id="{BBDB48AE-CA39-440D-9BC6-7EADB747C1BD}"/>
                </a:ext>
              </a:extLst>
            </p:cNvPr>
            <p:cNvSpPr/>
            <p:nvPr/>
          </p:nvSpPr>
          <p:spPr bwMode="auto">
            <a:xfrm>
              <a:off x="9203978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3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îŝḷîḋe">
              <a:extLst>
                <a:ext uri="{FF2B5EF4-FFF2-40B4-BE49-F238E27FC236}">
                  <a16:creationId xmlns:a16="http://schemas.microsoft.com/office/drawing/2014/main" id="{D33F9CB6-B088-42B1-BED3-755584418DA0}"/>
                </a:ext>
              </a:extLst>
            </p:cNvPr>
            <p:cNvSpPr/>
            <p:nvPr/>
          </p:nvSpPr>
          <p:spPr bwMode="auto">
            <a:xfrm>
              <a:off x="6670460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4 w 30"/>
                <a:gd name="T3" fmla="*/ 0 h 18"/>
                <a:gd name="T4" fmla="*/ 0 w 30"/>
                <a:gd name="T5" fmla="*/ 9 h 18"/>
                <a:gd name="T6" fmla="*/ 16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íṣḷîḑè">
              <a:extLst>
                <a:ext uri="{FF2B5EF4-FFF2-40B4-BE49-F238E27FC236}">
                  <a16:creationId xmlns:a16="http://schemas.microsoft.com/office/drawing/2014/main" id="{735D85D1-60EA-4B67-8312-9F9EABCE7BFD}"/>
                </a:ext>
              </a:extLst>
            </p:cNvPr>
            <p:cNvSpPr/>
            <p:nvPr/>
          </p:nvSpPr>
          <p:spPr bwMode="auto">
            <a:xfrm>
              <a:off x="6798525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7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9" y="18"/>
                    <a:pt x="17" y="18"/>
                  </a:cubicBezTo>
                  <a:cubicBezTo>
                    <a:pt x="25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îṡľïďe">
              <a:extLst>
                <a:ext uri="{FF2B5EF4-FFF2-40B4-BE49-F238E27FC236}">
                  <a16:creationId xmlns:a16="http://schemas.microsoft.com/office/drawing/2014/main" id="{974D53AE-5083-4012-B764-4B6A707FD8FD}"/>
                </a:ext>
              </a:extLst>
            </p:cNvPr>
            <p:cNvSpPr/>
            <p:nvPr/>
          </p:nvSpPr>
          <p:spPr bwMode="auto">
            <a:xfrm>
              <a:off x="6926589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4 w 31"/>
                <a:gd name="T3" fmla="*/ 0 h 18"/>
                <a:gd name="T4" fmla="*/ 1 w 31"/>
                <a:gd name="T5" fmla="*/ 9 h 18"/>
                <a:gd name="T6" fmla="*/ 17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8"/>
                    <a:pt x="17" y="18"/>
                  </a:cubicBezTo>
                  <a:cubicBezTo>
                    <a:pt x="25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íšḻiďe">
              <a:extLst>
                <a:ext uri="{FF2B5EF4-FFF2-40B4-BE49-F238E27FC236}">
                  <a16:creationId xmlns:a16="http://schemas.microsoft.com/office/drawing/2014/main" id="{ACB44561-7048-4F66-A434-20D88A36C7A8}"/>
                </a:ext>
              </a:extLst>
            </p:cNvPr>
            <p:cNvSpPr/>
            <p:nvPr/>
          </p:nvSpPr>
          <p:spPr bwMode="auto">
            <a:xfrm>
              <a:off x="7057740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3 w 30"/>
                <a:gd name="T3" fmla="*/ 0 h 18"/>
                <a:gd name="T4" fmla="*/ 0 w 30"/>
                <a:gd name="T5" fmla="*/ 9 h 18"/>
                <a:gd name="T6" fmla="*/ 17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4"/>
                    <a:pt x="9" y="18"/>
                    <a:pt x="17" y="18"/>
                  </a:cubicBezTo>
                  <a:cubicBezTo>
                    <a:pt x="25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îšliḋê">
              <a:extLst>
                <a:ext uri="{FF2B5EF4-FFF2-40B4-BE49-F238E27FC236}">
                  <a16:creationId xmlns:a16="http://schemas.microsoft.com/office/drawing/2014/main" id="{294802A6-1DDB-4167-937C-821E193252C0}"/>
                </a:ext>
              </a:extLst>
            </p:cNvPr>
            <p:cNvSpPr/>
            <p:nvPr/>
          </p:nvSpPr>
          <p:spPr bwMode="auto">
            <a:xfrm>
              <a:off x="7185804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3 w 31"/>
                <a:gd name="T3" fmla="*/ 0 h 18"/>
                <a:gd name="T4" fmla="*/ 1 w 31"/>
                <a:gd name="T5" fmla="*/ 9 h 18"/>
                <a:gd name="T6" fmla="*/ 17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9" y="18"/>
                    <a:pt x="17" y="18"/>
                  </a:cubicBezTo>
                  <a:cubicBezTo>
                    <a:pt x="25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išľïde">
              <a:extLst>
                <a:ext uri="{FF2B5EF4-FFF2-40B4-BE49-F238E27FC236}">
                  <a16:creationId xmlns:a16="http://schemas.microsoft.com/office/drawing/2014/main" id="{7597DAB1-5F91-4C01-A606-3E4C0F0E9F6F}"/>
                </a:ext>
              </a:extLst>
            </p:cNvPr>
            <p:cNvSpPr/>
            <p:nvPr/>
          </p:nvSpPr>
          <p:spPr bwMode="auto">
            <a:xfrm>
              <a:off x="7313869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4 w 31"/>
                <a:gd name="T3" fmla="*/ 0 h 18"/>
                <a:gd name="T4" fmla="*/ 1 w 31"/>
                <a:gd name="T5" fmla="*/ 9 h 18"/>
                <a:gd name="T6" fmla="*/ 18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8"/>
                    <a:pt x="18" y="18"/>
                  </a:cubicBezTo>
                  <a:cubicBezTo>
                    <a:pt x="26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íSlîďê">
              <a:extLst>
                <a:ext uri="{FF2B5EF4-FFF2-40B4-BE49-F238E27FC236}">
                  <a16:creationId xmlns:a16="http://schemas.microsoft.com/office/drawing/2014/main" id="{C34DC9AA-F968-480D-8F68-8A8EBDDBFD7D}"/>
                </a:ext>
              </a:extLst>
            </p:cNvPr>
            <p:cNvSpPr/>
            <p:nvPr/>
          </p:nvSpPr>
          <p:spPr bwMode="auto">
            <a:xfrm>
              <a:off x="7440391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4 w 32"/>
                <a:gd name="T3" fmla="*/ 0 h 18"/>
                <a:gd name="T4" fmla="*/ 2 w 32"/>
                <a:gd name="T5" fmla="*/ 9 h 18"/>
                <a:gd name="T6" fmla="*/ 18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0" y="18"/>
                    <a:pt x="18" y="18"/>
                  </a:cubicBezTo>
                  <a:cubicBezTo>
                    <a:pt x="26" y="18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iSlidè">
              <a:extLst>
                <a:ext uri="{FF2B5EF4-FFF2-40B4-BE49-F238E27FC236}">
                  <a16:creationId xmlns:a16="http://schemas.microsoft.com/office/drawing/2014/main" id="{0B8C0AB9-13A1-4B9D-AFDC-81CF2B75C479}"/>
                </a:ext>
              </a:extLst>
            </p:cNvPr>
            <p:cNvSpPr/>
            <p:nvPr/>
          </p:nvSpPr>
          <p:spPr bwMode="auto">
            <a:xfrm>
              <a:off x="7573084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3 w 31"/>
                <a:gd name="T3" fmla="*/ 0 h 18"/>
                <a:gd name="T4" fmla="*/ 1 w 31"/>
                <a:gd name="T5" fmla="*/ 9 h 18"/>
                <a:gd name="T6" fmla="*/ 18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8"/>
                    <a:pt x="18" y="18"/>
                  </a:cubicBezTo>
                  <a:cubicBezTo>
                    <a:pt x="26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ï$ḷiḍe">
              <a:extLst>
                <a:ext uri="{FF2B5EF4-FFF2-40B4-BE49-F238E27FC236}">
                  <a16:creationId xmlns:a16="http://schemas.microsoft.com/office/drawing/2014/main" id="{6098DC3A-008A-402D-9905-78B48217FEC1}"/>
                </a:ext>
              </a:extLst>
            </p:cNvPr>
            <p:cNvSpPr/>
            <p:nvPr/>
          </p:nvSpPr>
          <p:spPr bwMode="auto">
            <a:xfrm>
              <a:off x="7699606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0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ïṥḷîdè">
              <a:extLst>
                <a:ext uri="{FF2B5EF4-FFF2-40B4-BE49-F238E27FC236}">
                  <a16:creationId xmlns:a16="http://schemas.microsoft.com/office/drawing/2014/main" id="{06AF3C5A-FA0E-480A-BD6E-16E61B889D17}"/>
                </a:ext>
              </a:extLst>
            </p:cNvPr>
            <p:cNvSpPr/>
            <p:nvPr/>
          </p:nvSpPr>
          <p:spPr bwMode="auto">
            <a:xfrm>
              <a:off x="7827670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4 w 32"/>
                <a:gd name="T3" fmla="*/ 0 h 18"/>
                <a:gd name="T4" fmla="*/ 2 w 32"/>
                <a:gd name="T5" fmla="*/ 9 h 18"/>
                <a:gd name="T6" fmla="*/ 19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ïṡľïḍé">
              <a:extLst>
                <a:ext uri="{FF2B5EF4-FFF2-40B4-BE49-F238E27FC236}">
                  <a16:creationId xmlns:a16="http://schemas.microsoft.com/office/drawing/2014/main" id="{BAD5F009-8977-40A3-B09F-40342E279008}"/>
                </a:ext>
              </a:extLst>
            </p:cNvPr>
            <p:cNvSpPr/>
            <p:nvPr/>
          </p:nvSpPr>
          <p:spPr bwMode="auto">
            <a:xfrm>
              <a:off x="7958821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ïṧliḑê">
              <a:extLst>
                <a:ext uri="{FF2B5EF4-FFF2-40B4-BE49-F238E27FC236}">
                  <a16:creationId xmlns:a16="http://schemas.microsoft.com/office/drawing/2014/main" id="{A075FCEA-46E8-4BEB-9BD8-9648562393C9}"/>
                </a:ext>
              </a:extLst>
            </p:cNvPr>
            <p:cNvSpPr/>
            <p:nvPr/>
          </p:nvSpPr>
          <p:spPr bwMode="auto">
            <a:xfrm>
              <a:off x="8086885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2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iṧ1iďê">
              <a:extLst>
                <a:ext uri="{FF2B5EF4-FFF2-40B4-BE49-F238E27FC236}">
                  <a16:creationId xmlns:a16="http://schemas.microsoft.com/office/drawing/2014/main" id="{A531E1B2-F899-4AFE-A12D-42D6E8D37613}"/>
                </a:ext>
              </a:extLst>
            </p:cNvPr>
            <p:cNvSpPr/>
            <p:nvPr/>
          </p:nvSpPr>
          <p:spPr bwMode="auto">
            <a:xfrm>
              <a:off x="8214950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0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0" y="18"/>
                  </a:cubicBezTo>
                  <a:cubicBezTo>
                    <a:pt x="28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ïṡḷiḋe">
              <a:extLst>
                <a:ext uri="{FF2B5EF4-FFF2-40B4-BE49-F238E27FC236}">
                  <a16:creationId xmlns:a16="http://schemas.microsoft.com/office/drawing/2014/main" id="{F96CB66E-22AF-4587-97F1-CBB697C461AE}"/>
                </a:ext>
              </a:extLst>
            </p:cNvPr>
            <p:cNvSpPr/>
            <p:nvPr/>
          </p:nvSpPr>
          <p:spPr bwMode="auto">
            <a:xfrm>
              <a:off x="8346100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2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1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işľidé">
              <a:extLst>
                <a:ext uri="{FF2B5EF4-FFF2-40B4-BE49-F238E27FC236}">
                  <a16:creationId xmlns:a16="http://schemas.microsoft.com/office/drawing/2014/main" id="{889C5FCD-7421-4534-A794-577EA0E9AC55}"/>
                </a:ext>
              </a:extLst>
            </p:cNvPr>
            <p:cNvSpPr/>
            <p:nvPr/>
          </p:nvSpPr>
          <p:spPr bwMode="auto">
            <a:xfrm>
              <a:off x="8474165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0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0" y="18"/>
                  </a:cubicBezTo>
                  <a:cubicBezTo>
                    <a:pt x="28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íšḻïḓè">
              <a:extLst>
                <a:ext uri="{FF2B5EF4-FFF2-40B4-BE49-F238E27FC236}">
                  <a16:creationId xmlns:a16="http://schemas.microsoft.com/office/drawing/2014/main" id="{3F88C119-49CF-422A-884D-FA2CCCB0A0F0}"/>
                </a:ext>
              </a:extLst>
            </p:cNvPr>
            <p:cNvSpPr/>
            <p:nvPr/>
          </p:nvSpPr>
          <p:spPr bwMode="auto">
            <a:xfrm>
              <a:off x="8600687" y="2108150"/>
              <a:ext cx="121893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1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1" y="18"/>
                  </a:cubicBezTo>
                  <a:cubicBezTo>
                    <a:pt x="29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íṡļíḋè">
              <a:extLst>
                <a:ext uri="{FF2B5EF4-FFF2-40B4-BE49-F238E27FC236}">
                  <a16:creationId xmlns:a16="http://schemas.microsoft.com/office/drawing/2014/main" id="{AFB85ECE-B707-4B0D-BA96-7DA5674DFE3B}"/>
                </a:ext>
              </a:extLst>
            </p:cNvPr>
            <p:cNvSpPr/>
            <p:nvPr/>
          </p:nvSpPr>
          <p:spPr bwMode="auto">
            <a:xfrm>
              <a:off x="8728751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13 w 34"/>
                <a:gd name="T3" fmla="*/ 0 h 18"/>
                <a:gd name="T4" fmla="*/ 3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ïṥļïdé">
              <a:extLst>
                <a:ext uri="{FF2B5EF4-FFF2-40B4-BE49-F238E27FC236}">
                  <a16:creationId xmlns:a16="http://schemas.microsoft.com/office/drawing/2014/main" id="{21D2FEBA-374F-4E52-B8F2-AB9A9E8C7327}"/>
                </a:ext>
              </a:extLst>
            </p:cNvPr>
            <p:cNvSpPr/>
            <p:nvPr/>
          </p:nvSpPr>
          <p:spPr bwMode="auto">
            <a:xfrm>
              <a:off x="8859902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2 w 33"/>
                <a:gd name="T3" fmla="*/ 0 h 18"/>
                <a:gd name="T4" fmla="*/ 2 w 33"/>
                <a:gd name="T5" fmla="*/ 9 h 18"/>
                <a:gd name="T6" fmla="*/ 21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4"/>
                    <a:pt x="13" y="18"/>
                    <a:pt x="21" y="18"/>
                  </a:cubicBezTo>
                  <a:cubicBezTo>
                    <a:pt x="29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iṧļïḑé">
              <a:extLst>
                <a:ext uri="{FF2B5EF4-FFF2-40B4-BE49-F238E27FC236}">
                  <a16:creationId xmlns:a16="http://schemas.microsoft.com/office/drawing/2014/main" id="{B9F4A293-3758-4A74-8FDF-B6C9AE402643}"/>
                </a:ext>
              </a:extLst>
            </p:cNvPr>
            <p:cNvSpPr/>
            <p:nvPr/>
          </p:nvSpPr>
          <p:spPr bwMode="auto">
            <a:xfrm>
              <a:off x="8987966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2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îṧlíḓé">
              <a:extLst>
                <a:ext uri="{FF2B5EF4-FFF2-40B4-BE49-F238E27FC236}">
                  <a16:creationId xmlns:a16="http://schemas.microsoft.com/office/drawing/2014/main" id="{B72577A7-2D40-4C8E-B979-163B3E3A06C8}"/>
                </a:ext>
              </a:extLst>
            </p:cNvPr>
            <p:cNvSpPr/>
            <p:nvPr/>
          </p:nvSpPr>
          <p:spPr bwMode="auto">
            <a:xfrm>
              <a:off x="9116031" y="2108150"/>
              <a:ext cx="123436" cy="64804"/>
            </a:xfrm>
            <a:custGeom>
              <a:avLst/>
              <a:gdLst>
                <a:gd name="T0" fmla="*/ 32 w 34"/>
                <a:gd name="T1" fmla="*/ 9 h 18"/>
                <a:gd name="T2" fmla="*/ 13 w 34"/>
                <a:gd name="T3" fmla="*/ 0 h 18"/>
                <a:gd name="T4" fmla="*/ 3 w 34"/>
                <a:gd name="T5" fmla="*/ 9 h 18"/>
                <a:gd name="T6" fmla="*/ 22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8"/>
                    <a:pt x="22" y="18"/>
                  </a:cubicBezTo>
                  <a:cubicBezTo>
                    <a:pt x="30" y="18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íŝḷîďé">
              <a:extLst>
                <a:ext uri="{FF2B5EF4-FFF2-40B4-BE49-F238E27FC236}">
                  <a16:creationId xmlns:a16="http://schemas.microsoft.com/office/drawing/2014/main" id="{4489677F-4D9C-435B-8303-DA2BF44EA3D3}"/>
                </a:ext>
              </a:extLst>
            </p:cNvPr>
            <p:cNvSpPr/>
            <p:nvPr/>
          </p:nvSpPr>
          <p:spPr bwMode="auto">
            <a:xfrm>
              <a:off x="9247181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2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iś1îḓé">
              <a:extLst>
                <a:ext uri="{FF2B5EF4-FFF2-40B4-BE49-F238E27FC236}">
                  <a16:creationId xmlns:a16="http://schemas.microsoft.com/office/drawing/2014/main" id="{078E4E17-F418-4AAF-9A79-34C9E167A4DB}"/>
                </a:ext>
              </a:extLst>
            </p:cNvPr>
            <p:cNvSpPr/>
            <p:nvPr/>
          </p:nvSpPr>
          <p:spPr bwMode="auto">
            <a:xfrm>
              <a:off x="6678175" y="2188383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íṩlídé">
              <a:extLst>
                <a:ext uri="{FF2B5EF4-FFF2-40B4-BE49-F238E27FC236}">
                  <a16:creationId xmlns:a16="http://schemas.microsoft.com/office/drawing/2014/main" id="{9E1C3A25-CE62-43E0-83BD-51BD2D2DFE00}"/>
                </a:ext>
              </a:extLst>
            </p:cNvPr>
            <p:cNvSpPr/>
            <p:nvPr/>
          </p:nvSpPr>
          <p:spPr bwMode="auto">
            <a:xfrm>
              <a:off x="6809325" y="2188383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íṡḻïdè">
              <a:extLst>
                <a:ext uri="{FF2B5EF4-FFF2-40B4-BE49-F238E27FC236}">
                  <a16:creationId xmlns:a16="http://schemas.microsoft.com/office/drawing/2014/main" id="{1BB4182B-3363-4EBC-BF94-F9A872913A85}"/>
                </a:ext>
              </a:extLst>
            </p:cNvPr>
            <p:cNvSpPr/>
            <p:nvPr/>
          </p:nvSpPr>
          <p:spPr bwMode="auto">
            <a:xfrm>
              <a:off x="6940476" y="2188383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ïṥliḋê">
              <a:extLst>
                <a:ext uri="{FF2B5EF4-FFF2-40B4-BE49-F238E27FC236}">
                  <a16:creationId xmlns:a16="http://schemas.microsoft.com/office/drawing/2014/main" id="{E01B3C37-A778-4BD7-8F92-BB071FE45A63}"/>
                </a:ext>
              </a:extLst>
            </p:cNvPr>
            <p:cNvSpPr/>
            <p:nvPr/>
          </p:nvSpPr>
          <p:spPr bwMode="auto">
            <a:xfrm>
              <a:off x="7073170" y="2188383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3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íSļidè">
              <a:extLst>
                <a:ext uri="{FF2B5EF4-FFF2-40B4-BE49-F238E27FC236}">
                  <a16:creationId xmlns:a16="http://schemas.microsoft.com/office/drawing/2014/main" id="{C23538C3-0798-4D61-9B91-BB19CD5422E1}"/>
                </a:ext>
              </a:extLst>
            </p:cNvPr>
            <p:cNvSpPr/>
            <p:nvPr/>
          </p:nvSpPr>
          <p:spPr bwMode="auto">
            <a:xfrm>
              <a:off x="7199691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îśḷïḓê">
              <a:extLst>
                <a:ext uri="{FF2B5EF4-FFF2-40B4-BE49-F238E27FC236}">
                  <a16:creationId xmlns:a16="http://schemas.microsoft.com/office/drawing/2014/main" id="{D44BC608-4293-42E9-9BE6-D2E97B6387C3}"/>
                </a:ext>
              </a:extLst>
            </p:cNvPr>
            <p:cNvSpPr/>
            <p:nvPr/>
          </p:nvSpPr>
          <p:spPr bwMode="auto">
            <a:xfrm>
              <a:off x="7330841" y="2188383"/>
              <a:ext cx="117264" cy="69433"/>
            </a:xfrm>
            <a:custGeom>
              <a:avLst/>
              <a:gdLst>
                <a:gd name="T0" fmla="*/ 30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îṣ1ïḍe">
              <a:extLst>
                <a:ext uri="{FF2B5EF4-FFF2-40B4-BE49-F238E27FC236}">
                  <a16:creationId xmlns:a16="http://schemas.microsoft.com/office/drawing/2014/main" id="{5E10306E-3B7A-4280-8DC9-A1623D9C13D7}"/>
                </a:ext>
              </a:extLst>
            </p:cNvPr>
            <p:cNvSpPr/>
            <p:nvPr/>
          </p:nvSpPr>
          <p:spPr bwMode="auto">
            <a:xfrm>
              <a:off x="7463535" y="2188383"/>
              <a:ext cx="115721" cy="69433"/>
            </a:xfrm>
            <a:custGeom>
              <a:avLst/>
              <a:gdLst>
                <a:gd name="T0" fmla="*/ 30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śḷíďè">
              <a:extLst>
                <a:ext uri="{FF2B5EF4-FFF2-40B4-BE49-F238E27FC236}">
                  <a16:creationId xmlns:a16="http://schemas.microsoft.com/office/drawing/2014/main" id="{5090B94D-E54B-4977-92C9-2AC7DB30893B}"/>
                </a:ext>
              </a:extLst>
            </p:cNvPr>
            <p:cNvSpPr/>
            <p:nvPr/>
          </p:nvSpPr>
          <p:spPr bwMode="auto">
            <a:xfrm>
              <a:off x="7594685" y="2188383"/>
              <a:ext cx="115721" cy="69433"/>
            </a:xfrm>
            <a:custGeom>
              <a:avLst/>
              <a:gdLst>
                <a:gd name="T0" fmla="*/ 30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îṥḷíḓè">
              <a:extLst>
                <a:ext uri="{FF2B5EF4-FFF2-40B4-BE49-F238E27FC236}">
                  <a16:creationId xmlns:a16="http://schemas.microsoft.com/office/drawing/2014/main" id="{C39B4B98-BA11-4A38-BDE3-DBBD2F3E7129}"/>
                </a:ext>
              </a:extLst>
            </p:cNvPr>
            <p:cNvSpPr/>
            <p:nvPr/>
          </p:nvSpPr>
          <p:spPr bwMode="auto">
            <a:xfrm>
              <a:off x="7722750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íṧ1iḋé">
              <a:extLst>
                <a:ext uri="{FF2B5EF4-FFF2-40B4-BE49-F238E27FC236}">
                  <a16:creationId xmlns:a16="http://schemas.microsoft.com/office/drawing/2014/main" id="{DBB5276B-4383-4043-B5D4-D459B2957D1D}"/>
                </a:ext>
              </a:extLst>
            </p:cNvPr>
            <p:cNvSpPr/>
            <p:nvPr/>
          </p:nvSpPr>
          <p:spPr bwMode="auto">
            <a:xfrm>
              <a:off x="7853900" y="2188383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2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iślïḓê">
              <a:extLst>
                <a:ext uri="{FF2B5EF4-FFF2-40B4-BE49-F238E27FC236}">
                  <a16:creationId xmlns:a16="http://schemas.microsoft.com/office/drawing/2014/main" id="{F24D7B87-24B6-4C2A-B868-5A09D2EEA0D6}"/>
                </a:ext>
              </a:extLst>
            </p:cNvPr>
            <p:cNvSpPr/>
            <p:nvPr/>
          </p:nvSpPr>
          <p:spPr bwMode="auto">
            <a:xfrm>
              <a:off x="7985050" y="2188383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iṩļïḋè">
              <a:extLst>
                <a:ext uri="{FF2B5EF4-FFF2-40B4-BE49-F238E27FC236}">
                  <a16:creationId xmlns:a16="http://schemas.microsoft.com/office/drawing/2014/main" id="{11D182C2-246F-4EAB-961E-30380D113A3A}"/>
                </a:ext>
              </a:extLst>
            </p:cNvPr>
            <p:cNvSpPr/>
            <p:nvPr/>
          </p:nvSpPr>
          <p:spPr bwMode="auto">
            <a:xfrm>
              <a:off x="8113115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íS1iḓê">
              <a:extLst>
                <a:ext uri="{FF2B5EF4-FFF2-40B4-BE49-F238E27FC236}">
                  <a16:creationId xmlns:a16="http://schemas.microsoft.com/office/drawing/2014/main" id="{F3E848BD-FC0B-48CD-8349-916E1017CFDF}"/>
                </a:ext>
              </a:extLst>
            </p:cNvPr>
            <p:cNvSpPr/>
            <p:nvPr/>
          </p:nvSpPr>
          <p:spPr bwMode="auto">
            <a:xfrm>
              <a:off x="8244265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íṧ1iḍé">
              <a:extLst>
                <a:ext uri="{FF2B5EF4-FFF2-40B4-BE49-F238E27FC236}">
                  <a16:creationId xmlns:a16="http://schemas.microsoft.com/office/drawing/2014/main" id="{785511E4-1956-4CD0-9011-02E6A89DAA6A}"/>
                </a:ext>
              </a:extLst>
            </p:cNvPr>
            <p:cNvSpPr/>
            <p:nvPr/>
          </p:nvSpPr>
          <p:spPr bwMode="auto">
            <a:xfrm>
              <a:off x="837541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î$ļíḍê">
              <a:extLst>
                <a:ext uri="{FF2B5EF4-FFF2-40B4-BE49-F238E27FC236}">
                  <a16:creationId xmlns:a16="http://schemas.microsoft.com/office/drawing/2014/main" id="{4D9C07DD-D7F1-4838-A400-47A7E57020C4}"/>
                </a:ext>
              </a:extLst>
            </p:cNvPr>
            <p:cNvSpPr/>
            <p:nvPr/>
          </p:nvSpPr>
          <p:spPr bwMode="auto">
            <a:xfrm>
              <a:off x="850656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ïṩlíďe">
              <a:extLst>
                <a:ext uri="{FF2B5EF4-FFF2-40B4-BE49-F238E27FC236}">
                  <a16:creationId xmlns:a16="http://schemas.microsoft.com/office/drawing/2014/main" id="{5D537FB2-DAE2-4490-A19B-85858DBF7622}"/>
                </a:ext>
              </a:extLst>
            </p:cNvPr>
            <p:cNvSpPr/>
            <p:nvPr/>
          </p:nvSpPr>
          <p:spPr bwMode="auto">
            <a:xfrm>
              <a:off x="8634631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3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ïŝļïḍé">
              <a:extLst>
                <a:ext uri="{FF2B5EF4-FFF2-40B4-BE49-F238E27FC236}">
                  <a16:creationId xmlns:a16="http://schemas.microsoft.com/office/drawing/2014/main" id="{3CE3BE36-3665-497B-B093-489372580324}"/>
                </a:ext>
              </a:extLst>
            </p:cNvPr>
            <p:cNvSpPr/>
            <p:nvPr/>
          </p:nvSpPr>
          <p:spPr bwMode="auto">
            <a:xfrm>
              <a:off x="8765781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ïṣlíḋé">
              <a:extLst>
                <a:ext uri="{FF2B5EF4-FFF2-40B4-BE49-F238E27FC236}">
                  <a16:creationId xmlns:a16="http://schemas.microsoft.com/office/drawing/2014/main" id="{B091E73F-7A06-422A-A7F0-0F9369B7C520}"/>
                </a:ext>
              </a:extLst>
            </p:cNvPr>
            <p:cNvSpPr/>
            <p:nvPr/>
          </p:nvSpPr>
          <p:spPr bwMode="auto">
            <a:xfrm>
              <a:off x="8896932" y="2188383"/>
              <a:ext cx="123436" cy="69433"/>
            </a:xfrm>
            <a:custGeom>
              <a:avLst/>
              <a:gdLst>
                <a:gd name="T0" fmla="*/ 31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íṩ1iḓè">
              <a:extLst>
                <a:ext uri="{FF2B5EF4-FFF2-40B4-BE49-F238E27FC236}">
                  <a16:creationId xmlns:a16="http://schemas.microsoft.com/office/drawing/2014/main" id="{D841B342-EBBF-4FF9-A966-BF5B51DB53BC}"/>
                </a:ext>
              </a:extLst>
            </p:cNvPr>
            <p:cNvSpPr/>
            <p:nvPr/>
          </p:nvSpPr>
          <p:spPr bwMode="auto">
            <a:xfrm>
              <a:off x="9028082" y="2188383"/>
              <a:ext cx="124979" cy="69433"/>
            </a:xfrm>
            <a:custGeom>
              <a:avLst/>
              <a:gdLst>
                <a:gd name="T0" fmla="*/ 31 w 34"/>
                <a:gd name="T1" fmla="*/ 9 h 19"/>
                <a:gd name="T2" fmla="*/ 12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4"/>
                    <a:pt x="13" y="19"/>
                    <a:pt x="21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îṧḻîdé">
              <a:extLst>
                <a:ext uri="{FF2B5EF4-FFF2-40B4-BE49-F238E27FC236}">
                  <a16:creationId xmlns:a16="http://schemas.microsoft.com/office/drawing/2014/main" id="{C8448D9D-8E98-4902-9804-4F2BAE8FB64A}"/>
                </a:ext>
              </a:extLst>
            </p:cNvPr>
            <p:cNvSpPr/>
            <p:nvPr/>
          </p:nvSpPr>
          <p:spPr bwMode="auto">
            <a:xfrm>
              <a:off x="9156147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íŝḻîḋê">
              <a:extLst>
                <a:ext uri="{FF2B5EF4-FFF2-40B4-BE49-F238E27FC236}">
                  <a16:creationId xmlns:a16="http://schemas.microsoft.com/office/drawing/2014/main" id="{DEF738F7-1535-4E26-960D-F540E305DA33}"/>
                </a:ext>
              </a:extLst>
            </p:cNvPr>
            <p:cNvSpPr/>
            <p:nvPr/>
          </p:nvSpPr>
          <p:spPr bwMode="auto">
            <a:xfrm>
              <a:off x="9287297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iš1ïde">
              <a:extLst>
                <a:ext uri="{FF2B5EF4-FFF2-40B4-BE49-F238E27FC236}">
                  <a16:creationId xmlns:a16="http://schemas.microsoft.com/office/drawing/2014/main" id="{9FBF4CAC-742F-44C7-BF9C-68EEE013F2A6}"/>
                </a:ext>
              </a:extLst>
            </p:cNvPr>
            <p:cNvSpPr/>
            <p:nvPr/>
          </p:nvSpPr>
          <p:spPr bwMode="auto">
            <a:xfrm>
              <a:off x="6688975" y="2271702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íṡlîḍé">
              <a:extLst>
                <a:ext uri="{FF2B5EF4-FFF2-40B4-BE49-F238E27FC236}">
                  <a16:creationId xmlns:a16="http://schemas.microsoft.com/office/drawing/2014/main" id="{64FB263E-A141-4773-B453-63265577E633}"/>
                </a:ext>
              </a:extLst>
            </p:cNvPr>
            <p:cNvSpPr/>
            <p:nvPr/>
          </p:nvSpPr>
          <p:spPr bwMode="auto">
            <a:xfrm>
              <a:off x="6824755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íṡ1ïďê">
              <a:extLst>
                <a:ext uri="{FF2B5EF4-FFF2-40B4-BE49-F238E27FC236}">
                  <a16:creationId xmlns:a16="http://schemas.microsoft.com/office/drawing/2014/main" id="{8367C93D-0561-404B-8DFE-4BBE65431BF5}"/>
                </a:ext>
              </a:extLst>
            </p:cNvPr>
            <p:cNvSpPr/>
            <p:nvPr/>
          </p:nvSpPr>
          <p:spPr bwMode="auto">
            <a:xfrm>
              <a:off x="6955906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ṣļïḓe">
              <a:extLst>
                <a:ext uri="{FF2B5EF4-FFF2-40B4-BE49-F238E27FC236}">
                  <a16:creationId xmlns:a16="http://schemas.microsoft.com/office/drawing/2014/main" id="{62A7CB12-2CA1-4AE6-9E9C-C5C1D8BA1558}"/>
                </a:ext>
              </a:extLst>
            </p:cNvPr>
            <p:cNvSpPr/>
            <p:nvPr/>
          </p:nvSpPr>
          <p:spPr bwMode="auto">
            <a:xfrm>
              <a:off x="7087056" y="2271702"/>
              <a:ext cx="117264" cy="69433"/>
            </a:xfrm>
            <a:custGeom>
              <a:avLst/>
              <a:gdLst>
                <a:gd name="T0" fmla="*/ 30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7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iśḷiḑê">
              <a:extLst>
                <a:ext uri="{FF2B5EF4-FFF2-40B4-BE49-F238E27FC236}">
                  <a16:creationId xmlns:a16="http://schemas.microsoft.com/office/drawing/2014/main" id="{474BA368-6F19-4DB8-A347-84BF3D122761}"/>
                </a:ext>
              </a:extLst>
            </p:cNvPr>
            <p:cNvSpPr/>
            <p:nvPr/>
          </p:nvSpPr>
          <p:spPr bwMode="auto">
            <a:xfrm>
              <a:off x="721820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î$ľîḋè">
              <a:extLst>
                <a:ext uri="{FF2B5EF4-FFF2-40B4-BE49-F238E27FC236}">
                  <a16:creationId xmlns:a16="http://schemas.microsoft.com/office/drawing/2014/main" id="{54AB52BB-C17B-4613-B4BA-302E7A3FBA12}"/>
                </a:ext>
              </a:extLst>
            </p:cNvPr>
            <p:cNvSpPr/>
            <p:nvPr/>
          </p:nvSpPr>
          <p:spPr bwMode="auto">
            <a:xfrm>
              <a:off x="7349356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4"/>
                    <a:pt x="10" y="19"/>
                    <a:pt x="18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îṩľïďè">
              <a:extLst>
                <a:ext uri="{FF2B5EF4-FFF2-40B4-BE49-F238E27FC236}">
                  <a16:creationId xmlns:a16="http://schemas.microsoft.com/office/drawing/2014/main" id="{6B3CD689-6720-4525-87D9-127654E5FE01}"/>
                </a:ext>
              </a:extLst>
            </p:cNvPr>
            <p:cNvSpPr/>
            <p:nvPr/>
          </p:nvSpPr>
          <p:spPr bwMode="auto">
            <a:xfrm>
              <a:off x="7480507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işľiḍé">
              <a:extLst>
                <a:ext uri="{FF2B5EF4-FFF2-40B4-BE49-F238E27FC236}">
                  <a16:creationId xmlns:a16="http://schemas.microsoft.com/office/drawing/2014/main" id="{B8022133-A4B5-4840-9EDA-D98D0C5EB74A}"/>
                </a:ext>
              </a:extLst>
            </p:cNvPr>
            <p:cNvSpPr/>
            <p:nvPr/>
          </p:nvSpPr>
          <p:spPr bwMode="auto">
            <a:xfrm>
              <a:off x="761628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íṩḷïḓé">
              <a:extLst>
                <a:ext uri="{FF2B5EF4-FFF2-40B4-BE49-F238E27FC236}">
                  <a16:creationId xmlns:a16="http://schemas.microsoft.com/office/drawing/2014/main" id="{1984240F-43CD-436E-87C0-FA2759CFE8AA}"/>
                </a:ext>
              </a:extLst>
            </p:cNvPr>
            <p:cNvSpPr/>
            <p:nvPr/>
          </p:nvSpPr>
          <p:spPr bwMode="auto">
            <a:xfrm>
              <a:off x="774743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i$1ïḑê">
              <a:extLst>
                <a:ext uri="{FF2B5EF4-FFF2-40B4-BE49-F238E27FC236}">
                  <a16:creationId xmlns:a16="http://schemas.microsoft.com/office/drawing/2014/main" id="{51685F81-8037-48AC-9DBA-B69A9A9A3C39}"/>
                </a:ext>
              </a:extLst>
            </p:cNvPr>
            <p:cNvSpPr/>
            <p:nvPr/>
          </p:nvSpPr>
          <p:spPr bwMode="auto">
            <a:xfrm>
              <a:off x="787858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íśḷîde">
              <a:extLst>
                <a:ext uri="{FF2B5EF4-FFF2-40B4-BE49-F238E27FC236}">
                  <a16:creationId xmlns:a16="http://schemas.microsoft.com/office/drawing/2014/main" id="{D2D055DD-7522-4316-8E31-82392A1C771B}"/>
                </a:ext>
              </a:extLst>
            </p:cNvPr>
            <p:cNvSpPr/>
            <p:nvPr/>
          </p:nvSpPr>
          <p:spPr bwMode="auto">
            <a:xfrm>
              <a:off x="800973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íŝ1îdè">
              <a:extLst>
                <a:ext uri="{FF2B5EF4-FFF2-40B4-BE49-F238E27FC236}">
                  <a16:creationId xmlns:a16="http://schemas.microsoft.com/office/drawing/2014/main" id="{4CDFB321-DDC8-45C5-A7A2-7263CED95076}"/>
                </a:ext>
              </a:extLst>
            </p:cNvPr>
            <p:cNvSpPr/>
            <p:nvPr/>
          </p:nvSpPr>
          <p:spPr bwMode="auto">
            <a:xfrm>
              <a:off x="8142431" y="2271702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îşḷiḓê">
              <a:extLst>
                <a:ext uri="{FF2B5EF4-FFF2-40B4-BE49-F238E27FC236}">
                  <a16:creationId xmlns:a16="http://schemas.microsoft.com/office/drawing/2014/main" id="{F43FF5B7-2EC3-4BEA-A986-FDD434039934}"/>
                </a:ext>
              </a:extLst>
            </p:cNvPr>
            <p:cNvSpPr/>
            <p:nvPr/>
          </p:nvSpPr>
          <p:spPr bwMode="auto">
            <a:xfrm>
              <a:off x="8273582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4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îSḻiḑe">
              <a:extLst>
                <a:ext uri="{FF2B5EF4-FFF2-40B4-BE49-F238E27FC236}">
                  <a16:creationId xmlns:a16="http://schemas.microsoft.com/office/drawing/2014/main" id="{C8F4A3F7-94B1-4045-AAC5-21438EC67DB9}"/>
                </a:ext>
              </a:extLst>
            </p:cNvPr>
            <p:cNvSpPr/>
            <p:nvPr/>
          </p:nvSpPr>
          <p:spPr bwMode="auto">
            <a:xfrm>
              <a:off x="840781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iṥļïḍe">
              <a:extLst>
                <a:ext uri="{FF2B5EF4-FFF2-40B4-BE49-F238E27FC236}">
                  <a16:creationId xmlns:a16="http://schemas.microsoft.com/office/drawing/2014/main" id="{4AC4293B-8A7E-41E1-9C24-F467339F936B}"/>
                </a:ext>
              </a:extLst>
            </p:cNvPr>
            <p:cNvSpPr/>
            <p:nvPr/>
          </p:nvSpPr>
          <p:spPr bwMode="auto">
            <a:xfrm>
              <a:off x="8538969" y="2271702"/>
              <a:ext cx="124979" cy="69433"/>
            </a:xfrm>
            <a:custGeom>
              <a:avLst/>
              <a:gdLst>
                <a:gd name="T0" fmla="*/ 31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iŝḻîḑé">
              <a:extLst>
                <a:ext uri="{FF2B5EF4-FFF2-40B4-BE49-F238E27FC236}">
                  <a16:creationId xmlns:a16="http://schemas.microsoft.com/office/drawing/2014/main" id="{75C9D44C-27C2-45B6-AB7A-82E11D65C151}"/>
                </a:ext>
              </a:extLst>
            </p:cNvPr>
            <p:cNvSpPr/>
            <p:nvPr/>
          </p:nvSpPr>
          <p:spPr bwMode="auto">
            <a:xfrm>
              <a:off x="8670119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îṣḻíďé">
              <a:extLst>
                <a:ext uri="{FF2B5EF4-FFF2-40B4-BE49-F238E27FC236}">
                  <a16:creationId xmlns:a16="http://schemas.microsoft.com/office/drawing/2014/main" id="{D21607EB-4A79-4536-B25B-6EA3D070DF87}"/>
                </a:ext>
              </a:extLst>
            </p:cNvPr>
            <p:cNvSpPr/>
            <p:nvPr/>
          </p:nvSpPr>
          <p:spPr bwMode="auto">
            <a:xfrm>
              <a:off x="8802812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30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íṧlíḍé">
              <a:extLst>
                <a:ext uri="{FF2B5EF4-FFF2-40B4-BE49-F238E27FC236}">
                  <a16:creationId xmlns:a16="http://schemas.microsoft.com/office/drawing/2014/main" id="{52E90838-9229-4BAE-B199-D353EDC9F9E8}"/>
                </a:ext>
              </a:extLst>
            </p:cNvPr>
            <p:cNvSpPr/>
            <p:nvPr/>
          </p:nvSpPr>
          <p:spPr bwMode="auto">
            <a:xfrm>
              <a:off x="8933963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ïšļiḋé">
              <a:extLst>
                <a:ext uri="{FF2B5EF4-FFF2-40B4-BE49-F238E27FC236}">
                  <a16:creationId xmlns:a16="http://schemas.microsoft.com/office/drawing/2014/main" id="{6C33F354-A690-4885-9F74-F583622B8E3A}"/>
                </a:ext>
              </a:extLst>
            </p:cNvPr>
            <p:cNvSpPr/>
            <p:nvPr/>
          </p:nvSpPr>
          <p:spPr bwMode="auto">
            <a:xfrm>
              <a:off x="9065113" y="2271702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1" y="19"/>
                    <a:pt x="35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ïśḷîḑè">
              <a:extLst>
                <a:ext uri="{FF2B5EF4-FFF2-40B4-BE49-F238E27FC236}">
                  <a16:creationId xmlns:a16="http://schemas.microsoft.com/office/drawing/2014/main" id="{ADE9B38E-1FCF-4E33-AEC3-5BADE67C7CDA}"/>
                </a:ext>
              </a:extLst>
            </p:cNvPr>
            <p:cNvSpPr/>
            <p:nvPr/>
          </p:nvSpPr>
          <p:spPr bwMode="auto">
            <a:xfrm>
              <a:off x="9199350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2 w 34"/>
                <a:gd name="T3" fmla="*/ 0 h 19"/>
                <a:gd name="T4" fmla="*/ 2 w 34"/>
                <a:gd name="T5" fmla="*/ 9 h 19"/>
                <a:gd name="T6" fmla="*/ 22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îṡliḑè">
              <a:extLst>
                <a:ext uri="{FF2B5EF4-FFF2-40B4-BE49-F238E27FC236}">
                  <a16:creationId xmlns:a16="http://schemas.microsoft.com/office/drawing/2014/main" id="{D4963166-D457-40BC-B722-36D5EA1C040D}"/>
                </a:ext>
              </a:extLst>
            </p:cNvPr>
            <p:cNvSpPr/>
            <p:nvPr/>
          </p:nvSpPr>
          <p:spPr bwMode="auto">
            <a:xfrm>
              <a:off x="9330500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îşľiḑe">
              <a:extLst>
                <a:ext uri="{FF2B5EF4-FFF2-40B4-BE49-F238E27FC236}">
                  <a16:creationId xmlns:a16="http://schemas.microsoft.com/office/drawing/2014/main" id="{B9686ED9-17FF-4F6C-8AF7-2D0A903FD349}"/>
                </a:ext>
              </a:extLst>
            </p:cNvPr>
            <p:cNvSpPr/>
            <p:nvPr/>
          </p:nvSpPr>
          <p:spPr bwMode="auto">
            <a:xfrm>
              <a:off x="9375246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5"/>
                    <a:pt x="14" y="19"/>
                    <a:pt x="23" y="19"/>
                  </a:cubicBezTo>
                  <a:cubicBezTo>
                    <a:pt x="31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ïś1íḑê">
              <a:extLst>
                <a:ext uri="{FF2B5EF4-FFF2-40B4-BE49-F238E27FC236}">
                  <a16:creationId xmlns:a16="http://schemas.microsoft.com/office/drawing/2014/main" id="{36367852-0C5B-442F-BA51-A5089DE6199E}"/>
                </a:ext>
              </a:extLst>
            </p:cNvPr>
            <p:cNvSpPr/>
            <p:nvPr/>
          </p:nvSpPr>
          <p:spPr bwMode="auto">
            <a:xfrm>
              <a:off x="6969792" y="2356565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5"/>
                    <a:pt x="9" y="19"/>
                    <a:pt x="17" y="19"/>
                  </a:cubicBezTo>
                  <a:cubicBezTo>
                    <a:pt x="25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ïṧlïdé">
              <a:extLst>
                <a:ext uri="{FF2B5EF4-FFF2-40B4-BE49-F238E27FC236}">
                  <a16:creationId xmlns:a16="http://schemas.microsoft.com/office/drawing/2014/main" id="{F244406A-7A4F-4CDE-B7E0-99E7D29D37CC}"/>
                </a:ext>
              </a:extLst>
            </p:cNvPr>
            <p:cNvSpPr/>
            <p:nvPr/>
          </p:nvSpPr>
          <p:spPr bwMode="auto">
            <a:xfrm>
              <a:off x="7102485" y="2356565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10" y="19"/>
                    <a:pt x="18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íSľíḓè">
              <a:extLst>
                <a:ext uri="{FF2B5EF4-FFF2-40B4-BE49-F238E27FC236}">
                  <a16:creationId xmlns:a16="http://schemas.microsoft.com/office/drawing/2014/main" id="{14A7456F-19E1-419A-934A-9E4004F5D91A}"/>
                </a:ext>
              </a:extLst>
            </p:cNvPr>
            <p:cNvSpPr/>
            <p:nvPr/>
          </p:nvSpPr>
          <p:spPr bwMode="auto">
            <a:xfrm>
              <a:off x="7236722" y="2356565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10" y="19"/>
                    <a:pt x="18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ïş1íḓé">
              <a:extLst>
                <a:ext uri="{FF2B5EF4-FFF2-40B4-BE49-F238E27FC236}">
                  <a16:creationId xmlns:a16="http://schemas.microsoft.com/office/drawing/2014/main" id="{D4BEFAE5-D4E9-4B14-9DFC-18EC3501B044}"/>
                </a:ext>
              </a:extLst>
            </p:cNvPr>
            <p:cNvSpPr/>
            <p:nvPr/>
          </p:nvSpPr>
          <p:spPr bwMode="auto">
            <a:xfrm>
              <a:off x="7367872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5"/>
                    <a:pt x="11" y="19"/>
                    <a:pt x="19" y="19"/>
                  </a:cubicBezTo>
                  <a:cubicBezTo>
                    <a:pt x="27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íṡlïḓè">
              <a:extLst>
                <a:ext uri="{FF2B5EF4-FFF2-40B4-BE49-F238E27FC236}">
                  <a16:creationId xmlns:a16="http://schemas.microsoft.com/office/drawing/2014/main" id="{E91C107E-089F-4230-A569-8BA220E9147A}"/>
                </a:ext>
              </a:extLst>
            </p:cNvPr>
            <p:cNvSpPr/>
            <p:nvPr/>
          </p:nvSpPr>
          <p:spPr bwMode="auto">
            <a:xfrm>
              <a:off x="7503651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5"/>
                    <a:pt x="10" y="19"/>
                    <a:pt x="19" y="19"/>
                  </a:cubicBezTo>
                  <a:cubicBezTo>
                    <a:pt x="27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íṣlíḋê">
              <a:extLst>
                <a:ext uri="{FF2B5EF4-FFF2-40B4-BE49-F238E27FC236}">
                  <a16:creationId xmlns:a16="http://schemas.microsoft.com/office/drawing/2014/main" id="{4CC45C79-5578-45F1-8B14-1549D61C89FE}"/>
                </a:ext>
              </a:extLst>
            </p:cNvPr>
            <p:cNvSpPr/>
            <p:nvPr/>
          </p:nvSpPr>
          <p:spPr bwMode="auto">
            <a:xfrm>
              <a:off x="7637888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5"/>
                    <a:pt x="10" y="19"/>
                    <a:pt x="19" y="19"/>
                  </a:cubicBezTo>
                  <a:cubicBezTo>
                    <a:pt x="27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íṣḷïďê">
              <a:extLst>
                <a:ext uri="{FF2B5EF4-FFF2-40B4-BE49-F238E27FC236}">
                  <a16:creationId xmlns:a16="http://schemas.microsoft.com/office/drawing/2014/main" id="{7366498C-4EFC-4EEE-BBAF-43FAC3479219}"/>
                </a:ext>
              </a:extLst>
            </p:cNvPr>
            <p:cNvSpPr/>
            <p:nvPr/>
          </p:nvSpPr>
          <p:spPr bwMode="auto">
            <a:xfrm>
              <a:off x="7769038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5"/>
                    <a:pt x="11" y="19"/>
                    <a:pt x="20" y="19"/>
                  </a:cubicBezTo>
                  <a:cubicBezTo>
                    <a:pt x="28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íṧlïḑé">
              <a:extLst>
                <a:ext uri="{FF2B5EF4-FFF2-40B4-BE49-F238E27FC236}">
                  <a16:creationId xmlns:a16="http://schemas.microsoft.com/office/drawing/2014/main" id="{88C757B1-346E-476D-991A-CC97D9CED6D3}"/>
                </a:ext>
              </a:extLst>
            </p:cNvPr>
            <p:cNvSpPr/>
            <p:nvPr/>
          </p:nvSpPr>
          <p:spPr bwMode="auto">
            <a:xfrm>
              <a:off x="7904817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5"/>
                    <a:pt x="11" y="19"/>
                    <a:pt x="20" y="19"/>
                  </a:cubicBezTo>
                  <a:cubicBezTo>
                    <a:pt x="28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i$liḍé">
              <a:extLst>
                <a:ext uri="{FF2B5EF4-FFF2-40B4-BE49-F238E27FC236}">
                  <a16:creationId xmlns:a16="http://schemas.microsoft.com/office/drawing/2014/main" id="{EE42AD5E-0330-4D20-8225-801C561B721B}"/>
                </a:ext>
              </a:extLst>
            </p:cNvPr>
            <p:cNvSpPr/>
            <p:nvPr/>
          </p:nvSpPr>
          <p:spPr bwMode="auto">
            <a:xfrm>
              <a:off x="8039054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5"/>
                    <a:pt x="11" y="19"/>
                    <a:pt x="19" y="19"/>
                  </a:cubicBezTo>
                  <a:cubicBezTo>
                    <a:pt x="28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ṩļîďe">
              <a:extLst>
                <a:ext uri="{FF2B5EF4-FFF2-40B4-BE49-F238E27FC236}">
                  <a16:creationId xmlns:a16="http://schemas.microsoft.com/office/drawing/2014/main" id="{683E8831-0450-405B-B0FC-B77CFE7FAA3C}"/>
                </a:ext>
              </a:extLst>
            </p:cNvPr>
            <p:cNvSpPr/>
            <p:nvPr/>
          </p:nvSpPr>
          <p:spPr bwMode="auto">
            <a:xfrm>
              <a:off x="8170204" y="2356565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4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2" y="19"/>
                    <a:pt x="20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îş1ïḑè">
              <a:extLst>
                <a:ext uri="{FF2B5EF4-FFF2-40B4-BE49-F238E27FC236}">
                  <a16:creationId xmlns:a16="http://schemas.microsoft.com/office/drawing/2014/main" id="{E7F6C545-F502-4C8C-806E-FBD47DBF1CBA}"/>
                </a:ext>
              </a:extLst>
            </p:cNvPr>
            <p:cNvSpPr/>
            <p:nvPr/>
          </p:nvSpPr>
          <p:spPr bwMode="auto">
            <a:xfrm>
              <a:off x="8305983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2" y="19"/>
                    <a:pt x="20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íSḷíďe">
              <a:extLst>
                <a:ext uri="{FF2B5EF4-FFF2-40B4-BE49-F238E27FC236}">
                  <a16:creationId xmlns:a16="http://schemas.microsoft.com/office/drawing/2014/main" id="{72E8825D-06D4-4E9C-AC76-7EB8420E2019}"/>
                </a:ext>
              </a:extLst>
            </p:cNvPr>
            <p:cNvSpPr/>
            <p:nvPr/>
          </p:nvSpPr>
          <p:spPr bwMode="auto">
            <a:xfrm>
              <a:off x="8437134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4 w 35"/>
                <a:gd name="T3" fmla="*/ 0 h 19"/>
                <a:gd name="T4" fmla="*/ 2 w 35"/>
                <a:gd name="T5" fmla="*/ 9 h 19"/>
                <a:gd name="T6" fmla="*/ 21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îš1ídê">
              <a:extLst>
                <a:ext uri="{FF2B5EF4-FFF2-40B4-BE49-F238E27FC236}">
                  <a16:creationId xmlns:a16="http://schemas.microsoft.com/office/drawing/2014/main" id="{0C535943-5AEB-49CE-B8D1-5CBAA49E9F06}"/>
                </a:ext>
              </a:extLst>
            </p:cNvPr>
            <p:cNvSpPr/>
            <p:nvPr/>
          </p:nvSpPr>
          <p:spPr bwMode="auto">
            <a:xfrm>
              <a:off x="8572914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iṥḷîḓè">
              <a:extLst>
                <a:ext uri="{FF2B5EF4-FFF2-40B4-BE49-F238E27FC236}">
                  <a16:creationId xmlns:a16="http://schemas.microsoft.com/office/drawing/2014/main" id="{19DA87DF-A2BE-43F4-A1FE-FF11B101AC0B}"/>
                </a:ext>
              </a:extLst>
            </p:cNvPr>
            <p:cNvSpPr/>
            <p:nvPr/>
          </p:nvSpPr>
          <p:spPr bwMode="auto">
            <a:xfrm>
              <a:off x="8707149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iślîḍê">
              <a:extLst>
                <a:ext uri="{FF2B5EF4-FFF2-40B4-BE49-F238E27FC236}">
                  <a16:creationId xmlns:a16="http://schemas.microsoft.com/office/drawing/2014/main" id="{B2CC7E9C-400D-4DE5-9E4A-E29D015013E4}"/>
                </a:ext>
              </a:extLst>
            </p:cNvPr>
            <p:cNvSpPr/>
            <p:nvPr/>
          </p:nvSpPr>
          <p:spPr bwMode="auto">
            <a:xfrm>
              <a:off x="8838300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5"/>
                    <a:pt x="14" y="19"/>
                    <a:pt x="22" y="19"/>
                  </a:cubicBezTo>
                  <a:cubicBezTo>
                    <a:pt x="30" y="19"/>
                    <a:pt x="35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íšḷîḍê">
              <a:extLst>
                <a:ext uri="{FF2B5EF4-FFF2-40B4-BE49-F238E27FC236}">
                  <a16:creationId xmlns:a16="http://schemas.microsoft.com/office/drawing/2014/main" id="{98CA9A4B-8AA2-4A5E-8E88-66F2B8416C27}"/>
                </a:ext>
              </a:extLst>
            </p:cNvPr>
            <p:cNvSpPr/>
            <p:nvPr/>
          </p:nvSpPr>
          <p:spPr bwMode="auto">
            <a:xfrm>
              <a:off x="8974080" y="2356565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5"/>
                    <a:pt x="14" y="19"/>
                    <a:pt x="22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îṥlïḍé">
              <a:extLst>
                <a:ext uri="{FF2B5EF4-FFF2-40B4-BE49-F238E27FC236}">
                  <a16:creationId xmlns:a16="http://schemas.microsoft.com/office/drawing/2014/main" id="{B6521699-D835-414E-810E-117A964FEA93}"/>
                </a:ext>
              </a:extLst>
            </p:cNvPr>
            <p:cNvSpPr/>
            <p:nvPr/>
          </p:nvSpPr>
          <p:spPr bwMode="auto">
            <a:xfrm>
              <a:off x="9108316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5"/>
                    <a:pt x="13" y="19"/>
                    <a:pt x="22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ïṣľiḍé">
              <a:extLst>
                <a:ext uri="{FF2B5EF4-FFF2-40B4-BE49-F238E27FC236}">
                  <a16:creationId xmlns:a16="http://schemas.microsoft.com/office/drawing/2014/main" id="{FCB079B8-2A6E-4155-AEFA-6F9875EA3C46}"/>
                </a:ext>
              </a:extLst>
            </p:cNvPr>
            <p:cNvSpPr/>
            <p:nvPr/>
          </p:nvSpPr>
          <p:spPr bwMode="auto">
            <a:xfrm>
              <a:off x="9239466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13 w 36"/>
                <a:gd name="T3" fmla="*/ 0 h 19"/>
                <a:gd name="T4" fmla="*/ 3 w 36"/>
                <a:gd name="T5" fmla="*/ 9 h 19"/>
                <a:gd name="T6" fmla="*/ 2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5"/>
                    <a:pt x="14" y="19"/>
                    <a:pt x="23" y="19"/>
                  </a:cubicBezTo>
                  <a:cubicBezTo>
                    <a:pt x="31" y="19"/>
                    <a:pt x="36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îṧľîḍè">
              <a:extLst>
                <a:ext uri="{FF2B5EF4-FFF2-40B4-BE49-F238E27FC236}">
                  <a16:creationId xmlns:a16="http://schemas.microsoft.com/office/drawing/2014/main" id="{8B64CF84-8DC0-44B8-9747-F48C7F8FF143}"/>
                </a:ext>
              </a:extLst>
            </p:cNvPr>
            <p:cNvSpPr/>
            <p:nvPr/>
          </p:nvSpPr>
          <p:spPr bwMode="auto">
            <a:xfrm>
              <a:off x="6985221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1" y="16"/>
                    <a:pt x="9" y="20"/>
                    <a:pt x="17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îṧ1îḓe">
              <a:extLst>
                <a:ext uri="{FF2B5EF4-FFF2-40B4-BE49-F238E27FC236}">
                  <a16:creationId xmlns:a16="http://schemas.microsoft.com/office/drawing/2014/main" id="{AD27DED2-EDDD-4207-89DE-3FA866ACCC09}"/>
                </a:ext>
              </a:extLst>
            </p:cNvPr>
            <p:cNvSpPr/>
            <p:nvPr/>
          </p:nvSpPr>
          <p:spPr bwMode="auto">
            <a:xfrm>
              <a:off x="7119458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íṧļïde">
              <a:extLst>
                <a:ext uri="{FF2B5EF4-FFF2-40B4-BE49-F238E27FC236}">
                  <a16:creationId xmlns:a16="http://schemas.microsoft.com/office/drawing/2014/main" id="{08CEFB59-1ADA-4825-B027-441F7916FC86}"/>
                </a:ext>
              </a:extLst>
            </p:cNvPr>
            <p:cNvSpPr/>
            <p:nvPr/>
          </p:nvSpPr>
          <p:spPr bwMode="auto">
            <a:xfrm>
              <a:off x="725523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10" y="20"/>
                    <a:pt x="18" y="20"/>
                  </a:cubicBezTo>
                  <a:cubicBezTo>
                    <a:pt x="27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íSľiḑé">
              <a:extLst>
                <a:ext uri="{FF2B5EF4-FFF2-40B4-BE49-F238E27FC236}">
                  <a16:creationId xmlns:a16="http://schemas.microsoft.com/office/drawing/2014/main" id="{2A93C848-1B91-44C7-8D06-11D375559B95}"/>
                </a:ext>
              </a:extLst>
            </p:cNvPr>
            <p:cNvSpPr/>
            <p:nvPr/>
          </p:nvSpPr>
          <p:spPr bwMode="auto">
            <a:xfrm>
              <a:off x="7389473" y="2439884"/>
              <a:ext cx="120350" cy="74061"/>
            </a:xfrm>
            <a:custGeom>
              <a:avLst/>
              <a:gdLst>
                <a:gd name="T0" fmla="*/ 31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1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10" y="20"/>
                    <a:pt x="19" y="20"/>
                  </a:cubicBezTo>
                  <a:cubicBezTo>
                    <a:pt x="27" y="20"/>
                    <a:pt x="33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îṡ1iďe">
              <a:extLst>
                <a:ext uri="{FF2B5EF4-FFF2-40B4-BE49-F238E27FC236}">
                  <a16:creationId xmlns:a16="http://schemas.microsoft.com/office/drawing/2014/main" id="{76680254-9F1B-4A80-ADDB-CAFE9B655997}"/>
                </a:ext>
              </a:extLst>
            </p:cNvPr>
            <p:cNvSpPr/>
            <p:nvPr/>
          </p:nvSpPr>
          <p:spPr bwMode="auto">
            <a:xfrm>
              <a:off x="7525252" y="2439884"/>
              <a:ext cx="120350" cy="74061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3" y="16"/>
                    <a:pt x="10" y="20"/>
                    <a:pt x="19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išḷîďé">
              <a:extLst>
                <a:ext uri="{FF2B5EF4-FFF2-40B4-BE49-F238E27FC236}">
                  <a16:creationId xmlns:a16="http://schemas.microsoft.com/office/drawing/2014/main" id="{671C266A-394F-4C31-9B8B-9CB4C58837AE}"/>
                </a:ext>
              </a:extLst>
            </p:cNvPr>
            <p:cNvSpPr/>
            <p:nvPr/>
          </p:nvSpPr>
          <p:spPr bwMode="auto">
            <a:xfrm>
              <a:off x="7659489" y="2439884"/>
              <a:ext cx="120350" cy="74061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3" y="16"/>
                    <a:pt x="11" y="20"/>
                    <a:pt x="19" y="20"/>
                  </a:cubicBezTo>
                  <a:cubicBezTo>
                    <a:pt x="28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íŝľídé">
              <a:extLst>
                <a:ext uri="{FF2B5EF4-FFF2-40B4-BE49-F238E27FC236}">
                  <a16:creationId xmlns:a16="http://schemas.microsoft.com/office/drawing/2014/main" id="{6BD7B1AD-C989-4B7E-B87A-2FC976508FAB}"/>
                </a:ext>
              </a:extLst>
            </p:cNvPr>
            <p:cNvSpPr/>
            <p:nvPr/>
          </p:nvSpPr>
          <p:spPr bwMode="auto">
            <a:xfrm>
              <a:off x="7795269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ïSḷiḑé">
              <a:extLst>
                <a:ext uri="{FF2B5EF4-FFF2-40B4-BE49-F238E27FC236}">
                  <a16:creationId xmlns:a16="http://schemas.microsoft.com/office/drawing/2014/main" id="{CA25A97A-88A0-481B-9F30-8290D9EE3518}"/>
                </a:ext>
              </a:extLst>
            </p:cNvPr>
            <p:cNvSpPr/>
            <p:nvPr/>
          </p:nvSpPr>
          <p:spPr bwMode="auto">
            <a:xfrm>
              <a:off x="7929504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3" y="16"/>
                    <a:pt x="12" y="20"/>
                    <a:pt x="20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işļíďè">
              <a:extLst>
                <a:ext uri="{FF2B5EF4-FFF2-40B4-BE49-F238E27FC236}">
                  <a16:creationId xmlns:a16="http://schemas.microsoft.com/office/drawing/2014/main" id="{C50ED54C-98F6-453D-9226-419205899EF9}"/>
                </a:ext>
              </a:extLst>
            </p:cNvPr>
            <p:cNvSpPr/>
            <p:nvPr/>
          </p:nvSpPr>
          <p:spPr bwMode="auto">
            <a:xfrm>
              <a:off x="8065284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2" y="20"/>
                    <a:pt x="20" y="20"/>
                  </a:cubicBezTo>
                  <a:cubicBezTo>
                    <a:pt x="29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iṥlîde">
              <a:extLst>
                <a:ext uri="{FF2B5EF4-FFF2-40B4-BE49-F238E27FC236}">
                  <a16:creationId xmlns:a16="http://schemas.microsoft.com/office/drawing/2014/main" id="{1C22DF1A-0834-41DB-9416-D1AFF7352C70}"/>
                </a:ext>
              </a:extLst>
            </p:cNvPr>
            <p:cNvSpPr/>
            <p:nvPr/>
          </p:nvSpPr>
          <p:spPr bwMode="auto">
            <a:xfrm>
              <a:off x="8199520" y="2439884"/>
              <a:ext cx="124979" cy="74061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29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iṩḻïḑê">
              <a:extLst>
                <a:ext uri="{FF2B5EF4-FFF2-40B4-BE49-F238E27FC236}">
                  <a16:creationId xmlns:a16="http://schemas.microsoft.com/office/drawing/2014/main" id="{3789D53C-DB7E-418E-B6C3-DED5DB0F0E85}"/>
                </a:ext>
              </a:extLst>
            </p:cNvPr>
            <p:cNvSpPr/>
            <p:nvPr/>
          </p:nvSpPr>
          <p:spPr bwMode="auto">
            <a:xfrm>
              <a:off x="8335300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íṣḻïḍè">
              <a:extLst>
                <a:ext uri="{FF2B5EF4-FFF2-40B4-BE49-F238E27FC236}">
                  <a16:creationId xmlns:a16="http://schemas.microsoft.com/office/drawing/2014/main" id="{09AF30F6-5281-4DB6-8306-4A986B640E8E}"/>
                </a:ext>
              </a:extLst>
            </p:cNvPr>
            <p:cNvSpPr/>
            <p:nvPr/>
          </p:nvSpPr>
          <p:spPr bwMode="auto">
            <a:xfrm>
              <a:off x="8469536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3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3" y="10"/>
                  </a:cubicBezTo>
                  <a:cubicBezTo>
                    <a:pt x="5" y="16"/>
                    <a:pt x="13" y="20"/>
                    <a:pt x="22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îş1ïḋé">
              <a:extLst>
                <a:ext uri="{FF2B5EF4-FFF2-40B4-BE49-F238E27FC236}">
                  <a16:creationId xmlns:a16="http://schemas.microsoft.com/office/drawing/2014/main" id="{BC760EE2-9B02-4840-91A9-1EEBA4876367}"/>
                </a:ext>
              </a:extLst>
            </p:cNvPr>
            <p:cNvSpPr/>
            <p:nvPr/>
          </p:nvSpPr>
          <p:spPr bwMode="auto">
            <a:xfrm>
              <a:off x="8608401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29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ïṣḷíde">
              <a:extLst>
                <a:ext uri="{FF2B5EF4-FFF2-40B4-BE49-F238E27FC236}">
                  <a16:creationId xmlns:a16="http://schemas.microsoft.com/office/drawing/2014/main" id="{261F9F29-568E-493F-8D1F-348A60C5CE52}"/>
                </a:ext>
              </a:extLst>
            </p:cNvPr>
            <p:cNvSpPr/>
            <p:nvPr/>
          </p:nvSpPr>
          <p:spPr bwMode="auto">
            <a:xfrm>
              <a:off x="8744180" y="2439884"/>
              <a:ext cx="126522" cy="74061"/>
            </a:xfrm>
            <a:custGeom>
              <a:avLst/>
              <a:gdLst>
                <a:gd name="T0" fmla="*/ 32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îṧḻíḑè">
              <a:extLst>
                <a:ext uri="{FF2B5EF4-FFF2-40B4-BE49-F238E27FC236}">
                  <a16:creationId xmlns:a16="http://schemas.microsoft.com/office/drawing/2014/main" id="{76623C7D-8DB1-4BE8-A70F-F25916596E0F}"/>
                </a:ext>
              </a:extLst>
            </p:cNvPr>
            <p:cNvSpPr/>
            <p:nvPr/>
          </p:nvSpPr>
          <p:spPr bwMode="auto">
            <a:xfrm>
              <a:off x="8878417" y="2439884"/>
              <a:ext cx="128065" cy="74061"/>
            </a:xfrm>
            <a:custGeom>
              <a:avLst/>
              <a:gdLst>
                <a:gd name="T0" fmla="*/ 32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5" y="16"/>
                    <a:pt x="13" y="20"/>
                    <a:pt x="22" y="20"/>
                  </a:cubicBezTo>
                  <a:cubicBezTo>
                    <a:pt x="30" y="20"/>
                    <a:pt x="35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íŝḷídé">
              <a:extLst>
                <a:ext uri="{FF2B5EF4-FFF2-40B4-BE49-F238E27FC236}">
                  <a16:creationId xmlns:a16="http://schemas.microsoft.com/office/drawing/2014/main" id="{9DC83D29-7033-4B01-9FAE-F6055472E559}"/>
                </a:ext>
              </a:extLst>
            </p:cNvPr>
            <p:cNvSpPr/>
            <p:nvPr/>
          </p:nvSpPr>
          <p:spPr bwMode="auto">
            <a:xfrm>
              <a:off x="9014196" y="2439884"/>
              <a:ext cx="126522" cy="74061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5" y="16"/>
                    <a:pt x="14" y="20"/>
                    <a:pt x="22" y="20"/>
                  </a:cubicBezTo>
                  <a:cubicBezTo>
                    <a:pt x="31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ïšľïḑê">
              <a:extLst>
                <a:ext uri="{FF2B5EF4-FFF2-40B4-BE49-F238E27FC236}">
                  <a16:creationId xmlns:a16="http://schemas.microsoft.com/office/drawing/2014/main" id="{6DB6F7A8-E335-4EFE-B6F2-290653CCBDA6}"/>
                </a:ext>
              </a:extLst>
            </p:cNvPr>
            <p:cNvSpPr/>
            <p:nvPr/>
          </p:nvSpPr>
          <p:spPr bwMode="auto">
            <a:xfrm>
              <a:off x="9148432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ïSļiḓê">
              <a:extLst>
                <a:ext uri="{FF2B5EF4-FFF2-40B4-BE49-F238E27FC236}">
                  <a16:creationId xmlns:a16="http://schemas.microsoft.com/office/drawing/2014/main" id="{65A8C8A2-89A2-4A6A-888F-FCD8499C1612}"/>
                </a:ext>
              </a:extLst>
            </p:cNvPr>
            <p:cNvSpPr/>
            <p:nvPr/>
          </p:nvSpPr>
          <p:spPr bwMode="auto">
            <a:xfrm>
              <a:off x="9284211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íślîďè">
              <a:extLst>
                <a:ext uri="{FF2B5EF4-FFF2-40B4-BE49-F238E27FC236}">
                  <a16:creationId xmlns:a16="http://schemas.microsoft.com/office/drawing/2014/main" id="{C885CC70-2C41-41A9-A15E-F07D756DCB99}"/>
                </a:ext>
              </a:extLst>
            </p:cNvPr>
            <p:cNvSpPr/>
            <p:nvPr/>
          </p:nvSpPr>
          <p:spPr bwMode="auto">
            <a:xfrm>
              <a:off x="8779668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5" y="15"/>
                    <a:pt x="13" y="20"/>
                    <a:pt x="22" y="20"/>
                  </a:cubicBezTo>
                  <a:cubicBezTo>
                    <a:pt x="31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iṧľïḋê">
              <a:extLst>
                <a:ext uri="{FF2B5EF4-FFF2-40B4-BE49-F238E27FC236}">
                  <a16:creationId xmlns:a16="http://schemas.microsoft.com/office/drawing/2014/main" id="{18123C0A-7AF2-4489-922C-DAE7F20D13EE}"/>
                </a:ext>
              </a:extLst>
            </p:cNvPr>
            <p:cNvSpPr/>
            <p:nvPr/>
          </p:nvSpPr>
          <p:spPr bwMode="auto">
            <a:xfrm>
              <a:off x="8915448" y="2532461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5"/>
                    <a:pt x="14" y="20"/>
                    <a:pt x="23" y="20"/>
                  </a:cubicBezTo>
                  <a:cubicBezTo>
                    <a:pt x="31" y="20"/>
                    <a:pt x="36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ïs1îḑé">
              <a:extLst>
                <a:ext uri="{FF2B5EF4-FFF2-40B4-BE49-F238E27FC236}">
                  <a16:creationId xmlns:a16="http://schemas.microsoft.com/office/drawing/2014/main" id="{D3193280-8AE8-4AFD-AC68-B86CF7834CC0}"/>
                </a:ext>
              </a:extLst>
            </p:cNvPr>
            <p:cNvSpPr/>
            <p:nvPr/>
          </p:nvSpPr>
          <p:spPr bwMode="auto">
            <a:xfrm>
              <a:off x="9193178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2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5"/>
                    <a:pt x="14" y="20"/>
                    <a:pt x="23" y="20"/>
                  </a:cubicBezTo>
                  <a:cubicBezTo>
                    <a:pt x="31" y="20"/>
                    <a:pt x="36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îsḻídè">
              <a:extLst>
                <a:ext uri="{FF2B5EF4-FFF2-40B4-BE49-F238E27FC236}">
                  <a16:creationId xmlns:a16="http://schemas.microsoft.com/office/drawing/2014/main" id="{F13DECEF-39D5-453A-865F-81B368993C13}"/>
                </a:ext>
              </a:extLst>
            </p:cNvPr>
            <p:cNvSpPr/>
            <p:nvPr/>
          </p:nvSpPr>
          <p:spPr bwMode="auto">
            <a:xfrm>
              <a:off x="8816699" y="2623495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2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iṧ1ïḓê">
              <a:extLst>
                <a:ext uri="{FF2B5EF4-FFF2-40B4-BE49-F238E27FC236}">
                  <a16:creationId xmlns:a16="http://schemas.microsoft.com/office/drawing/2014/main" id="{C51680B1-579A-4A51-B38A-513D905869AA}"/>
                </a:ext>
              </a:extLst>
            </p:cNvPr>
            <p:cNvSpPr/>
            <p:nvPr/>
          </p:nvSpPr>
          <p:spPr bwMode="auto">
            <a:xfrm>
              <a:off x="8955564" y="2623495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4 w 37"/>
                <a:gd name="T3" fmla="*/ 0 h 20"/>
                <a:gd name="T4" fmla="*/ 3 w 37"/>
                <a:gd name="T5" fmla="*/ 10 h 20"/>
                <a:gd name="T6" fmla="*/ 2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2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6" y="16"/>
                    <a:pt x="15" y="20"/>
                    <a:pt x="23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íṣ1iďe">
              <a:extLst>
                <a:ext uri="{FF2B5EF4-FFF2-40B4-BE49-F238E27FC236}">
                  <a16:creationId xmlns:a16="http://schemas.microsoft.com/office/drawing/2014/main" id="{78EBFCD4-035B-48A7-967F-3D6F79AFD470}"/>
                </a:ext>
              </a:extLst>
            </p:cNvPr>
            <p:cNvSpPr/>
            <p:nvPr/>
          </p:nvSpPr>
          <p:spPr bwMode="auto">
            <a:xfrm>
              <a:off x="9236381" y="2623495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2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2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ïŝḷíḋè">
              <a:extLst>
                <a:ext uri="{FF2B5EF4-FFF2-40B4-BE49-F238E27FC236}">
                  <a16:creationId xmlns:a16="http://schemas.microsoft.com/office/drawing/2014/main" id="{C1E3465D-FB3D-4B9C-8920-976914C46103}"/>
                </a:ext>
              </a:extLst>
            </p:cNvPr>
            <p:cNvSpPr/>
            <p:nvPr/>
          </p:nvSpPr>
          <p:spPr bwMode="auto">
            <a:xfrm>
              <a:off x="8856816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işḷîdè">
              <a:extLst>
                <a:ext uri="{FF2B5EF4-FFF2-40B4-BE49-F238E27FC236}">
                  <a16:creationId xmlns:a16="http://schemas.microsoft.com/office/drawing/2014/main" id="{E0B142BA-7F0B-4A11-9BB4-716694DBE0C6}"/>
                </a:ext>
              </a:extLst>
            </p:cNvPr>
            <p:cNvSpPr/>
            <p:nvPr/>
          </p:nvSpPr>
          <p:spPr bwMode="auto">
            <a:xfrm>
              <a:off x="8998767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3 w 37"/>
                <a:gd name="T3" fmla="*/ 0 h 22"/>
                <a:gd name="T4" fmla="*/ 2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1" y="5"/>
                    <a:pt x="22" y="0"/>
                    <a:pt x="13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ïsľïḍé">
              <a:extLst>
                <a:ext uri="{FF2B5EF4-FFF2-40B4-BE49-F238E27FC236}">
                  <a16:creationId xmlns:a16="http://schemas.microsoft.com/office/drawing/2014/main" id="{EEA7A01A-DFED-49FE-9CBA-93C24A688B63}"/>
                </a:ext>
              </a:extLst>
            </p:cNvPr>
            <p:cNvSpPr/>
            <p:nvPr/>
          </p:nvSpPr>
          <p:spPr bwMode="auto">
            <a:xfrm>
              <a:off x="8896932" y="2810191"/>
              <a:ext cx="135779" cy="80233"/>
            </a:xfrm>
            <a:custGeom>
              <a:avLst/>
              <a:gdLst>
                <a:gd name="T0" fmla="*/ 35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4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5" y="22"/>
                    <a:pt x="24" y="22"/>
                  </a:cubicBezTo>
                  <a:cubicBezTo>
                    <a:pt x="32" y="22"/>
                    <a:pt x="37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işlïḑe">
              <a:extLst>
                <a:ext uri="{FF2B5EF4-FFF2-40B4-BE49-F238E27FC236}">
                  <a16:creationId xmlns:a16="http://schemas.microsoft.com/office/drawing/2014/main" id="{22B11462-E546-455C-917C-D8B6F94ECB2C}"/>
                </a:ext>
              </a:extLst>
            </p:cNvPr>
            <p:cNvSpPr/>
            <p:nvPr/>
          </p:nvSpPr>
          <p:spPr bwMode="auto">
            <a:xfrm>
              <a:off x="9038883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14 w 38"/>
                <a:gd name="T3" fmla="*/ 0 h 22"/>
                <a:gd name="T4" fmla="*/ 3 w 38"/>
                <a:gd name="T5" fmla="*/ 11 h 22"/>
                <a:gd name="T6" fmla="*/ 2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6" y="17"/>
                    <a:pt x="15" y="22"/>
                    <a:pt x="24" y="22"/>
                  </a:cubicBezTo>
                  <a:cubicBezTo>
                    <a:pt x="33" y="22"/>
                    <a:pt x="38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íś1íḍé">
              <a:extLst>
                <a:ext uri="{FF2B5EF4-FFF2-40B4-BE49-F238E27FC236}">
                  <a16:creationId xmlns:a16="http://schemas.microsoft.com/office/drawing/2014/main" id="{51E2A586-2ED0-45C9-99D9-46004A963ADF}"/>
                </a:ext>
              </a:extLst>
            </p:cNvPr>
            <p:cNvSpPr/>
            <p:nvPr/>
          </p:nvSpPr>
          <p:spPr bwMode="auto">
            <a:xfrm>
              <a:off x="8940135" y="2907397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îṧlïḓê">
              <a:extLst>
                <a:ext uri="{FF2B5EF4-FFF2-40B4-BE49-F238E27FC236}">
                  <a16:creationId xmlns:a16="http://schemas.microsoft.com/office/drawing/2014/main" id="{69A7C5B2-187F-42F4-8639-8C79A49E0D61}"/>
                </a:ext>
              </a:extLst>
            </p:cNvPr>
            <p:cNvSpPr/>
            <p:nvPr/>
          </p:nvSpPr>
          <p:spPr bwMode="auto">
            <a:xfrm>
              <a:off x="7809155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2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ïṩḷîḋe">
              <a:extLst>
                <a:ext uri="{FF2B5EF4-FFF2-40B4-BE49-F238E27FC236}">
                  <a16:creationId xmlns:a16="http://schemas.microsoft.com/office/drawing/2014/main" id="{4F0E0F00-CDD8-4ADD-BB1D-E185AE3FACD5}"/>
                </a:ext>
              </a:extLst>
            </p:cNvPr>
            <p:cNvSpPr/>
            <p:nvPr/>
          </p:nvSpPr>
          <p:spPr bwMode="auto">
            <a:xfrm>
              <a:off x="7955735" y="3010774"/>
              <a:ext cx="134237" cy="83319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îṩḷîdé">
              <a:extLst>
                <a:ext uri="{FF2B5EF4-FFF2-40B4-BE49-F238E27FC236}">
                  <a16:creationId xmlns:a16="http://schemas.microsoft.com/office/drawing/2014/main" id="{01205DF9-861B-46CE-996D-E9142B42FCB0}"/>
                </a:ext>
              </a:extLst>
            </p:cNvPr>
            <p:cNvSpPr/>
            <p:nvPr/>
          </p:nvSpPr>
          <p:spPr bwMode="auto">
            <a:xfrm>
              <a:off x="8105400" y="3010774"/>
              <a:ext cx="131151" cy="83319"/>
            </a:xfrm>
            <a:custGeom>
              <a:avLst/>
              <a:gdLst>
                <a:gd name="T0" fmla="*/ 34 w 36"/>
                <a:gd name="T1" fmla="*/ 11 h 23"/>
                <a:gd name="T2" fmla="*/ 14 w 36"/>
                <a:gd name="T3" fmla="*/ 0 h 23"/>
                <a:gd name="T4" fmla="*/ 1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1" y="11"/>
                  </a:cubicBezTo>
                  <a:cubicBezTo>
                    <a:pt x="3" y="18"/>
                    <a:pt x="12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îŝlíďê">
              <a:extLst>
                <a:ext uri="{FF2B5EF4-FFF2-40B4-BE49-F238E27FC236}">
                  <a16:creationId xmlns:a16="http://schemas.microsoft.com/office/drawing/2014/main" id="{E116022E-88F8-4A03-98FC-197822EBAB5D}"/>
                </a:ext>
              </a:extLst>
            </p:cNvPr>
            <p:cNvSpPr/>
            <p:nvPr/>
          </p:nvSpPr>
          <p:spPr bwMode="auto">
            <a:xfrm>
              <a:off x="8397018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3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ïSlîďe">
              <a:extLst>
                <a:ext uri="{FF2B5EF4-FFF2-40B4-BE49-F238E27FC236}">
                  <a16:creationId xmlns:a16="http://schemas.microsoft.com/office/drawing/2014/main" id="{8A76B45E-1507-4B0B-A40C-21F9213F4EEE}"/>
                </a:ext>
              </a:extLst>
            </p:cNvPr>
            <p:cNvSpPr/>
            <p:nvPr/>
          </p:nvSpPr>
          <p:spPr bwMode="auto">
            <a:xfrm>
              <a:off x="8543597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2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iṧļiďè">
              <a:extLst>
                <a:ext uri="{FF2B5EF4-FFF2-40B4-BE49-F238E27FC236}">
                  <a16:creationId xmlns:a16="http://schemas.microsoft.com/office/drawing/2014/main" id="{AD384505-304B-45AA-A224-38A5B286DEF7}"/>
                </a:ext>
              </a:extLst>
            </p:cNvPr>
            <p:cNvSpPr/>
            <p:nvPr/>
          </p:nvSpPr>
          <p:spPr bwMode="auto">
            <a:xfrm>
              <a:off x="8688634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8"/>
                    <a:pt x="14" y="23"/>
                    <a:pt x="24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işľîďê">
              <a:extLst>
                <a:ext uri="{FF2B5EF4-FFF2-40B4-BE49-F238E27FC236}">
                  <a16:creationId xmlns:a16="http://schemas.microsoft.com/office/drawing/2014/main" id="{10ECA296-455A-4DA5-AA58-257CE524D7EB}"/>
                </a:ext>
              </a:extLst>
            </p:cNvPr>
            <p:cNvSpPr/>
            <p:nvPr/>
          </p:nvSpPr>
          <p:spPr bwMode="auto">
            <a:xfrm>
              <a:off x="7838471" y="3112609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2 w 37"/>
                <a:gd name="T5" fmla="*/ 12 h 24"/>
                <a:gd name="T6" fmla="*/ 21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6" y="0"/>
                    <a:pt x="0" y="6"/>
                    <a:pt x="2" y="12"/>
                  </a:cubicBezTo>
                  <a:cubicBezTo>
                    <a:pt x="3" y="19"/>
                    <a:pt x="12" y="24"/>
                    <a:pt x="21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ïṩḷiḋe">
              <a:extLst>
                <a:ext uri="{FF2B5EF4-FFF2-40B4-BE49-F238E27FC236}">
                  <a16:creationId xmlns:a16="http://schemas.microsoft.com/office/drawing/2014/main" id="{9775C018-0B8A-4192-AFF0-F8167A63E646}"/>
                </a:ext>
              </a:extLst>
            </p:cNvPr>
            <p:cNvSpPr/>
            <p:nvPr/>
          </p:nvSpPr>
          <p:spPr bwMode="auto">
            <a:xfrm>
              <a:off x="7988136" y="3112609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1 w 37"/>
                <a:gd name="T5" fmla="*/ 12 h 24"/>
                <a:gd name="T6" fmla="*/ 22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5" y="0"/>
                    <a:pt x="0" y="6"/>
                    <a:pt x="1" y="12"/>
                  </a:cubicBezTo>
                  <a:cubicBezTo>
                    <a:pt x="3" y="19"/>
                    <a:pt x="12" y="24"/>
                    <a:pt x="22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íŝ1îďé">
              <a:extLst>
                <a:ext uri="{FF2B5EF4-FFF2-40B4-BE49-F238E27FC236}">
                  <a16:creationId xmlns:a16="http://schemas.microsoft.com/office/drawing/2014/main" id="{4C1369F0-D9E0-49EA-816B-D33127C2C17C}"/>
                </a:ext>
              </a:extLst>
            </p:cNvPr>
            <p:cNvSpPr/>
            <p:nvPr/>
          </p:nvSpPr>
          <p:spPr bwMode="auto">
            <a:xfrm>
              <a:off x="8434048" y="3112609"/>
              <a:ext cx="138865" cy="87948"/>
            </a:xfrm>
            <a:custGeom>
              <a:avLst/>
              <a:gdLst>
                <a:gd name="T0" fmla="*/ 35 w 38"/>
                <a:gd name="T1" fmla="*/ 12 h 24"/>
                <a:gd name="T2" fmla="*/ 14 w 38"/>
                <a:gd name="T3" fmla="*/ 0 h 24"/>
                <a:gd name="T4" fmla="*/ 2 w 38"/>
                <a:gd name="T5" fmla="*/ 12 h 24"/>
                <a:gd name="T6" fmla="*/ 23 w 38"/>
                <a:gd name="T7" fmla="*/ 24 h 24"/>
                <a:gd name="T8" fmla="*/ 35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5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2" y="12"/>
                  </a:cubicBezTo>
                  <a:cubicBezTo>
                    <a:pt x="4" y="19"/>
                    <a:pt x="13" y="24"/>
                    <a:pt x="23" y="24"/>
                  </a:cubicBezTo>
                  <a:cubicBezTo>
                    <a:pt x="32" y="24"/>
                    <a:pt x="38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íśḷíďé">
              <a:extLst>
                <a:ext uri="{FF2B5EF4-FFF2-40B4-BE49-F238E27FC236}">
                  <a16:creationId xmlns:a16="http://schemas.microsoft.com/office/drawing/2014/main" id="{385CF213-9B96-4732-BBAC-EFD869EFCF59}"/>
                </a:ext>
              </a:extLst>
            </p:cNvPr>
            <p:cNvSpPr/>
            <p:nvPr/>
          </p:nvSpPr>
          <p:spPr bwMode="auto">
            <a:xfrm>
              <a:off x="8579085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3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6" y="0"/>
                    <a:pt x="0" y="6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îsľïḍè">
              <a:extLst>
                <a:ext uri="{FF2B5EF4-FFF2-40B4-BE49-F238E27FC236}">
                  <a16:creationId xmlns:a16="http://schemas.microsoft.com/office/drawing/2014/main" id="{51DED380-2D1A-4866-B203-C271EF474E75}"/>
                </a:ext>
              </a:extLst>
            </p:cNvPr>
            <p:cNvSpPr/>
            <p:nvPr/>
          </p:nvSpPr>
          <p:spPr bwMode="auto">
            <a:xfrm>
              <a:off x="8728751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3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5" y="0"/>
                    <a:pt x="0" y="6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íṣļíḍe">
              <a:extLst>
                <a:ext uri="{FF2B5EF4-FFF2-40B4-BE49-F238E27FC236}">
                  <a16:creationId xmlns:a16="http://schemas.microsoft.com/office/drawing/2014/main" id="{2809EFD4-FF2C-4084-9BC6-51DCFFC334FA}"/>
                </a:ext>
              </a:extLst>
            </p:cNvPr>
            <p:cNvSpPr/>
            <p:nvPr/>
          </p:nvSpPr>
          <p:spPr bwMode="auto">
            <a:xfrm>
              <a:off x="8878417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4 w 38"/>
                <a:gd name="T3" fmla="*/ 0 h 24"/>
                <a:gd name="T4" fmla="*/ 2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2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iSḷíḑé">
              <a:extLst>
                <a:ext uri="{FF2B5EF4-FFF2-40B4-BE49-F238E27FC236}">
                  <a16:creationId xmlns:a16="http://schemas.microsoft.com/office/drawing/2014/main" id="{EE1F4D41-AF07-4EDB-AAF2-B6E88B70CEC8}"/>
                </a:ext>
              </a:extLst>
            </p:cNvPr>
            <p:cNvSpPr/>
            <p:nvPr/>
          </p:nvSpPr>
          <p:spPr bwMode="auto">
            <a:xfrm>
              <a:off x="7867787" y="3222158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1 w 37"/>
                <a:gd name="T5" fmla="*/ 12 h 24"/>
                <a:gd name="T6" fmla="*/ 22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1" y="12"/>
                  </a:cubicBezTo>
                  <a:cubicBezTo>
                    <a:pt x="3" y="19"/>
                    <a:pt x="12" y="24"/>
                    <a:pt x="22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iṧḷiḋè">
              <a:extLst>
                <a:ext uri="{FF2B5EF4-FFF2-40B4-BE49-F238E27FC236}">
                  <a16:creationId xmlns:a16="http://schemas.microsoft.com/office/drawing/2014/main" id="{813D0B3F-0347-4BF8-9CE0-AFDE072A9C08}"/>
                </a:ext>
              </a:extLst>
            </p:cNvPr>
            <p:cNvSpPr/>
            <p:nvPr/>
          </p:nvSpPr>
          <p:spPr bwMode="auto">
            <a:xfrm>
              <a:off x="8017453" y="3222158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2 w 38"/>
                <a:gd name="T5" fmla="*/ 12 h 24"/>
                <a:gd name="T6" fmla="*/ 22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2" y="12"/>
                  </a:cubicBezTo>
                  <a:cubicBezTo>
                    <a:pt x="4" y="19"/>
                    <a:pt x="13" y="24"/>
                    <a:pt x="22" y="24"/>
                  </a:cubicBezTo>
                  <a:cubicBezTo>
                    <a:pt x="32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ïṣḻïḓé">
              <a:extLst>
                <a:ext uri="{FF2B5EF4-FFF2-40B4-BE49-F238E27FC236}">
                  <a16:creationId xmlns:a16="http://schemas.microsoft.com/office/drawing/2014/main" id="{5CD01B24-C263-4306-9537-FB6D704F5FD2}"/>
                </a:ext>
              </a:extLst>
            </p:cNvPr>
            <p:cNvSpPr/>
            <p:nvPr/>
          </p:nvSpPr>
          <p:spPr bwMode="auto">
            <a:xfrm>
              <a:off x="8619202" y="3222158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15 w 39"/>
                <a:gd name="T3" fmla="*/ 0 h 24"/>
                <a:gd name="T4" fmla="*/ 2 w 39"/>
                <a:gd name="T5" fmla="*/ 12 h 24"/>
                <a:gd name="T6" fmla="*/ 2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19"/>
                    <a:pt x="14" y="24"/>
                    <a:pt x="24" y="24"/>
                  </a:cubicBezTo>
                  <a:cubicBezTo>
                    <a:pt x="33" y="24"/>
                    <a:pt x="39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íṧ1ïḓê">
              <a:extLst>
                <a:ext uri="{FF2B5EF4-FFF2-40B4-BE49-F238E27FC236}">
                  <a16:creationId xmlns:a16="http://schemas.microsoft.com/office/drawing/2014/main" id="{7F7350EE-8F8C-4E46-BD5E-F6AA31847E4F}"/>
                </a:ext>
              </a:extLst>
            </p:cNvPr>
            <p:cNvSpPr/>
            <p:nvPr/>
          </p:nvSpPr>
          <p:spPr bwMode="auto">
            <a:xfrm>
              <a:off x="8768867" y="3222158"/>
              <a:ext cx="143495" cy="87948"/>
            </a:xfrm>
            <a:custGeom>
              <a:avLst/>
              <a:gdLst>
                <a:gd name="T0" fmla="*/ 37 w 39"/>
                <a:gd name="T1" fmla="*/ 12 h 24"/>
                <a:gd name="T2" fmla="*/ 15 w 39"/>
                <a:gd name="T3" fmla="*/ 0 h 24"/>
                <a:gd name="T4" fmla="*/ 3 w 39"/>
                <a:gd name="T5" fmla="*/ 12 h 24"/>
                <a:gd name="T6" fmla="*/ 24 w 39"/>
                <a:gd name="T7" fmla="*/ 24 h 24"/>
                <a:gd name="T8" fmla="*/ 37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4" y="24"/>
                    <a:pt x="39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íS1íḓé">
              <a:extLst>
                <a:ext uri="{FF2B5EF4-FFF2-40B4-BE49-F238E27FC236}">
                  <a16:creationId xmlns:a16="http://schemas.microsoft.com/office/drawing/2014/main" id="{5D71EEF9-987D-4A87-96AB-0B03C740C370}"/>
                </a:ext>
              </a:extLst>
            </p:cNvPr>
            <p:cNvSpPr/>
            <p:nvPr/>
          </p:nvSpPr>
          <p:spPr bwMode="auto">
            <a:xfrm>
              <a:off x="8918534" y="3222158"/>
              <a:ext cx="146580" cy="87948"/>
            </a:xfrm>
            <a:custGeom>
              <a:avLst/>
              <a:gdLst>
                <a:gd name="T0" fmla="*/ 37 w 40"/>
                <a:gd name="T1" fmla="*/ 12 h 24"/>
                <a:gd name="T2" fmla="*/ 15 w 40"/>
                <a:gd name="T3" fmla="*/ 0 h 24"/>
                <a:gd name="T4" fmla="*/ 3 w 40"/>
                <a:gd name="T5" fmla="*/ 12 h 24"/>
                <a:gd name="T6" fmla="*/ 25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3" y="12"/>
                  </a:cubicBezTo>
                  <a:cubicBezTo>
                    <a:pt x="6" y="19"/>
                    <a:pt x="16" y="24"/>
                    <a:pt x="25" y="24"/>
                  </a:cubicBezTo>
                  <a:cubicBezTo>
                    <a:pt x="35" y="24"/>
                    <a:pt x="40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îSlïḍê">
              <a:extLst>
                <a:ext uri="{FF2B5EF4-FFF2-40B4-BE49-F238E27FC236}">
                  <a16:creationId xmlns:a16="http://schemas.microsoft.com/office/drawing/2014/main" id="{CA1D9B02-3C4E-45F6-8C5B-B8117BD9D589}"/>
                </a:ext>
              </a:extLst>
            </p:cNvPr>
            <p:cNvSpPr/>
            <p:nvPr/>
          </p:nvSpPr>
          <p:spPr bwMode="auto">
            <a:xfrm>
              <a:off x="7897103" y="3331707"/>
              <a:ext cx="138865" cy="91034"/>
            </a:xfrm>
            <a:custGeom>
              <a:avLst/>
              <a:gdLst>
                <a:gd name="T0" fmla="*/ 36 w 38"/>
                <a:gd name="T1" fmla="*/ 12 h 25"/>
                <a:gd name="T2" fmla="*/ 15 w 38"/>
                <a:gd name="T3" fmla="*/ 0 h 25"/>
                <a:gd name="T4" fmla="*/ 1 w 38"/>
                <a:gd name="T5" fmla="*/ 12 h 25"/>
                <a:gd name="T6" fmla="*/ 22 w 38"/>
                <a:gd name="T7" fmla="*/ 25 h 25"/>
                <a:gd name="T8" fmla="*/ 36 w 38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5">
                  <a:moveTo>
                    <a:pt x="36" y="12"/>
                  </a:moveTo>
                  <a:cubicBezTo>
                    <a:pt x="34" y="5"/>
                    <a:pt x="25" y="0"/>
                    <a:pt x="15" y="0"/>
                  </a:cubicBezTo>
                  <a:cubicBezTo>
                    <a:pt x="6" y="0"/>
                    <a:pt x="0" y="5"/>
                    <a:pt x="1" y="12"/>
                  </a:cubicBezTo>
                  <a:cubicBezTo>
                    <a:pt x="3" y="19"/>
                    <a:pt x="12" y="25"/>
                    <a:pt x="22" y="25"/>
                  </a:cubicBezTo>
                  <a:cubicBezTo>
                    <a:pt x="32" y="25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ïSļíḋe">
              <a:extLst>
                <a:ext uri="{FF2B5EF4-FFF2-40B4-BE49-F238E27FC236}">
                  <a16:creationId xmlns:a16="http://schemas.microsoft.com/office/drawing/2014/main" id="{D0FE37EF-0DD5-46FC-8B6E-68AB4F68AAB8}"/>
                </a:ext>
              </a:extLst>
            </p:cNvPr>
            <p:cNvSpPr/>
            <p:nvPr/>
          </p:nvSpPr>
          <p:spPr bwMode="auto">
            <a:xfrm>
              <a:off x="8659319" y="3331707"/>
              <a:ext cx="143495" cy="91034"/>
            </a:xfrm>
            <a:custGeom>
              <a:avLst/>
              <a:gdLst>
                <a:gd name="T0" fmla="*/ 37 w 39"/>
                <a:gd name="T1" fmla="*/ 12 h 25"/>
                <a:gd name="T2" fmla="*/ 15 w 39"/>
                <a:gd name="T3" fmla="*/ 0 h 25"/>
                <a:gd name="T4" fmla="*/ 2 w 39"/>
                <a:gd name="T5" fmla="*/ 12 h 25"/>
                <a:gd name="T6" fmla="*/ 24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19"/>
                    <a:pt x="15" y="25"/>
                    <a:pt x="24" y="25"/>
                  </a:cubicBezTo>
                  <a:cubicBezTo>
                    <a:pt x="34" y="25"/>
                    <a:pt x="39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ïṣḻiďê">
              <a:extLst>
                <a:ext uri="{FF2B5EF4-FFF2-40B4-BE49-F238E27FC236}">
                  <a16:creationId xmlns:a16="http://schemas.microsoft.com/office/drawing/2014/main" id="{2A5467CA-FE94-48EC-9513-0B2DFD55F5B6}"/>
                </a:ext>
              </a:extLst>
            </p:cNvPr>
            <p:cNvSpPr/>
            <p:nvPr/>
          </p:nvSpPr>
          <p:spPr bwMode="auto">
            <a:xfrm>
              <a:off x="8856816" y="3445885"/>
              <a:ext cx="146580" cy="94120"/>
            </a:xfrm>
            <a:custGeom>
              <a:avLst/>
              <a:gdLst>
                <a:gd name="T0" fmla="*/ 37 w 40"/>
                <a:gd name="T1" fmla="*/ 12 h 26"/>
                <a:gd name="T2" fmla="*/ 15 w 40"/>
                <a:gd name="T3" fmla="*/ 0 h 26"/>
                <a:gd name="T4" fmla="*/ 2 w 40"/>
                <a:gd name="T5" fmla="*/ 12 h 26"/>
                <a:gd name="T6" fmla="*/ 25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20"/>
                    <a:pt x="15" y="26"/>
                    <a:pt x="25" y="26"/>
                  </a:cubicBezTo>
                  <a:cubicBezTo>
                    <a:pt x="34" y="26"/>
                    <a:pt x="40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îṥḻïďé">
              <a:extLst>
                <a:ext uri="{FF2B5EF4-FFF2-40B4-BE49-F238E27FC236}">
                  <a16:creationId xmlns:a16="http://schemas.microsoft.com/office/drawing/2014/main" id="{9677E42B-0D20-4FA7-AADC-AAD36A1F75DB}"/>
                </a:ext>
              </a:extLst>
            </p:cNvPr>
            <p:cNvSpPr/>
            <p:nvPr/>
          </p:nvSpPr>
          <p:spPr bwMode="auto">
            <a:xfrm>
              <a:off x="5905159" y="2714528"/>
              <a:ext cx="112636" cy="80233"/>
            </a:xfrm>
            <a:custGeom>
              <a:avLst/>
              <a:gdLst>
                <a:gd name="T0" fmla="*/ 31 w 31"/>
                <a:gd name="T1" fmla="*/ 11 h 22"/>
                <a:gd name="T2" fmla="*/ 15 w 31"/>
                <a:gd name="T3" fmla="*/ 0 h 22"/>
                <a:gd name="T4" fmla="*/ 0 w 31"/>
                <a:gd name="T5" fmla="*/ 11 h 22"/>
                <a:gd name="T6" fmla="*/ 16 w 31"/>
                <a:gd name="T7" fmla="*/ 22 h 22"/>
                <a:gd name="T8" fmla="*/ 31 w 31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2">
                  <a:moveTo>
                    <a:pt x="31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4" y="22"/>
                    <a:pt x="31" y="17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iślïďé">
              <a:extLst>
                <a:ext uri="{FF2B5EF4-FFF2-40B4-BE49-F238E27FC236}">
                  <a16:creationId xmlns:a16="http://schemas.microsoft.com/office/drawing/2014/main" id="{A3778D08-30FB-458E-953F-78E52D56016F}"/>
                </a:ext>
              </a:extLst>
            </p:cNvPr>
            <p:cNvSpPr/>
            <p:nvPr/>
          </p:nvSpPr>
          <p:spPr bwMode="auto">
            <a:xfrm>
              <a:off x="6044024" y="2714528"/>
              <a:ext cx="115721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7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îṧ1iḑè">
              <a:extLst>
                <a:ext uri="{FF2B5EF4-FFF2-40B4-BE49-F238E27FC236}">
                  <a16:creationId xmlns:a16="http://schemas.microsoft.com/office/drawing/2014/main" id="{74854EF2-18F9-432A-B8F1-776787178802}"/>
                </a:ext>
              </a:extLst>
            </p:cNvPr>
            <p:cNvSpPr/>
            <p:nvPr/>
          </p:nvSpPr>
          <p:spPr bwMode="auto">
            <a:xfrm>
              <a:off x="6185975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5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8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işlidé">
              <a:extLst>
                <a:ext uri="{FF2B5EF4-FFF2-40B4-BE49-F238E27FC236}">
                  <a16:creationId xmlns:a16="http://schemas.microsoft.com/office/drawing/2014/main" id="{FA24D098-96D7-4B9A-9C13-54AC848FBD63}"/>
                </a:ext>
              </a:extLst>
            </p:cNvPr>
            <p:cNvSpPr/>
            <p:nvPr/>
          </p:nvSpPr>
          <p:spPr bwMode="auto">
            <a:xfrm>
              <a:off x="6324840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7"/>
                    <a:pt x="9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i$ľïďe">
              <a:extLst>
                <a:ext uri="{FF2B5EF4-FFF2-40B4-BE49-F238E27FC236}">
                  <a16:creationId xmlns:a16="http://schemas.microsoft.com/office/drawing/2014/main" id="{E9064C8B-16BA-453E-8009-45126600C1C7}"/>
                </a:ext>
              </a:extLst>
            </p:cNvPr>
            <p:cNvSpPr/>
            <p:nvPr/>
          </p:nvSpPr>
          <p:spPr bwMode="auto">
            <a:xfrm>
              <a:off x="7087056" y="4063064"/>
              <a:ext cx="146580" cy="109550"/>
            </a:xfrm>
            <a:custGeom>
              <a:avLst/>
              <a:gdLst>
                <a:gd name="T0" fmla="*/ 39 w 40"/>
                <a:gd name="T1" fmla="*/ 15 h 30"/>
                <a:gd name="T2" fmla="*/ 18 w 40"/>
                <a:gd name="T3" fmla="*/ 0 h 30"/>
                <a:gd name="T4" fmla="*/ 1 w 40"/>
                <a:gd name="T5" fmla="*/ 15 h 30"/>
                <a:gd name="T6" fmla="*/ 22 w 40"/>
                <a:gd name="T7" fmla="*/ 30 h 30"/>
                <a:gd name="T8" fmla="*/ 39 w 4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39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7" y="0"/>
                    <a:pt x="0" y="6"/>
                    <a:pt x="1" y="15"/>
                  </a:cubicBezTo>
                  <a:cubicBezTo>
                    <a:pt x="2" y="23"/>
                    <a:pt x="12" y="30"/>
                    <a:pt x="22" y="30"/>
                  </a:cubicBezTo>
                  <a:cubicBezTo>
                    <a:pt x="33" y="30"/>
                    <a:pt x="40" y="23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ïśliḓe">
              <a:extLst>
                <a:ext uri="{FF2B5EF4-FFF2-40B4-BE49-F238E27FC236}">
                  <a16:creationId xmlns:a16="http://schemas.microsoft.com/office/drawing/2014/main" id="{D63FE1C5-C2EA-464A-A5C7-F5369D4BC506}"/>
                </a:ext>
              </a:extLst>
            </p:cNvPr>
            <p:cNvSpPr/>
            <p:nvPr/>
          </p:nvSpPr>
          <p:spPr bwMode="auto">
            <a:xfrm>
              <a:off x="6937390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8 w 40"/>
                <a:gd name="T3" fmla="*/ 0 h 31"/>
                <a:gd name="T4" fmla="*/ 1 w 40"/>
                <a:gd name="T5" fmla="*/ 15 h 31"/>
                <a:gd name="T6" fmla="*/ 22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8" y="0"/>
                    <a:pt x="18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2" y="24"/>
                    <a:pt x="12" y="31"/>
                    <a:pt x="22" y="31"/>
                  </a:cubicBezTo>
                  <a:cubicBezTo>
                    <a:pt x="33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îṣ1íḓe">
              <a:extLst>
                <a:ext uri="{FF2B5EF4-FFF2-40B4-BE49-F238E27FC236}">
                  <a16:creationId xmlns:a16="http://schemas.microsoft.com/office/drawing/2014/main" id="{A5468B22-9580-4E70-8930-AF5A5BBDC4E4}"/>
                </a:ext>
              </a:extLst>
            </p:cNvPr>
            <p:cNvSpPr/>
            <p:nvPr/>
          </p:nvSpPr>
          <p:spPr bwMode="auto">
            <a:xfrm>
              <a:off x="7105571" y="4198843"/>
              <a:ext cx="149666" cy="112636"/>
            </a:xfrm>
            <a:custGeom>
              <a:avLst/>
              <a:gdLst>
                <a:gd name="T0" fmla="*/ 40 w 41"/>
                <a:gd name="T1" fmla="*/ 15 h 31"/>
                <a:gd name="T2" fmla="*/ 18 w 41"/>
                <a:gd name="T3" fmla="*/ 0 h 31"/>
                <a:gd name="T4" fmla="*/ 2 w 41"/>
                <a:gd name="T5" fmla="*/ 15 h 31"/>
                <a:gd name="T6" fmla="*/ 23 w 41"/>
                <a:gd name="T7" fmla="*/ 31 h 31"/>
                <a:gd name="T8" fmla="*/ 40 w 41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1">
                  <a:moveTo>
                    <a:pt x="40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2" y="15"/>
                  </a:cubicBezTo>
                  <a:cubicBezTo>
                    <a:pt x="3" y="24"/>
                    <a:pt x="13" y="31"/>
                    <a:pt x="23" y="31"/>
                  </a:cubicBezTo>
                  <a:cubicBezTo>
                    <a:pt x="34" y="31"/>
                    <a:pt x="41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íş1iḓè">
              <a:extLst>
                <a:ext uri="{FF2B5EF4-FFF2-40B4-BE49-F238E27FC236}">
                  <a16:creationId xmlns:a16="http://schemas.microsoft.com/office/drawing/2014/main" id="{E595EA60-3A23-4CA6-AAE0-A4F809DAFD82}"/>
                </a:ext>
              </a:extLst>
            </p:cNvPr>
            <p:cNvSpPr/>
            <p:nvPr/>
          </p:nvSpPr>
          <p:spPr bwMode="auto">
            <a:xfrm>
              <a:off x="6955906" y="4337708"/>
              <a:ext cx="149666" cy="115721"/>
            </a:xfrm>
            <a:custGeom>
              <a:avLst/>
              <a:gdLst>
                <a:gd name="T0" fmla="*/ 40 w 41"/>
                <a:gd name="T1" fmla="*/ 16 h 32"/>
                <a:gd name="T2" fmla="*/ 18 w 41"/>
                <a:gd name="T3" fmla="*/ 0 h 32"/>
                <a:gd name="T4" fmla="*/ 1 w 41"/>
                <a:gd name="T5" fmla="*/ 16 h 32"/>
                <a:gd name="T6" fmla="*/ 23 w 41"/>
                <a:gd name="T7" fmla="*/ 32 h 32"/>
                <a:gd name="T8" fmla="*/ 40 w 41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2">
                  <a:moveTo>
                    <a:pt x="40" y="16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1" y="16"/>
                  </a:cubicBezTo>
                  <a:cubicBezTo>
                    <a:pt x="2" y="25"/>
                    <a:pt x="12" y="32"/>
                    <a:pt x="23" y="32"/>
                  </a:cubicBezTo>
                  <a:cubicBezTo>
                    <a:pt x="33" y="32"/>
                    <a:pt x="41" y="25"/>
                    <a:pt x="40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iŝ1îdê">
              <a:extLst>
                <a:ext uri="{FF2B5EF4-FFF2-40B4-BE49-F238E27FC236}">
                  <a16:creationId xmlns:a16="http://schemas.microsoft.com/office/drawing/2014/main" id="{999EF987-FA4A-47D8-9751-2729A08407E3}"/>
                </a:ext>
              </a:extLst>
            </p:cNvPr>
            <p:cNvSpPr/>
            <p:nvPr/>
          </p:nvSpPr>
          <p:spPr bwMode="auto">
            <a:xfrm>
              <a:off x="6963620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16 w 36"/>
                <a:gd name="T3" fmla="*/ 0 h 24"/>
                <a:gd name="T4" fmla="*/ 1 w 36"/>
                <a:gd name="T5" fmla="*/ 12 h 24"/>
                <a:gd name="T6" fmla="*/ 20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4" y="5"/>
                    <a:pt x="25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0" y="24"/>
                    <a:pt x="20" y="24"/>
                  </a:cubicBezTo>
                  <a:cubicBezTo>
                    <a:pt x="29" y="24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îṡļíďé">
              <a:extLst>
                <a:ext uri="{FF2B5EF4-FFF2-40B4-BE49-F238E27FC236}">
                  <a16:creationId xmlns:a16="http://schemas.microsoft.com/office/drawing/2014/main" id="{32917311-AC43-4691-B514-DFDE6F5B44F1}"/>
                </a:ext>
              </a:extLst>
            </p:cNvPr>
            <p:cNvSpPr/>
            <p:nvPr/>
          </p:nvSpPr>
          <p:spPr bwMode="auto">
            <a:xfrm>
              <a:off x="5343526" y="2623495"/>
              <a:ext cx="115721" cy="72519"/>
            </a:xfrm>
            <a:custGeom>
              <a:avLst/>
              <a:gdLst>
                <a:gd name="T0" fmla="*/ 32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6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2" y="4"/>
                    <a:pt x="26" y="0"/>
                    <a:pt x="17" y="0"/>
                  </a:cubicBezTo>
                  <a:cubicBezTo>
                    <a:pt x="8" y="0"/>
                    <a:pt x="1" y="4"/>
                    <a:pt x="1" y="10"/>
                  </a:cubicBezTo>
                  <a:cubicBezTo>
                    <a:pt x="0" y="16"/>
                    <a:pt x="7" y="20"/>
                    <a:pt x="16" y="20"/>
                  </a:cubicBezTo>
                  <a:cubicBezTo>
                    <a:pt x="24" y="20"/>
                    <a:pt x="32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i$ľidé">
              <a:extLst>
                <a:ext uri="{FF2B5EF4-FFF2-40B4-BE49-F238E27FC236}">
                  <a16:creationId xmlns:a16="http://schemas.microsoft.com/office/drawing/2014/main" id="{2FADA72C-26B8-409E-8B35-8E8F31B86473}"/>
                </a:ext>
              </a:extLst>
            </p:cNvPr>
            <p:cNvSpPr/>
            <p:nvPr/>
          </p:nvSpPr>
          <p:spPr bwMode="auto">
            <a:xfrm>
              <a:off x="5485477" y="2623495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íś1ïḍê">
              <a:extLst>
                <a:ext uri="{FF2B5EF4-FFF2-40B4-BE49-F238E27FC236}">
                  <a16:creationId xmlns:a16="http://schemas.microsoft.com/office/drawing/2014/main" id="{D3FB971B-E107-4122-B0D4-19C9E5AC8976}"/>
                </a:ext>
              </a:extLst>
            </p:cNvPr>
            <p:cNvSpPr/>
            <p:nvPr/>
          </p:nvSpPr>
          <p:spPr bwMode="auto">
            <a:xfrm>
              <a:off x="5624342" y="2623495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iŝliḑe">
              <a:extLst>
                <a:ext uri="{FF2B5EF4-FFF2-40B4-BE49-F238E27FC236}">
                  <a16:creationId xmlns:a16="http://schemas.microsoft.com/office/drawing/2014/main" id="{F213FFB1-F03C-4C1E-A4FD-F71789E3B5D0}"/>
                </a:ext>
              </a:extLst>
            </p:cNvPr>
            <p:cNvSpPr/>
            <p:nvPr/>
          </p:nvSpPr>
          <p:spPr bwMode="auto">
            <a:xfrm>
              <a:off x="5196947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7 w 32"/>
                <a:gd name="T3" fmla="*/ 0 h 22"/>
                <a:gd name="T4" fmla="*/ 0 w 32"/>
                <a:gd name="T5" fmla="*/ 11 h 22"/>
                <a:gd name="T6" fmla="*/ 15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6" y="22"/>
                    <a:pt x="15" y="22"/>
                  </a:cubicBezTo>
                  <a:cubicBezTo>
                    <a:pt x="24" y="22"/>
                    <a:pt x="31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îşľiďè">
              <a:extLst>
                <a:ext uri="{FF2B5EF4-FFF2-40B4-BE49-F238E27FC236}">
                  <a16:creationId xmlns:a16="http://schemas.microsoft.com/office/drawing/2014/main" id="{B4A34274-ABEB-47A2-9266-16CB6D253D02}"/>
                </a:ext>
              </a:extLst>
            </p:cNvPr>
            <p:cNvSpPr/>
            <p:nvPr/>
          </p:nvSpPr>
          <p:spPr bwMode="auto">
            <a:xfrm>
              <a:off x="5338898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5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7"/>
                    <a:pt x="6" y="22"/>
                    <a:pt x="15" y="22"/>
                  </a:cubicBezTo>
                  <a:cubicBezTo>
                    <a:pt x="24" y="22"/>
                    <a:pt x="31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iṡlíḑè">
              <a:extLst>
                <a:ext uri="{FF2B5EF4-FFF2-40B4-BE49-F238E27FC236}">
                  <a16:creationId xmlns:a16="http://schemas.microsoft.com/office/drawing/2014/main" id="{6D92BC48-AAA5-4C8D-8FD7-9B786F1736A6}"/>
                </a:ext>
              </a:extLst>
            </p:cNvPr>
            <p:cNvSpPr/>
            <p:nvPr/>
          </p:nvSpPr>
          <p:spPr bwMode="auto">
            <a:xfrm>
              <a:off x="5477763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7 w 32"/>
                <a:gd name="T3" fmla="*/ 0 h 22"/>
                <a:gd name="T4" fmla="*/ 1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îṡḷíḋé">
              <a:extLst>
                <a:ext uri="{FF2B5EF4-FFF2-40B4-BE49-F238E27FC236}">
                  <a16:creationId xmlns:a16="http://schemas.microsoft.com/office/drawing/2014/main" id="{7091A2D2-FF6C-417B-BFAE-83AF849D7460}"/>
                </a:ext>
              </a:extLst>
            </p:cNvPr>
            <p:cNvSpPr/>
            <p:nvPr/>
          </p:nvSpPr>
          <p:spPr bwMode="auto">
            <a:xfrm>
              <a:off x="5619714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îśḻíḓè">
              <a:extLst>
                <a:ext uri="{FF2B5EF4-FFF2-40B4-BE49-F238E27FC236}">
                  <a16:creationId xmlns:a16="http://schemas.microsoft.com/office/drawing/2014/main" id="{CB99E5A8-4631-4989-9764-315557166987}"/>
                </a:ext>
              </a:extLst>
            </p:cNvPr>
            <p:cNvSpPr/>
            <p:nvPr/>
          </p:nvSpPr>
          <p:spPr bwMode="auto">
            <a:xfrm>
              <a:off x="5763207" y="2714528"/>
              <a:ext cx="115721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ísliḋè">
              <a:extLst>
                <a:ext uri="{FF2B5EF4-FFF2-40B4-BE49-F238E27FC236}">
                  <a16:creationId xmlns:a16="http://schemas.microsoft.com/office/drawing/2014/main" id="{A0AD5606-8D0D-42F1-AD94-FBF5BBDB2F70}"/>
                </a:ext>
              </a:extLst>
            </p:cNvPr>
            <p:cNvSpPr/>
            <p:nvPr/>
          </p:nvSpPr>
          <p:spPr bwMode="auto">
            <a:xfrm>
              <a:off x="5044194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8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îṩḷíḓê">
              <a:extLst>
                <a:ext uri="{FF2B5EF4-FFF2-40B4-BE49-F238E27FC236}">
                  <a16:creationId xmlns:a16="http://schemas.microsoft.com/office/drawing/2014/main" id="{DE65FDD4-9BCC-4553-A9C8-AED8F03712A0}"/>
                </a:ext>
              </a:extLst>
            </p:cNvPr>
            <p:cNvSpPr/>
            <p:nvPr/>
          </p:nvSpPr>
          <p:spPr bwMode="auto">
            <a:xfrm>
              <a:off x="5186145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8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í$lidé">
              <a:extLst>
                <a:ext uri="{FF2B5EF4-FFF2-40B4-BE49-F238E27FC236}">
                  <a16:creationId xmlns:a16="http://schemas.microsoft.com/office/drawing/2014/main" id="{41480D2C-80BB-4E40-8D96-18768887AE42}"/>
                </a:ext>
              </a:extLst>
            </p:cNvPr>
            <p:cNvSpPr/>
            <p:nvPr/>
          </p:nvSpPr>
          <p:spPr bwMode="auto">
            <a:xfrm>
              <a:off x="5332726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7 w 33"/>
                <a:gd name="T3" fmla="*/ 0 h 22"/>
                <a:gd name="T4" fmla="*/ 0 w 33"/>
                <a:gd name="T5" fmla="*/ 11 h 22"/>
                <a:gd name="T6" fmla="*/ 16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4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íSļîḋe">
              <a:extLst>
                <a:ext uri="{FF2B5EF4-FFF2-40B4-BE49-F238E27FC236}">
                  <a16:creationId xmlns:a16="http://schemas.microsoft.com/office/drawing/2014/main" id="{902750FF-2A6C-406D-8627-5B52E6016210}"/>
                </a:ext>
              </a:extLst>
            </p:cNvPr>
            <p:cNvSpPr/>
            <p:nvPr/>
          </p:nvSpPr>
          <p:spPr bwMode="auto">
            <a:xfrm>
              <a:off x="5474677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7 w 33"/>
                <a:gd name="T3" fmla="*/ 0 h 22"/>
                <a:gd name="T4" fmla="*/ 0 w 33"/>
                <a:gd name="T5" fmla="*/ 11 h 22"/>
                <a:gd name="T6" fmla="*/ 16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1" name="išľîḍè">
              <a:extLst>
                <a:ext uri="{FF2B5EF4-FFF2-40B4-BE49-F238E27FC236}">
                  <a16:creationId xmlns:a16="http://schemas.microsoft.com/office/drawing/2014/main" id="{05940352-9A80-4038-8019-0AEDBAFF65AD}"/>
                </a:ext>
              </a:extLst>
            </p:cNvPr>
            <p:cNvSpPr/>
            <p:nvPr/>
          </p:nvSpPr>
          <p:spPr bwMode="auto">
            <a:xfrm>
              <a:off x="5616628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7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2" name="iSlïḓê">
              <a:extLst>
                <a:ext uri="{FF2B5EF4-FFF2-40B4-BE49-F238E27FC236}">
                  <a16:creationId xmlns:a16="http://schemas.microsoft.com/office/drawing/2014/main" id="{FED519E3-F629-40D6-9D5B-2BEABDD76E5E}"/>
                </a:ext>
              </a:extLst>
            </p:cNvPr>
            <p:cNvSpPr/>
            <p:nvPr/>
          </p:nvSpPr>
          <p:spPr bwMode="auto">
            <a:xfrm>
              <a:off x="5763207" y="2810191"/>
              <a:ext cx="115721" cy="802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3" name="iş1ïḓe">
              <a:extLst>
                <a:ext uri="{FF2B5EF4-FFF2-40B4-BE49-F238E27FC236}">
                  <a16:creationId xmlns:a16="http://schemas.microsoft.com/office/drawing/2014/main" id="{D235B87A-091A-460C-A275-8FCE3C8FB99E}"/>
                </a:ext>
              </a:extLst>
            </p:cNvPr>
            <p:cNvSpPr/>
            <p:nvPr/>
          </p:nvSpPr>
          <p:spPr bwMode="auto">
            <a:xfrm>
              <a:off x="5905159" y="2810191"/>
              <a:ext cx="115721" cy="802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4" name="î$ļïdê">
              <a:extLst>
                <a:ext uri="{FF2B5EF4-FFF2-40B4-BE49-F238E27FC236}">
                  <a16:creationId xmlns:a16="http://schemas.microsoft.com/office/drawing/2014/main" id="{6CC676E0-E45F-4863-9841-D1A480CF1A17}"/>
                </a:ext>
              </a:extLst>
            </p:cNvPr>
            <p:cNvSpPr/>
            <p:nvPr/>
          </p:nvSpPr>
          <p:spPr bwMode="auto">
            <a:xfrm>
              <a:off x="6047110" y="2810191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7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8" y="22"/>
                    <a:pt x="17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5" name="íṣlidé">
              <a:extLst>
                <a:ext uri="{FF2B5EF4-FFF2-40B4-BE49-F238E27FC236}">
                  <a16:creationId xmlns:a16="http://schemas.microsoft.com/office/drawing/2014/main" id="{04FF8105-87DF-4450-B7F5-D0D736CE1263}"/>
                </a:ext>
              </a:extLst>
            </p:cNvPr>
            <p:cNvSpPr/>
            <p:nvPr/>
          </p:nvSpPr>
          <p:spPr bwMode="auto">
            <a:xfrm>
              <a:off x="6189061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6" name="ïŝḻiďè">
              <a:extLst>
                <a:ext uri="{FF2B5EF4-FFF2-40B4-BE49-F238E27FC236}">
                  <a16:creationId xmlns:a16="http://schemas.microsoft.com/office/drawing/2014/main" id="{C3025244-C952-4FCC-848B-9FCF2360E288}"/>
                </a:ext>
              </a:extLst>
            </p:cNvPr>
            <p:cNvSpPr/>
            <p:nvPr/>
          </p:nvSpPr>
          <p:spPr bwMode="auto">
            <a:xfrm>
              <a:off x="6332555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7" name="ïş1íḋê">
              <a:extLst>
                <a:ext uri="{FF2B5EF4-FFF2-40B4-BE49-F238E27FC236}">
                  <a16:creationId xmlns:a16="http://schemas.microsoft.com/office/drawing/2014/main" id="{69469375-05D0-46A1-B703-78BF400711E1}"/>
                </a:ext>
              </a:extLst>
            </p:cNvPr>
            <p:cNvSpPr/>
            <p:nvPr/>
          </p:nvSpPr>
          <p:spPr bwMode="auto">
            <a:xfrm>
              <a:off x="6474506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7"/>
                    <a:pt x="9" y="22"/>
                    <a:pt x="18" y="22"/>
                  </a:cubicBezTo>
                  <a:cubicBezTo>
                    <a:pt x="27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8" name="îśļîde">
              <a:extLst>
                <a:ext uri="{FF2B5EF4-FFF2-40B4-BE49-F238E27FC236}">
                  <a16:creationId xmlns:a16="http://schemas.microsoft.com/office/drawing/2014/main" id="{4AD04C6E-57F6-4EB9-BB4D-07C9EEBC13A3}"/>
                </a:ext>
              </a:extLst>
            </p:cNvPr>
            <p:cNvSpPr/>
            <p:nvPr/>
          </p:nvSpPr>
          <p:spPr bwMode="auto">
            <a:xfrm>
              <a:off x="4886814" y="2907397"/>
              <a:ext cx="123436" cy="84863"/>
            </a:xfrm>
            <a:custGeom>
              <a:avLst/>
              <a:gdLst>
                <a:gd name="T0" fmla="*/ 34 w 34"/>
                <a:gd name="T1" fmla="*/ 11 h 23"/>
                <a:gd name="T2" fmla="*/ 19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9" y="0"/>
                  </a:cubicBezTo>
                  <a:cubicBezTo>
                    <a:pt x="10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9" name="îṥľíďe">
              <a:extLst>
                <a:ext uri="{FF2B5EF4-FFF2-40B4-BE49-F238E27FC236}">
                  <a16:creationId xmlns:a16="http://schemas.microsoft.com/office/drawing/2014/main" id="{6D277105-7FA5-42BD-B2A7-D70F9B6B6387}"/>
                </a:ext>
              </a:extLst>
            </p:cNvPr>
            <p:cNvSpPr/>
            <p:nvPr/>
          </p:nvSpPr>
          <p:spPr bwMode="auto">
            <a:xfrm>
              <a:off x="5033394" y="2907397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0" name="í$ḷíḍê">
              <a:extLst>
                <a:ext uri="{FF2B5EF4-FFF2-40B4-BE49-F238E27FC236}">
                  <a16:creationId xmlns:a16="http://schemas.microsoft.com/office/drawing/2014/main" id="{C19B646F-B520-4700-9BA5-C0E016A0DEB9}"/>
                </a:ext>
              </a:extLst>
            </p:cNvPr>
            <p:cNvSpPr/>
            <p:nvPr/>
          </p:nvSpPr>
          <p:spPr bwMode="auto">
            <a:xfrm>
              <a:off x="5178431" y="2907397"/>
              <a:ext cx="124979" cy="84863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1" name="işḻîdê">
              <a:extLst>
                <a:ext uri="{FF2B5EF4-FFF2-40B4-BE49-F238E27FC236}">
                  <a16:creationId xmlns:a16="http://schemas.microsoft.com/office/drawing/2014/main" id="{D7A54A7C-7FC1-44BC-9B0F-026C88C469A7}"/>
                </a:ext>
              </a:extLst>
            </p:cNvPr>
            <p:cNvSpPr/>
            <p:nvPr/>
          </p:nvSpPr>
          <p:spPr bwMode="auto">
            <a:xfrm>
              <a:off x="5325011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2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2" name="ïş1îďê">
              <a:extLst>
                <a:ext uri="{FF2B5EF4-FFF2-40B4-BE49-F238E27FC236}">
                  <a16:creationId xmlns:a16="http://schemas.microsoft.com/office/drawing/2014/main" id="{08D9FB46-80F9-47B6-BAB6-2431BC47F836}"/>
                </a:ext>
              </a:extLst>
            </p:cNvPr>
            <p:cNvSpPr/>
            <p:nvPr/>
          </p:nvSpPr>
          <p:spPr bwMode="auto">
            <a:xfrm>
              <a:off x="5470048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2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3" name="iśḻïḋê">
              <a:extLst>
                <a:ext uri="{FF2B5EF4-FFF2-40B4-BE49-F238E27FC236}">
                  <a16:creationId xmlns:a16="http://schemas.microsoft.com/office/drawing/2014/main" id="{1F3510D0-8B48-417D-B744-D873600ED6C5}"/>
                </a:ext>
              </a:extLst>
            </p:cNvPr>
            <p:cNvSpPr/>
            <p:nvPr/>
          </p:nvSpPr>
          <p:spPr bwMode="auto">
            <a:xfrm>
              <a:off x="5616628" y="2907397"/>
              <a:ext cx="117264" cy="8486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4" name="íŝļiḓè">
              <a:extLst>
                <a:ext uri="{FF2B5EF4-FFF2-40B4-BE49-F238E27FC236}">
                  <a16:creationId xmlns:a16="http://schemas.microsoft.com/office/drawing/2014/main" id="{7762FDCC-7934-4FEE-881E-ED24F33EDC62}"/>
                </a:ext>
              </a:extLst>
            </p:cNvPr>
            <p:cNvSpPr/>
            <p:nvPr/>
          </p:nvSpPr>
          <p:spPr bwMode="auto">
            <a:xfrm>
              <a:off x="5758579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1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5" name="íṡḷïḑé">
              <a:extLst>
                <a:ext uri="{FF2B5EF4-FFF2-40B4-BE49-F238E27FC236}">
                  <a16:creationId xmlns:a16="http://schemas.microsoft.com/office/drawing/2014/main" id="{2F6C0751-FFA8-43B4-85D6-CFF5D7E77688}"/>
                </a:ext>
              </a:extLst>
            </p:cNvPr>
            <p:cNvSpPr/>
            <p:nvPr/>
          </p:nvSpPr>
          <p:spPr bwMode="auto">
            <a:xfrm>
              <a:off x="5905159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îṡľiḋè">
              <a:extLst>
                <a:ext uri="{FF2B5EF4-FFF2-40B4-BE49-F238E27FC236}">
                  <a16:creationId xmlns:a16="http://schemas.microsoft.com/office/drawing/2014/main" id="{5AD551E7-4532-4B78-8729-34CBC8FB853F}"/>
                </a:ext>
              </a:extLst>
            </p:cNvPr>
            <p:cNvSpPr/>
            <p:nvPr/>
          </p:nvSpPr>
          <p:spPr bwMode="auto">
            <a:xfrm>
              <a:off x="6050195" y="2907397"/>
              <a:ext cx="120350" cy="84863"/>
            </a:xfrm>
            <a:custGeom>
              <a:avLst/>
              <a:gdLst>
                <a:gd name="T0" fmla="*/ 32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2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ï$lîḑe">
              <a:extLst>
                <a:ext uri="{FF2B5EF4-FFF2-40B4-BE49-F238E27FC236}">
                  <a16:creationId xmlns:a16="http://schemas.microsoft.com/office/drawing/2014/main" id="{EACE487F-1B19-487C-80A0-1E6E5DA8857F}"/>
                </a:ext>
              </a:extLst>
            </p:cNvPr>
            <p:cNvSpPr/>
            <p:nvPr/>
          </p:nvSpPr>
          <p:spPr bwMode="auto">
            <a:xfrm>
              <a:off x="6193690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1 w 33"/>
                <a:gd name="T5" fmla="*/ 11 h 23"/>
                <a:gd name="T6" fmla="*/ 18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şļîḍé">
              <a:extLst>
                <a:ext uri="{FF2B5EF4-FFF2-40B4-BE49-F238E27FC236}">
                  <a16:creationId xmlns:a16="http://schemas.microsoft.com/office/drawing/2014/main" id="{84BBEB09-9AC6-440C-9296-C30CD1BB9491}"/>
                </a:ext>
              </a:extLst>
            </p:cNvPr>
            <p:cNvSpPr/>
            <p:nvPr/>
          </p:nvSpPr>
          <p:spPr bwMode="auto">
            <a:xfrm>
              <a:off x="6338727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iṣ1ïdé">
              <a:extLst>
                <a:ext uri="{FF2B5EF4-FFF2-40B4-BE49-F238E27FC236}">
                  <a16:creationId xmlns:a16="http://schemas.microsoft.com/office/drawing/2014/main" id="{E935F030-383A-49BE-AEF9-13D01B4E6411}"/>
                </a:ext>
              </a:extLst>
            </p:cNvPr>
            <p:cNvSpPr/>
            <p:nvPr/>
          </p:nvSpPr>
          <p:spPr bwMode="auto">
            <a:xfrm>
              <a:off x="6485306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5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şlíḋê">
              <a:extLst>
                <a:ext uri="{FF2B5EF4-FFF2-40B4-BE49-F238E27FC236}">
                  <a16:creationId xmlns:a16="http://schemas.microsoft.com/office/drawing/2014/main" id="{1088BFD5-33E8-4116-B276-60478F084AFE}"/>
                </a:ext>
              </a:extLst>
            </p:cNvPr>
            <p:cNvSpPr/>
            <p:nvPr/>
          </p:nvSpPr>
          <p:spPr bwMode="auto">
            <a:xfrm>
              <a:off x="4876014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iSľíďé">
              <a:extLst>
                <a:ext uri="{FF2B5EF4-FFF2-40B4-BE49-F238E27FC236}">
                  <a16:creationId xmlns:a16="http://schemas.microsoft.com/office/drawing/2014/main" id="{CBF3875E-0BCA-4356-BCE0-17CABAF77670}"/>
                </a:ext>
              </a:extLst>
            </p:cNvPr>
            <p:cNvSpPr/>
            <p:nvPr/>
          </p:nvSpPr>
          <p:spPr bwMode="auto">
            <a:xfrm>
              <a:off x="5022593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9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9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íš1îdê">
              <a:extLst>
                <a:ext uri="{FF2B5EF4-FFF2-40B4-BE49-F238E27FC236}">
                  <a16:creationId xmlns:a16="http://schemas.microsoft.com/office/drawing/2014/main" id="{050C24DC-ABF9-404E-91DD-3B034E08FBC5}"/>
                </a:ext>
              </a:extLst>
            </p:cNvPr>
            <p:cNvSpPr/>
            <p:nvPr/>
          </p:nvSpPr>
          <p:spPr bwMode="auto">
            <a:xfrm>
              <a:off x="5170716" y="3010774"/>
              <a:ext cx="124979" cy="83319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0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îš1ídé">
              <a:extLst>
                <a:ext uri="{FF2B5EF4-FFF2-40B4-BE49-F238E27FC236}">
                  <a16:creationId xmlns:a16="http://schemas.microsoft.com/office/drawing/2014/main" id="{773D16C0-ED7A-4CBD-9E49-86554BB86831}"/>
                </a:ext>
              </a:extLst>
            </p:cNvPr>
            <p:cNvSpPr/>
            <p:nvPr/>
          </p:nvSpPr>
          <p:spPr bwMode="auto">
            <a:xfrm>
              <a:off x="5317296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0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ïŝḻiḓê">
              <a:extLst>
                <a:ext uri="{FF2B5EF4-FFF2-40B4-BE49-F238E27FC236}">
                  <a16:creationId xmlns:a16="http://schemas.microsoft.com/office/drawing/2014/main" id="{71A748DE-F95D-451A-9399-F6F32DC321D2}"/>
                </a:ext>
              </a:extLst>
            </p:cNvPr>
            <p:cNvSpPr/>
            <p:nvPr/>
          </p:nvSpPr>
          <p:spPr bwMode="auto">
            <a:xfrm>
              <a:off x="5463876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7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îṧľïdè">
              <a:extLst>
                <a:ext uri="{FF2B5EF4-FFF2-40B4-BE49-F238E27FC236}">
                  <a16:creationId xmlns:a16="http://schemas.microsoft.com/office/drawing/2014/main" id="{4F6017C3-893B-4CBC-BC84-9123F3A1A1B3}"/>
                </a:ext>
              </a:extLst>
            </p:cNvPr>
            <p:cNvSpPr/>
            <p:nvPr/>
          </p:nvSpPr>
          <p:spPr bwMode="auto">
            <a:xfrm>
              <a:off x="5613542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iṡḻíḍé">
              <a:extLst>
                <a:ext uri="{FF2B5EF4-FFF2-40B4-BE49-F238E27FC236}">
                  <a16:creationId xmlns:a16="http://schemas.microsoft.com/office/drawing/2014/main" id="{77E1241F-DB7E-4ED3-844B-BFAC951C777F}"/>
                </a:ext>
              </a:extLst>
            </p:cNvPr>
            <p:cNvSpPr/>
            <p:nvPr/>
          </p:nvSpPr>
          <p:spPr bwMode="auto">
            <a:xfrm>
              <a:off x="5758579" y="3010774"/>
              <a:ext cx="120350" cy="83319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ŝ1iḍè">
              <a:extLst>
                <a:ext uri="{FF2B5EF4-FFF2-40B4-BE49-F238E27FC236}">
                  <a16:creationId xmlns:a16="http://schemas.microsoft.com/office/drawing/2014/main" id="{99CE1EA2-EA3C-4E25-A52A-849B0DA96CE9}"/>
                </a:ext>
              </a:extLst>
            </p:cNvPr>
            <p:cNvSpPr/>
            <p:nvPr/>
          </p:nvSpPr>
          <p:spPr bwMode="auto">
            <a:xfrm>
              <a:off x="5905159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7 w 34"/>
                <a:gd name="T3" fmla="*/ 0 h 23"/>
                <a:gd name="T4" fmla="*/ 1 w 34"/>
                <a:gd name="T5" fmla="*/ 11 h 23"/>
                <a:gd name="T6" fmla="*/ 17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1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îṩļiḍe">
              <a:extLst>
                <a:ext uri="{FF2B5EF4-FFF2-40B4-BE49-F238E27FC236}">
                  <a16:creationId xmlns:a16="http://schemas.microsoft.com/office/drawing/2014/main" id="{4B44F2F4-5E7A-4339-A97A-2585F90C34DB}"/>
                </a:ext>
              </a:extLst>
            </p:cNvPr>
            <p:cNvSpPr/>
            <p:nvPr/>
          </p:nvSpPr>
          <p:spPr bwMode="auto">
            <a:xfrm>
              <a:off x="6054825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îŝḻîḑé">
              <a:extLst>
                <a:ext uri="{FF2B5EF4-FFF2-40B4-BE49-F238E27FC236}">
                  <a16:creationId xmlns:a16="http://schemas.microsoft.com/office/drawing/2014/main" id="{0F442AC5-5702-4D91-BFB7-9DCDB4B2F180}"/>
                </a:ext>
              </a:extLst>
            </p:cNvPr>
            <p:cNvSpPr/>
            <p:nvPr/>
          </p:nvSpPr>
          <p:spPr bwMode="auto">
            <a:xfrm>
              <a:off x="6199862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ïSlíḓe">
              <a:extLst>
                <a:ext uri="{FF2B5EF4-FFF2-40B4-BE49-F238E27FC236}">
                  <a16:creationId xmlns:a16="http://schemas.microsoft.com/office/drawing/2014/main" id="{1B713F61-DCB2-4C2E-8E9D-9052E4ADD690}"/>
                </a:ext>
              </a:extLst>
            </p:cNvPr>
            <p:cNvSpPr/>
            <p:nvPr/>
          </p:nvSpPr>
          <p:spPr bwMode="auto">
            <a:xfrm>
              <a:off x="6346441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0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iṩḻîḑé">
              <a:extLst>
                <a:ext uri="{FF2B5EF4-FFF2-40B4-BE49-F238E27FC236}">
                  <a16:creationId xmlns:a16="http://schemas.microsoft.com/office/drawing/2014/main" id="{E674FD1F-CF41-4737-A942-C96A04FE3719}"/>
                </a:ext>
              </a:extLst>
            </p:cNvPr>
            <p:cNvSpPr/>
            <p:nvPr/>
          </p:nvSpPr>
          <p:spPr bwMode="auto">
            <a:xfrm>
              <a:off x="6493022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i$ľíḓè">
              <a:extLst>
                <a:ext uri="{FF2B5EF4-FFF2-40B4-BE49-F238E27FC236}">
                  <a16:creationId xmlns:a16="http://schemas.microsoft.com/office/drawing/2014/main" id="{CC59383B-9A63-4FB2-B621-3D568F8203B1}"/>
                </a:ext>
              </a:extLst>
            </p:cNvPr>
            <p:cNvSpPr/>
            <p:nvPr/>
          </p:nvSpPr>
          <p:spPr bwMode="auto">
            <a:xfrm>
              <a:off x="4860584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6"/>
                    <a:pt x="28" y="0"/>
                    <a:pt x="19" y="0"/>
                  </a:cubicBezTo>
                  <a:cubicBezTo>
                    <a:pt x="10" y="0"/>
                    <a:pt x="2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îšľíḍè">
              <a:extLst>
                <a:ext uri="{FF2B5EF4-FFF2-40B4-BE49-F238E27FC236}">
                  <a16:creationId xmlns:a16="http://schemas.microsoft.com/office/drawing/2014/main" id="{99AF178B-A451-4B9E-BADD-C3906FFEE7C5}"/>
                </a:ext>
              </a:extLst>
            </p:cNvPr>
            <p:cNvSpPr/>
            <p:nvPr/>
          </p:nvSpPr>
          <p:spPr bwMode="auto">
            <a:xfrm>
              <a:off x="5010250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6"/>
                    <a:pt x="28" y="0"/>
                    <a:pt x="19" y="0"/>
                  </a:cubicBezTo>
                  <a:cubicBezTo>
                    <a:pt x="10" y="0"/>
                    <a:pt x="2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ṥľidè">
              <a:extLst>
                <a:ext uri="{FF2B5EF4-FFF2-40B4-BE49-F238E27FC236}">
                  <a16:creationId xmlns:a16="http://schemas.microsoft.com/office/drawing/2014/main" id="{C126840A-2A94-4DCB-82A7-68803A3AD8F5}"/>
                </a:ext>
              </a:extLst>
            </p:cNvPr>
            <p:cNvSpPr/>
            <p:nvPr/>
          </p:nvSpPr>
          <p:spPr bwMode="auto">
            <a:xfrm>
              <a:off x="5159916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1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8" y="0"/>
                  </a:cubicBezTo>
                  <a:cubicBezTo>
                    <a:pt x="9" y="0"/>
                    <a:pt x="1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íṥḷíḑè">
              <a:extLst>
                <a:ext uri="{FF2B5EF4-FFF2-40B4-BE49-F238E27FC236}">
                  <a16:creationId xmlns:a16="http://schemas.microsoft.com/office/drawing/2014/main" id="{4A80F616-7155-4C73-929A-E836BB017B25}"/>
                </a:ext>
              </a:extLst>
            </p:cNvPr>
            <p:cNvSpPr/>
            <p:nvPr/>
          </p:nvSpPr>
          <p:spPr bwMode="auto">
            <a:xfrm>
              <a:off x="5309581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1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8" y="0"/>
                  </a:cubicBezTo>
                  <a:cubicBezTo>
                    <a:pt x="9" y="0"/>
                    <a:pt x="1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íṡ1iḓê">
              <a:extLst>
                <a:ext uri="{FF2B5EF4-FFF2-40B4-BE49-F238E27FC236}">
                  <a16:creationId xmlns:a16="http://schemas.microsoft.com/office/drawing/2014/main" id="{5B840840-8466-4BB2-9143-E934489A3BC6}"/>
                </a:ext>
              </a:extLst>
            </p:cNvPr>
            <p:cNvSpPr/>
            <p:nvPr/>
          </p:nvSpPr>
          <p:spPr bwMode="auto">
            <a:xfrm>
              <a:off x="5459247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7" y="0"/>
                  </a:cubicBezTo>
                  <a:cubicBezTo>
                    <a:pt x="8" y="0"/>
                    <a:pt x="1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îšḻïde">
              <a:extLst>
                <a:ext uri="{FF2B5EF4-FFF2-40B4-BE49-F238E27FC236}">
                  <a16:creationId xmlns:a16="http://schemas.microsoft.com/office/drawing/2014/main" id="{01207473-0F12-4D41-BEE4-2446D1BF3DFE}"/>
                </a:ext>
              </a:extLst>
            </p:cNvPr>
            <p:cNvSpPr/>
            <p:nvPr/>
          </p:nvSpPr>
          <p:spPr bwMode="auto">
            <a:xfrm>
              <a:off x="5608913" y="3112609"/>
              <a:ext cx="124979" cy="87948"/>
            </a:xfrm>
            <a:custGeom>
              <a:avLst/>
              <a:gdLst>
                <a:gd name="T0" fmla="*/ 33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3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3" y="12"/>
                  </a:moveTo>
                  <a:cubicBezTo>
                    <a:pt x="34" y="6"/>
                    <a:pt x="26" y="0"/>
                    <a:pt x="17" y="0"/>
                  </a:cubicBezTo>
                  <a:cubicBezTo>
                    <a:pt x="8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î$1îďé">
              <a:extLst>
                <a:ext uri="{FF2B5EF4-FFF2-40B4-BE49-F238E27FC236}">
                  <a16:creationId xmlns:a16="http://schemas.microsoft.com/office/drawing/2014/main" id="{8438DC15-7B5B-42D0-8535-460F4691703E}"/>
                </a:ext>
              </a:extLst>
            </p:cNvPr>
            <p:cNvSpPr/>
            <p:nvPr/>
          </p:nvSpPr>
          <p:spPr bwMode="auto">
            <a:xfrm>
              <a:off x="5758579" y="3112609"/>
              <a:ext cx="120350" cy="87948"/>
            </a:xfrm>
            <a:custGeom>
              <a:avLst/>
              <a:gdLst>
                <a:gd name="T0" fmla="*/ 33 w 33"/>
                <a:gd name="T1" fmla="*/ 12 h 24"/>
                <a:gd name="T2" fmla="*/ 17 w 33"/>
                <a:gd name="T3" fmla="*/ 0 h 24"/>
                <a:gd name="T4" fmla="*/ 0 w 33"/>
                <a:gd name="T5" fmla="*/ 12 h 24"/>
                <a:gd name="T6" fmla="*/ 17 w 33"/>
                <a:gd name="T7" fmla="*/ 24 h 24"/>
                <a:gd name="T8" fmla="*/ 33 w 33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4">
                  <a:moveTo>
                    <a:pt x="33" y="12"/>
                  </a:moveTo>
                  <a:cubicBezTo>
                    <a:pt x="33" y="6"/>
                    <a:pt x="26" y="0"/>
                    <a:pt x="17" y="0"/>
                  </a:cubicBezTo>
                  <a:cubicBezTo>
                    <a:pt x="8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iṡļide">
              <a:extLst>
                <a:ext uri="{FF2B5EF4-FFF2-40B4-BE49-F238E27FC236}">
                  <a16:creationId xmlns:a16="http://schemas.microsoft.com/office/drawing/2014/main" id="{68D77601-D1E5-443D-A25A-503074B57EAF}"/>
                </a:ext>
              </a:extLst>
            </p:cNvPr>
            <p:cNvSpPr/>
            <p:nvPr/>
          </p:nvSpPr>
          <p:spPr bwMode="auto">
            <a:xfrm>
              <a:off x="5908244" y="3112609"/>
              <a:ext cx="120350" cy="87948"/>
            </a:xfrm>
            <a:custGeom>
              <a:avLst/>
              <a:gdLst>
                <a:gd name="T0" fmla="*/ 33 w 33"/>
                <a:gd name="T1" fmla="*/ 12 h 24"/>
                <a:gd name="T2" fmla="*/ 16 w 33"/>
                <a:gd name="T3" fmla="*/ 0 h 24"/>
                <a:gd name="T4" fmla="*/ 0 w 33"/>
                <a:gd name="T5" fmla="*/ 12 h 24"/>
                <a:gd name="T6" fmla="*/ 17 w 33"/>
                <a:gd name="T7" fmla="*/ 24 h 24"/>
                <a:gd name="T8" fmla="*/ 33 w 33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4">
                  <a:moveTo>
                    <a:pt x="33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îSlîḋe">
              <a:extLst>
                <a:ext uri="{FF2B5EF4-FFF2-40B4-BE49-F238E27FC236}">
                  <a16:creationId xmlns:a16="http://schemas.microsoft.com/office/drawing/2014/main" id="{A25808BF-485A-4281-9835-2C952B1EEB36}"/>
                </a:ext>
              </a:extLst>
            </p:cNvPr>
            <p:cNvSpPr/>
            <p:nvPr/>
          </p:nvSpPr>
          <p:spPr bwMode="auto">
            <a:xfrm>
              <a:off x="6054825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1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6" y="0"/>
                    <a:pt x="17" y="0"/>
                  </a:cubicBezTo>
                  <a:cubicBezTo>
                    <a:pt x="8" y="0"/>
                    <a:pt x="0" y="6"/>
                    <a:pt x="1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ïṥļidè">
              <a:extLst>
                <a:ext uri="{FF2B5EF4-FFF2-40B4-BE49-F238E27FC236}">
                  <a16:creationId xmlns:a16="http://schemas.microsoft.com/office/drawing/2014/main" id="{B94A4F58-7F5F-43A5-9A41-5E74FB02ED19}"/>
                </a:ext>
              </a:extLst>
            </p:cNvPr>
            <p:cNvSpPr/>
            <p:nvPr/>
          </p:nvSpPr>
          <p:spPr bwMode="auto">
            <a:xfrm>
              <a:off x="6204490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6"/>
                    <a:pt x="26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íṥ1íďé">
              <a:extLst>
                <a:ext uri="{FF2B5EF4-FFF2-40B4-BE49-F238E27FC236}">
                  <a16:creationId xmlns:a16="http://schemas.microsoft.com/office/drawing/2014/main" id="{E2FB24E0-92E4-4C6B-9437-1A0290E1E625}"/>
                </a:ext>
              </a:extLst>
            </p:cNvPr>
            <p:cNvSpPr/>
            <p:nvPr/>
          </p:nvSpPr>
          <p:spPr bwMode="auto">
            <a:xfrm>
              <a:off x="6354156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íṩľíḑê">
              <a:extLst>
                <a:ext uri="{FF2B5EF4-FFF2-40B4-BE49-F238E27FC236}">
                  <a16:creationId xmlns:a16="http://schemas.microsoft.com/office/drawing/2014/main" id="{2A934E46-63D0-4D82-8671-426209BB545F}"/>
                </a:ext>
              </a:extLst>
            </p:cNvPr>
            <p:cNvSpPr/>
            <p:nvPr/>
          </p:nvSpPr>
          <p:spPr bwMode="auto">
            <a:xfrm>
              <a:off x="6503822" y="3112609"/>
              <a:ext cx="123436" cy="87948"/>
            </a:xfrm>
            <a:custGeom>
              <a:avLst/>
              <a:gdLst>
                <a:gd name="T0" fmla="*/ 33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3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3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íşļiḋe">
              <a:extLst>
                <a:ext uri="{FF2B5EF4-FFF2-40B4-BE49-F238E27FC236}">
                  <a16:creationId xmlns:a16="http://schemas.microsoft.com/office/drawing/2014/main" id="{55A63A5B-E6CB-46BE-BE7F-1E5D1C2ECA0C}"/>
                </a:ext>
              </a:extLst>
            </p:cNvPr>
            <p:cNvSpPr/>
            <p:nvPr/>
          </p:nvSpPr>
          <p:spPr bwMode="auto">
            <a:xfrm>
              <a:off x="6648859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ïṡlïḍé">
              <a:extLst>
                <a:ext uri="{FF2B5EF4-FFF2-40B4-BE49-F238E27FC236}">
                  <a16:creationId xmlns:a16="http://schemas.microsoft.com/office/drawing/2014/main" id="{513E2B85-FEC2-4DA7-820C-D76DA92808A3}"/>
                </a:ext>
              </a:extLst>
            </p:cNvPr>
            <p:cNvSpPr/>
            <p:nvPr/>
          </p:nvSpPr>
          <p:spPr bwMode="auto">
            <a:xfrm>
              <a:off x="4846697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20 w 36"/>
                <a:gd name="T3" fmla="*/ 0 h 24"/>
                <a:gd name="T4" fmla="*/ 1 w 36"/>
                <a:gd name="T5" fmla="*/ 12 h 24"/>
                <a:gd name="T6" fmla="*/ 17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6" y="5"/>
                    <a:pt x="29" y="0"/>
                    <a:pt x="20" y="0"/>
                  </a:cubicBezTo>
                  <a:cubicBezTo>
                    <a:pt x="10" y="0"/>
                    <a:pt x="2" y="5"/>
                    <a:pt x="1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îSļïďè">
              <a:extLst>
                <a:ext uri="{FF2B5EF4-FFF2-40B4-BE49-F238E27FC236}">
                  <a16:creationId xmlns:a16="http://schemas.microsoft.com/office/drawing/2014/main" id="{E25E9CDB-C8BA-4C00-8B87-ED496135CBE3}"/>
                </a:ext>
              </a:extLst>
            </p:cNvPr>
            <p:cNvSpPr/>
            <p:nvPr/>
          </p:nvSpPr>
          <p:spPr bwMode="auto">
            <a:xfrm>
              <a:off x="4999449" y="3222158"/>
              <a:ext cx="128065" cy="87948"/>
            </a:xfrm>
            <a:custGeom>
              <a:avLst/>
              <a:gdLst>
                <a:gd name="T0" fmla="*/ 35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5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10" y="0"/>
                    <a:pt x="1" y="5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íṥ1îḋè">
              <a:extLst>
                <a:ext uri="{FF2B5EF4-FFF2-40B4-BE49-F238E27FC236}">
                  <a16:creationId xmlns:a16="http://schemas.microsoft.com/office/drawing/2014/main" id="{EE35482F-913E-45B7-8133-B23AAE2FCFE0}"/>
                </a:ext>
              </a:extLst>
            </p:cNvPr>
            <p:cNvSpPr/>
            <p:nvPr/>
          </p:nvSpPr>
          <p:spPr bwMode="auto">
            <a:xfrm>
              <a:off x="5153744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0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5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îṣļïḓé">
              <a:extLst>
                <a:ext uri="{FF2B5EF4-FFF2-40B4-BE49-F238E27FC236}">
                  <a16:creationId xmlns:a16="http://schemas.microsoft.com/office/drawing/2014/main" id="{9CF58A69-8E35-4357-AE1C-CC1BB57EFAB4}"/>
                </a:ext>
              </a:extLst>
            </p:cNvPr>
            <p:cNvSpPr/>
            <p:nvPr/>
          </p:nvSpPr>
          <p:spPr bwMode="auto">
            <a:xfrm>
              <a:off x="5303409" y="3222158"/>
              <a:ext cx="126522" cy="87948"/>
            </a:xfrm>
            <a:custGeom>
              <a:avLst/>
              <a:gdLst>
                <a:gd name="T0" fmla="*/ 34 w 35"/>
                <a:gd name="T1" fmla="*/ 12 h 24"/>
                <a:gd name="T2" fmla="*/ 18 w 35"/>
                <a:gd name="T3" fmla="*/ 0 h 24"/>
                <a:gd name="T4" fmla="*/ 1 w 35"/>
                <a:gd name="T5" fmla="*/ 12 h 24"/>
                <a:gd name="T6" fmla="*/ 17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9" y="0"/>
                    <a:pt x="1" y="5"/>
                    <a:pt x="1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îśľíḋè">
              <a:extLst>
                <a:ext uri="{FF2B5EF4-FFF2-40B4-BE49-F238E27FC236}">
                  <a16:creationId xmlns:a16="http://schemas.microsoft.com/office/drawing/2014/main" id="{4A363DAC-233D-42EA-A90C-11226421EA5D}"/>
                </a:ext>
              </a:extLst>
            </p:cNvPr>
            <p:cNvSpPr/>
            <p:nvPr/>
          </p:nvSpPr>
          <p:spPr bwMode="auto">
            <a:xfrm>
              <a:off x="5456162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íšlíḋé">
              <a:extLst>
                <a:ext uri="{FF2B5EF4-FFF2-40B4-BE49-F238E27FC236}">
                  <a16:creationId xmlns:a16="http://schemas.microsoft.com/office/drawing/2014/main" id="{866365D2-DFA6-459D-839A-618AAF9A5F43}"/>
                </a:ext>
              </a:extLst>
            </p:cNvPr>
            <p:cNvSpPr/>
            <p:nvPr/>
          </p:nvSpPr>
          <p:spPr bwMode="auto">
            <a:xfrm>
              <a:off x="5605827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iṡ1íďê">
              <a:extLst>
                <a:ext uri="{FF2B5EF4-FFF2-40B4-BE49-F238E27FC236}">
                  <a16:creationId xmlns:a16="http://schemas.microsoft.com/office/drawing/2014/main" id="{E3CBD1F3-BA8C-4423-A497-95449542DE8A}"/>
                </a:ext>
              </a:extLst>
            </p:cNvPr>
            <p:cNvSpPr/>
            <p:nvPr/>
          </p:nvSpPr>
          <p:spPr bwMode="auto">
            <a:xfrm>
              <a:off x="5758579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ïśľïďê">
              <a:extLst>
                <a:ext uri="{FF2B5EF4-FFF2-40B4-BE49-F238E27FC236}">
                  <a16:creationId xmlns:a16="http://schemas.microsoft.com/office/drawing/2014/main" id="{8FDF0354-CF1B-4361-BEC7-4A8F577EABE5}"/>
                </a:ext>
              </a:extLst>
            </p:cNvPr>
            <p:cNvSpPr/>
            <p:nvPr/>
          </p:nvSpPr>
          <p:spPr bwMode="auto">
            <a:xfrm>
              <a:off x="5908244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0" y="19"/>
                    <a:pt x="8" y="24"/>
                    <a:pt x="17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ïṣḷiḑé">
              <a:extLst>
                <a:ext uri="{FF2B5EF4-FFF2-40B4-BE49-F238E27FC236}">
                  <a16:creationId xmlns:a16="http://schemas.microsoft.com/office/drawing/2014/main" id="{A683D7D1-1344-41A6-80A4-40FFA9FA3BE2}"/>
                </a:ext>
              </a:extLst>
            </p:cNvPr>
            <p:cNvSpPr/>
            <p:nvPr/>
          </p:nvSpPr>
          <p:spPr bwMode="auto">
            <a:xfrm>
              <a:off x="6057911" y="3222158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7 w 35"/>
                <a:gd name="T3" fmla="*/ 0 h 24"/>
                <a:gd name="T4" fmla="*/ 1 w 35"/>
                <a:gd name="T5" fmla="*/ 12 h 24"/>
                <a:gd name="T6" fmla="*/ 18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8" y="0"/>
                    <a:pt x="0" y="5"/>
                    <a:pt x="1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îšļîḋe">
              <a:extLst>
                <a:ext uri="{FF2B5EF4-FFF2-40B4-BE49-F238E27FC236}">
                  <a16:creationId xmlns:a16="http://schemas.microsoft.com/office/drawing/2014/main" id="{9DC7EEDB-A023-446C-8BAF-44C9BF090662}"/>
                </a:ext>
              </a:extLst>
            </p:cNvPr>
            <p:cNvSpPr/>
            <p:nvPr/>
          </p:nvSpPr>
          <p:spPr bwMode="auto">
            <a:xfrm>
              <a:off x="6210662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19"/>
                    <a:pt x="8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iśḷíḑe">
              <a:extLst>
                <a:ext uri="{FF2B5EF4-FFF2-40B4-BE49-F238E27FC236}">
                  <a16:creationId xmlns:a16="http://schemas.microsoft.com/office/drawing/2014/main" id="{3724A176-F7D3-44D7-A1F0-F17974E77D9B}"/>
                </a:ext>
              </a:extLst>
            </p:cNvPr>
            <p:cNvSpPr/>
            <p:nvPr/>
          </p:nvSpPr>
          <p:spPr bwMode="auto">
            <a:xfrm>
              <a:off x="6360328" y="3222158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0 w 35"/>
                <a:gd name="T5" fmla="*/ 12 h 24"/>
                <a:gd name="T6" fmla="*/ 18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iSlíḑê">
              <a:extLst>
                <a:ext uri="{FF2B5EF4-FFF2-40B4-BE49-F238E27FC236}">
                  <a16:creationId xmlns:a16="http://schemas.microsoft.com/office/drawing/2014/main" id="{C7AF7EE3-C8FB-47DF-82E2-9992C577DE18}"/>
                </a:ext>
              </a:extLst>
            </p:cNvPr>
            <p:cNvSpPr/>
            <p:nvPr/>
          </p:nvSpPr>
          <p:spPr bwMode="auto">
            <a:xfrm>
              <a:off x="6509994" y="3222158"/>
              <a:ext cx="128065" cy="87948"/>
            </a:xfrm>
            <a:custGeom>
              <a:avLst/>
              <a:gdLst>
                <a:gd name="T0" fmla="*/ 35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5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19"/>
                    <a:pt x="9" y="24"/>
                    <a:pt x="19" y="24"/>
                  </a:cubicBezTo>
                  <a:cubicBezTo>
                    <a:pt x="28" y="24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sḷîdè">
              <a:extLst>
                <a:ext uri="{FF2B5EF4-FFF2-40B4-BE49-F238E27FC236}">
                  <a16:creationId xmlns:a16="http://schemas.microsoft.com/office/drawing/2014/main" id="{B928CF1D-99CF-4AB4-9F76-F0D94A7E3908}"/>
                </a:ext>
              </a:extLst>
            </p:cNvPr>
            <p:cNvSpPr/>
            <p:nvPr/>
          </p:nvSpPr>
          <p:spPr bwMode="auto">
            <a:xfrm>
              <a:off x="6659660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17 w 36"/>
                <a:gd name="T3" fmla="*/ 0 h 24"/>
                <a:gd name="T4" fmla="*/ 1 w 36"/>
                <a:gd name="T5" fmla="*/ 12 h 24"/>
                <a:gd name="T6" fmla="*/ 19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9" y="24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iŝľîḍé">
              <a:extLst>
                <a:ext uri="{FF2B5EF4-FFF2-40B4-BE49-F238E27FC236}">
                  <a16:creationId xmlns:a16="http://schemas.microsoft.com/office/drawing/2014/main" id="{DE25EFEF-37BA-4884-875B-2CD276B3336F}"/>
                </a:ext>
              </a:extLst>
            </p:cNvPr>
            <p:cNvSpPr/>
            <p:nvPr/>
          </p:nvSpPr>
          <p:spPr bwMode="auto">
            <a:xfrm>
              <a:off x="6813955" y="3222158"/>
              <a:ext cx="126522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îśľîḓè">
              <a:extLst>
                <a:ext uri="{FF2B5EF4-FFF2-40B4-BE49-F238E27FC236}">
                  <a16:creationId xmlns:a16="http://schemas.microsoft.com/office/drawing/2014/main" id="{CEC264F0-E30A-4FF4-9EBA-49944A4A120B}"/>
                </a:ext>
              </a:extLst>
            </p:cNvPr>
            <p:cNvSpPr/>
            <p:nvPr/>
          </p:nvSpPr>
          <p:spPr bwMode="auto">
            <a:xfrm>
              <a:off x="4988648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9 w 35"/>
                <a:gd name="T3" fmla="*/ 0 h 25"/>
                <a:gd name="T4" fmla="*/ 0 w 35"/>
                <a:gd name="T5" fmla="*/ 12 h 25"/>
                <a:gd name="T6" fmla="*/ 16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6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iṡ1idé">
              <a:extLst>
                <a:ext uri="{FF2B5EF4-FFF2-40B4-BE49-F238E27FC236}">
                  <a16:creationId xmlns:a16="http://schemas.microsoft.com/office/drawing/2014/main" id="{336F48B7-D99A-4516-B530-72DBFA755B74}"/>
                </a:ext>
              </a:extLst>
            </p:cNvPr>
            <p:cNvSpPr/>
            <p:nvPr/>
          </p:nvSpPr>
          <p:spPr bwMode="auto">
            <a:xfrm>
              <a:off x="5142943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9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7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iṥḷíḓê">
              <a:extLst>
                <a:ext uri="{FF2B5EF4-FFF2-40B4-BE49-F238E27FC236}">
                  <a16:creationId xmlns:a16="http://schemas.microsoft.com/office/drawing/2014/main" id="{8E9FF9D8-B51E-4ED7-9CE2-0FDFC33E648B}"/>
                </a:ext>
              </a:extLst>
            </p:cNvPr>
            <p:cNvSpPr/>
            <p:nvPr/>
          </p:nvSpPr>
          <p:spPr bwMode="auto">
            <a:xfrm>
              <a:off x="5295695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7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îṩ1ïďè">
              <a:extLst>
                <a:ext uri="{FF2B5EF4-FFF2-40B4-BE49-F238E27FC236}">
                  <a16:creationId xmlns:a16="http://schemas.microsoft.com/office/drawing/2014/main" id="{820D751A-3139-43B7-9D4D-161DDBBC46CE}"/>
                </a:ext>
              </a:extLst>
            </p:cNvPr>
            <p:cNvSpPr/>
            <p:nvPr/>
          </p:nvSpPr>
          <p:spPr bwMode="auto">
            <a:xfrm>
              <a:off x="5448446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8" y="25"/>
                    <a:pt x="17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ïSḷíḑé">
              <a:extLst>
                <a:ext uri="{FF2B5EF4-FFF2-40B4-BE49-F238E27FC236}">
                  <a16:creationId xmlns:a16="http://schemas.microsoft.com/office/drawing/2014/main" id="{F020B6A0-FFD8-490F-8715-5672EE735A7A}"/>
                </a:ext>
              </a:extLst>
            </p:cNvPr>
            <p:cNvSpPr/>
            <p:nvPr/>
          </p:nvSpPr>
          <p:spPr bwMode="auto">
            <a:xfrm>
              <a:off x="5602741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5"/>
                    <a:pt x="17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îŝḷiḓè">
              <a:extLst>
                <a:ext uri="{FF2B5EF4-FFF2-40B4-BE49-F238E27FC236}">
                  <a16:creationId xmlns:a16="http://schemas.microsoft.com/office/drawing/2014/main" id="{337928D1-7E10-442F-953F-6BDD1B54F4A3}"/>
                </a:ext>
              </a:extLst>
            </p:cNvPr>
            <p:cNvSpPr/>
            <p:nvPr/>
          </p:nvSpPr>
          <p:spPr bwMode="auto">
            <a:xfrm>
              <a:off x="5755493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5"/>
                    <a:pt x="18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ṥlïḍe">
              <a:extLst>
                <a:ext uri="{FF2B5EF4-FFF2-40B4-BE49-F238E27FC236}">
                  <a16:creationId xmlns:a16="http://schemas.microsoft.com/office/drawing/2014/main" id="{E65955D0-892D-4291-977D-65DAA0F38821}"/>
                </a:ext>
              </a:extLst>
            </p:cNvPr>
            <p:cNvSpPr/>
            <p:nvPr/>
          </p:nvSpPr>
          <p:spPr bwMode="auto">
            <a:xfrm>
              <a:off x="5908244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19"/>
                    <a:pt x="8" y="25"/>
                    <a:pt x="18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ï$ḻiḑè">
              <a:extLst>
                <a:ext uri="{FF2B5EF4-FFF2-40B4-BE49-F238E27FC236}">
                  <a16:creationId xmlns:a16="http://schemas.microsoft.com/office/drawing/2014/main" id="{33C75BBA-A702-4AF5-9686-684E59C16152}"/>
                </a:ext>
              </a:extLst>
            </p:cNvPr>
            <p:cNvSpPr/>
            <p:nvPr/>
          </p:nvSpPr>
          <p:spPr bwMode="auto">
            <a:xfrm>
              <a:off x="6062539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19"/>
                    <a:pt x="9" y="25"/>
                    <a:pt x="18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îŝḻîďê">
              <a:extLst>
                <a:ext uri="{FF2B5EF4-FFF2-40B4-BE49-F238E27FC236}">
                  <a16:creationId xmlns:a16="http://schemas.microsoft.com/office/drawing/2014/main" id="{D1FE1FDD-9771-4283-9E74-9DF4CA31FA37}"/>
                </a:ext>
              </a:extLst>
            </p:cNvPr>
            <p:cNvSpPr/>
            <p:nvPr/>
          </p:nvSpPr>
          <p:spPr bwMode="auto">
            <a:xfrm>
              <a:off x="6215291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8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îŝľiḓé">
              <a:extLst>
                <a:ext uri="{FF2B5EF4-FFF2-40B4-BE49-F238E27FC236}">
                  <a16:creationId xmlns:a16="http://schemas.microsoft.com/office/drawing/2014/main" id="{E39DF209-5627-418A-A3AF-F2EF0E1295A7}"/>
                </a:ext>
              </a:extLst>
            </p:cNvPr>
            <p:cNvSpPr/>
            <p:nvPr/>
          </p:nvSpPr>
          <p:spPr bwMode="auto">
            <a:xfrm>
              <a:off x="6368042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9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9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îṧḻîḍè">
              <a:extLst>
                <a:ext uri="{FF2B5EF4-FFF2-40B4-BE49-F238E27FC236}">
                  <a16:creationId xmlns:a16="http://schemas.microsoft.com/office/drawing/2014/main" id="{9A17D53E-35CA-4CE7-86EF-C1DA63D91186}"/>
                </a:ext>
              </a:extLst>
            </p:cNvPr>
            <p:cNvSpPr/>
            <p:nvPr/>
          </p:nvSpPr>
          <p:spPr bwMode="auto">
            <a:xfrm>
              <a:off x="6520795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6 w 35"/>
                <a:gd name="T3" fmla="*/ 0 h 25"/>
                <a:gd name="T4" fmla="*/ 0 w 35"/>
                <a:gd name="T5" fmla="*/ 12 h 25"/>
                <a:gd name="T6" fmla="*/ 19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9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ïSḷîḓe">
              <a:extLst>
                <a:ext uri="{FF2B5EF4-FFF2-40B4-BE49-F238E27FC236}">
                  <a16:creationId xmlns:a16="http://schemas.microsoft.com/office/drawing/2014/main" id="{C90EC6CA-7FBA-452A-A59F-0A3A635C3034}"/>
                </a:ext>
              </a:extLst>
            </p:cNvPr>
            <p:cNvSpPr/>
            <p:nvPr/>
          </p:nvSpPr>
          <p:spPr bwMode="auto">
            <a:xfrm>
              <a:off x="6675089" y="3331707"/>
              <a:ext cx="131151" cy="91034"/>
            </a:xfrm>
            <a:custGeom>
              <a:avLst/>
              <a:gdLst>
                <a:gd name="T0" fmla="*/ 35 w 36"/>
                <a:gd name="T1" fmla="*/ 12 h 25"/>
                <a:gd name="T2" fmla="*/ 16 w 36"/>
                <a:gd name="T3" fmla="*/ 0 h 25"/>
                <a:gd name="T4" fmla="*/ 0 w 36"/>
                <a:gd name="T5" fmla="*/ 12 h 25"/>
                <a:gd name="T6" fmla="*/ 19 w 36"/>
                <a:gd name="T7" fmla="*/ 25 h 25"/>
                <a:gd name="T8" fmla="*/ 35 w 36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5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10" y="25"/>
                    <a:pt x="19" y="25"/>
                  </a:cubicBezTo>
                  <a:cubicBezTo>
                    <a:pt x="29" y="25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îŝ1ïdé">
              <a:extLst>
                <a:ext uri="{FF2B5EF4-FFF2-40B4-BE49-F238E27FC236}">
                  <a16:creationId xmlns:a16="http://schemas.microsoft.com/office/drawing/2014/main" id="{D342638D-2135-441C-84B3-536817074458}"/>
                </a:ext>
              </a:extLst>
            </p:cNvPr>
            <p:cNvSpPr/>
            <p:nvPr/>
          </p:nvSpPr>
          <p:spPr bwMode="auto">
            <a:xfrm>
              <a:off x="6827841" y="3331707"/>
              <a:ext cx="131151" cy="91034"/>
            </a:xfrm>
            <a:custGeom>
              <a:avLst/>
              <a:gdLst>
                <a:gd name="T0" fmla="*/ 35 w 36"/>
                <a:gd name="T1" fmla="*/ 12 h 25"/>
                <a:gd name="T2" fmla="*/ 16 w 36"/>
                <a:gd name="T3" fmla="*/ 0 h 25"/>
                <a:gd name="T4" fmla="*/ 0 w 36"/>
                <a:gd name="T5" fmla="*/ 12 h 25"/>
                <a:gd name="T6" fmla="*/ 19 w 36"/>
                <a:gd name="T7" fmla="*/ 25 h 25"/>
                <a:gd name="T8" fmla="*/ 35 w 36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5">
                  <a:moveTo>
                    <a:pt x="35" y="12"/>
                  </a:moveTo>
                  <a:cubicBezTo>
                    <a:pt x="34" y="5"/>
                    <a:pt x="25" y="0"/>
                    <a:pt x="16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1" y="19"/>
                    <a:pt x="10" y="25"/>
                    <a:pt x="19" y="25"/>
                  </a:cubicBezTo>
                  <a:cubicBezTo>
                    <a:pt x="29" y="25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íšľíḑê">
              <a:extLst>
                <a:ext uri="{FF2B5EF4-FFF2-40B4-BE49-F238E27FC236}">
                  <a16:creationId xmlns:a16="http://schemas.microsoft.com/office/drawing/2014/main" id="{CF283051-DAFD-42D4-863F-1E45E13EF703}"/>
                </a:ext>
              </a:extLst>
            </p:cNvPr>
            <p:cNvSpPr/>
            <p:nvPr/>
          </p:nvSpPr>
          <p:spPr bwMode="auto">
            <a:xfrm>
              <a:off x="6977507" y="3331707"/>
              <a:ext cx="135779" cy="91034"/>
            </a:xfrm>
            <a:custGeom>
              <a:avLst/>
              <a:gdLst>
                <a:gd name="T0" fmla="*/ 36 w 37"/>
                <a:gd name="T1" fmla="*/ 12 h 25"/>
                <a:gd name="T2" fmla="*/ 17 w 37"/>
                <a:gd name="T3" fmla="*/ 0 h 25"/>
                <a:gd name="T4" fmla="*/ 1 w 37"/>
                <a:gd name="T5" fmla="*/ 12 h 25"/>
                <a:gd name="T6" fmla="*/ 21 w 37"/>
                <a:gd name="T7" fmla="*/ 25 h 25"/>
                <a:gd name="T8" fmla="*/ 36 w 37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5">
                  <a:moveTo>
                    <a:pt x="36" y="12"/>
                  </a:moveTo>
                  <a:cubicBezTo>
                    <a:pt x="35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1" y="25"/>
                    <a:pt x="21" y="25"/>
                  </a:cubicBezTo>
                  <a:cubicBezTo>
                    <a:pt x="30" y="25"/>
                    <a:pt x="37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îSḻïḍe">
              <a:extLst>
                <a:ext uri="{FF2B5EF4-FFF2-40B4-BE49-F238E27FC236}">
                  <a16:creationId xmlns:a16="http://schemas.microsoft.com/office/drawing/2014/main" id="{1E5C8024-E620-4DF5-99A8-EB1654D4A00A}"/>
                </a:ext>
              </a:extLst>
            </p:cNvPr>
            <p:cNvSpPr/>
            <p:nvPr/>
          </p:nvSpPr>
          <p:spPr bwMode="auto">
            <a:xfrm>
              <a:off x="5755493" y="3445885"/>
              <a:ext cx="128065" cy="9412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ŝḻîḍé">
              <a:extLst>
                <a:ext uri="{FF2B5EF4-FFF2-40B4-BE49-F238E27FC236}">
                  <a16:creationId xmlns:a16="http://schemas.microsoft.com/office/drawing/2014/main" id="{0833F506-80E1-44F9-A84C-3C3080D9C703}"/>
                </a:ext>
              </a:extLst>
            </p:cNvPr>
            <p:cNvSpPr/>
            <p:nvPr/>
          </p:nvSpPr>
          <p:spPr bwMode="auto">
            <a:xfrm>
              <a:off x="5912874" y="3445885"/>
              <a:ext cx="126522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7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20"/>
                    <a:pt x="8" y="26"/>
                    <a:pt x="17" y="26"/>
                  </a:cubicBezTo>
                  <a:cubicBezTo>
                    <a:pt x="27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íśḷîḋé">
              <a:extLst>
                <a:ext uri="{FF2B5EF4-FFF2-40B4-BE49-F238E27FC236}">
                  <a16:creationId xmlns:a16="http://schemas.microsoft.com/office/drawing/2014/main" id="{4D7A04A5-1FDF-42AC-9977-3337CF41B978}"/>
                </a:ext>
              </a:extLst>
            </p:cNvPr>
            <p:cNvSpPr/>
            <p:nvPr/>
          </p:nvSpPr>
          <p:spPr bwMode="auto">
            <a:xfrm>
              <a:off x="6065625" y="3445885"/>
              <a:ext cx="128065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8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20"/>
                    <a:pt x="9" y="26"/>
                    <a:pt x="18" y="26"/>
                  </a:cubicBezTo>
                  <a:cubicBezTo>
                    <a:pt x="28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ïs1îde">
              <a:extLst>
                <a:ext uri="{FF2B5EF4-FFF2-40B4-BE49-F238E27FC236}">
                  <a16:creationId xmlns:a16="http://schemas.microsoft.com/office/drawing/2014/main" id="{E1361F16-F7D1-4284-B3A0-1D6DE0B1CEB2}"/>
                </a:ext>
              </a:extLst>
            </p:cNvPr>
            <p:cNvSpPr/>
            <p:nvPr/>
          </p:nvSpPr>
          <p:spPr bwMode="auto">
            <a:xfrm>
              <a:off x="6223006" y="3445885"/>
              <a:ext cx="126522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8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20"/>
                    <a:pt x="8" y="26"/>
                    <a:pt x="18" y="26"/>
                  </a:cubicBezTo>
                  <a:cubicBezTo>
                    <a:pt x="28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ïṥļîḑê">
              <a:extLst>
                <a:ext uri="{FF2B5EF4-FFF2-40B4-BE49-F238E27FC236}">
                  <a16:creationId xmlns:a16="http://schemas.microsoft.com/office/drawing/2014/main" id="{31B6E8E8-D6E6-4EC2-98B4-4A9876DD9563}"/>
                </a:ext>
              </a:extLst>
            </p:cNvPr>
            <p:cNvSpPr/>
            <p:nvPr/>
          </p:nvSpPr>
          <p:spPr bwMode="auto">
            <a:xfrm>
              <a:off x="6375758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7 w 36"/>
                <a:gd name="T3" fmla="*/ 0 h 26"/>
                <a:gd name="T4" fmla="*/ 1 w 36"/>
                <a:gd name="T5" fmla="*/ 12 h 26"/>
                <a:gd name="T6" fmla="*/ 19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20"/>
                    <a:pt x="9" y="26"/>
                    <a:pt x="19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í$1iḓè">
              <a:extLst>
                <a:ext uri="{FF2B5EF4-FFF2-40B4-BE49-F238E27FC236}">
                  <a16:creationId xmlns:a16="http://schemas.microsoft.com/office/drawing/2014/main" id="{6512ECBD-CDAA-4EB8-B42F-6CFA90BD7106}"/>
                </a:ext>
              </a:extLst>
            </p:cNvPr>
            <p:cNvSpPr/>
            <p:nvPr/>
          </p:nvSpPr>
          <p:spPr bwMode="auto">
            <a:xfrm>
              <a:off x="6533138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6 w 36"/>
                <a:gd name="T3" fmla="*/ 0 h 26"/>
                <a:gd name="T4" fmla="*/ 0 w 36"/>
                <a:gd name="T5" fmla="*/ 12 h 26"/>
                <a:gd name="T6" fmla="*/ 19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20"/>
                    <a:pt x="9" y="26"/>
                    <a:pt x="19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îşļîḑe">
              <a:extLst>
                <a:ext uri="{FF2B5EF4-FFF2-40B4-BE49-F238E27FC236}">
                  <a16:creationId xmlns:a16="http://schemas.microsoft.com/office/drawing/2014/main" id="{9C8988B7-8FDB-4644-840A-5E3D78CB5859}"/>
                </a:ext>
              </a:extLst>
            </p:cNvPr>
            <p:cNvSpPr/>
            <p:nvPr/>
          </p:nvSpPr>
          <p:spPr bwMode="auto">
            <a:xfrm>
              <a:off x="6685889" y="3445885"/>
              <a:ext cx="131151" cy="94120"/>
            </a:xfrm>
            <a:custGeom>
              <a:avLst/>
              <a:gdLst>
                <a:gd name="T0" fmla="*/ 36 w 36"/>
                <a:gd name="T1" fmla="*/ 12 h 26"/>
                <a:gd name="T2" fmla="*/ 17 w 36"/>
                <a:gd name="T3" fmla="*/ 0 h 26"/>
                <a:gd name="T4" fmla="*/ 1 w 36"/>
                <a:gd name="T5" fmla="*/ 12 h 26"/>
                <a:gd name="T6" fmla="*/ 20 w 36"/>
                <a:gd name="T7" fmla="*/ 26 h 26"/>
                <a:gd name="T8" fmla="*/ 36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12"/>
                  </a:moveTo>
                  <a:cubicBezTo>
                    <a:pt x="35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20"/>
                    <a:pt x="10" y="26"/>
                    <a:pt x="20" y="26"/>
                  </a:cubicBezTo>
                  <a:cubicBezTo>
                    <a:pt x="29" y="26"/>
                    <a:pt x="36" y="20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íSľîḓê">
              <a:extLst>
                <a:ext uri="{FF2B5EF4-FFF2-40B4-BE49-F238E27FC236}">
                  <a16:creationId xmlns:a16="http://schemas.microsoft.com/office/drawing/2014/main" id="{E9E0C17C-6781-4F28-A114-BAF8C59BE533}"/>
                </a:ext>
              </a:extLst>
            </p:cNvPr>
            <p:cNvSpPr/>
            <p:nvPr/>
          </p:nvSpPr>
          <p:spPr bwMode="auto">
            <a:xfrm>
              <a:off x="6843270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6 w 36"/>
                <a:gd name="T3" fmla="*/ 0 h 26"/>
                <a:gd name="T4" fmla="*/ 0 w 36"/>
                <a:gd name="T5" fmla="*/ 12 h 26"/>
                <a:gd name="T6" fmla="*/ 20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20"/>
                    <a:pt x="10" y="26"/>
                    <a:pt x="20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ïṧļïḑé">
              <a:extLst>
                <a:ext uri="{FF2B5EF4-FFF2-40B4-BE49-F238E27FC236}">
                  <a16:creationId xmlns:a16="http://schemas.microsoft.com/office/drawing/2014/main" id="{BD50CAA0-941A-4798-9AD8-775D3925532B}"/>
                </a:ext>
              </a:extLst>
            </p:cNvPr>
            <p:cNvSpPr/>
            <p:nvPr/>
          </p:nvSpPr>
          <p:spPr bwMode="auto">
            <a:xfrm>
              <a:off x="5755493" y="3558521"/>
              <a:ext cx="128065" cy="98749"/>
            </a:xfrm>
            <a:custGeom>
              <a:avLst/>
              <a:gdLst>
                <a:gd name="T0" fmla="*/ 35 w 35"/>
                <a:gd name="T1" fmla="*/ 14 h 27"/>
                <a:gd name="T2" fmla="*/ 18 w 35"/>
                <a:gd name="T3" fmla="*/ 0 h 27"/>
                <a:gd name="T4" fmla="*/ 0 w 35"/>
                <a:gd name="T5" fmla="*/ 14 h 27"/>
                <a:gd name="T6" fmla="*/ 17 w 35"/>
                <a:gd name="T7" fmla="*/ 27 h 27"/>
                <a:gd name="T8" fmla="*/ 35 w 35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7">
                  <a:moveTo>
                    <a:pt x="35" y="14"/>
                  </a:moveTo>
                  <a:cubicBezTo>
                    <a:pt x="35" y="6"/>
                    <a:pt x="27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1"/>
                    <a:pt x="8" y="27"/>
                    <a:pt x="17" y="27"/>
                  </a:cubicBezTo>
                  <a:cubicBezTo>
                    <a:pt x="27" y="27"/>
                    <a:pt x="35" y="21"/>
                    <a:pt x="3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ïSḻîdê">
              <a:extLst>
                <a:ext uri="{FF2B5EF4-FFF2-40B4-BE49-F238E27FC236}">
                  <a16:creationId xmlns:a16="http://schemas.microsoft.com/office/drawing/2014/main" id="{A77CB108-DE96-4471-BE7C-9DE7BDBB84EC}"/>
                </a:ext>
              </a:extLst>
            </p:cNvPr>
            <p:cNvSpPr/>
            <p:nvPr/>
          </p:nvSpPr>
          <p:spPr bwMode="auto">
            <a:xfrm>
              <a:off x="5912874" y="3558521"/>
              <a:ext cx="131151" cy="98749"/>
            </a:xfrm>
            <a:custGeom>
              <a:avLst/>
              <a:gdLst>
                <a:gd name="T0" fmla="*/ 35 w 36"/>
                <a:gd name="T1" fmla="*/ 14 h 27"/>
                <a:gd name="T2" fmla="*/ 18 w 36"/>
                <a:gd name="T3" fmla="*/ 0 h 27"/>
                <a:gd name="T4" fmla="*/ 0 w 36"/>
                <a:gd name="T5" fmla="*/ 14 h 27"/>
                <a:gd name="T6" fmla="*/ 18 w 36"/>
                <a:gd name="T7" fmla="*/ 27 h 27"/>
                <a:gd name="T8" fmla="*/ 35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5" y="14"/>
                  </a:moveTo>
                  <a:cubicBezTo>
                    <a:pt x="35" y="6"/>
                    <a:pt x="27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1"/>
                    <a:pt x="8" y="27"/>
                    <a:pt x="18" y="27"/>
                  </a:cubicBezTo>
                  <a:cubicBezTo>
                    <a:pt x="28" y="27"/>
                    <a:pt x="36" y="21"/>
                    <a:pt x="3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îṡ1iḋe">
              <a:extLst>
                <a:ext uri="{FF2B5EF4-FFF2-40B4-BE49-F238E27FC236}">
                  <a16:creationId xmlns:a16="http://schemas.microsoft.com/office/drawing/2014/main" id="{FD8DB5DD-F2FD-44F2-B281-6D5745BAC469}"/>
                </a:ext>
              </a:extLst>
            </p:cNvPr>
            <p:cNvSpPr/>
            <p:nvPr/>
          </p:nvSpPr>
          <p:spPr bwMode="auto">
            <a:xfrm>
              <a:off x="6068711" y="3558521"/>
              <a:ext cx="131151" cy="98749"/>
            </a:xfrm>
            <a:custGeom>
              <a:avLst/>
              <a:gdLst>
                <a:gd name="T0" fmla="*/ 36 w 36"/>
                <a:gd name="T1" fmla="*/ 14 h 27"/>
                <a:gd name="T2" fmla="*/ 17 w 36"/>
                <a:gd name="T3" fmla="*/ 0 h 27"/>
                <a:gd name="T4" fmla="*/ 0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1"/>
                    <a:pt x="9" y="27"/>
                    <a:pt x="19" y="27"/>
                  </a:cubicBezTo>
                  <a:cubicBezTo>
                    <a:pt x="28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íśľíďè">
              <a:extLst>
                <a:ext uri="{FF2B5EF4-FFF2-40B4-BE49-F238E27FC236}">
                  <a16:creationId xmlns:a16="http://schemas.microsoft.com/office/drawing/2014/main" id="{D6283500-AD95-455C-A923-FE20A1A1C4BD}"/>
                </a:ext>
              </a:extLst>
            </p:cNvPr>
            <p:cNvSpPr/>
            <p:nvPr/>
          </p:nvSpPr>
          <p:spPr bwMode="auto">
            <a:xfrm>
              <a:off x="6226091" y="3558521"/>
              <a:ext cx="131151" cy="98749"/>
            </a:xfrm>
            <a:custGeom>
              <a:avLst/>
              <a:gdLst>
                <a:gd name="T0" fmla="*/ 36 w 36"/>
                <a:gd name="T1" fmla="*/ 14 h 27"/>
                <a:gd name="T2" fmla="*/ 17 w 36"/>
                <a:gd name="T3" fmla="*/ 0 h 27"/>
                <a:gd name="T4" fmla="*/ 1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1"/>
                    <a:pt x="9" y="27"/>
                    <a:pt x="19" y="27"/>
                  </a:cubicBezTo>
                  <a:cubicBezTo>
                    <a:pt x="29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i$ļïḋe">
              <a:extLst>
                <a:ext uri="{FF2B5EF4-FFF2-40B4-BE49-F238E27FC236}">
                  <a16:creationId xmlns:a16="http://schemas.microsoft.com/office/drawing/2014/main" id="{2E11C29C-CD67-4189-A002-9A89F6837999}"/>
                </a:ext>
              </a:extLst>
            </p:cNvPr>
            <p:cNvSpPr/>
            <p:nvPr/>
          </p:nvSpPr>
          <p:spPr bwMode="auto">
            <a:xfrm>
              <a:off x="6383472" y="3558521"/>
              <a:ext cx="134237" cy="98749"/>
            </a:xfrm>
            <a:custGeom>
              <a:avLst/>
              <a:gdLst>
                <a:gd name="T0" fmla="*/ 36 w 37"/>
                <a:gd name="T1" fmla="*/ 14 h 27"/>
                <a:gd name="T2" fmla="*/ 17 w 37"/>
                <a:gd name="T3" fmla="*/ 0 h 27"/>
                <a:gd name="T4" fmla="*/ 1 w 37"/>
                <a:gd name="T5" fmla="*/ 14 h 27"/>
                <a:gd name="T6" fmla="*/ 20 w 37"/>
                <a:gd name="T7" fmla="*/ 27 h 27"/>
                <a:gd name="T8" fmla="*/ 36 w 37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1"/>
                    <a:pt x="10" y="27"/>
                    <a:pt x="20" y="27"/>
                  </a:cubicBezTo>
                  <a:cubicBezTo>
                    <a:pt x="29" y="27"/>
                    <a:pt x="37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ï$ḻîḑê">
              <a:extLst>
                <a:ext uri="{FF2B5EF4-FFF2-40B4-BE49-F238E27FC236}">
                  <a16:creationId xmlns:a16="http://schemas.microsoft.com/office/drawing/2014/main" id="{268D054B-7564-4D5A-AA66-9B9AD7C112B8}"/>
                </a:ext>
              </a:extLst>
            </p:cNvPr>
            <p:cNvSpPr/>
            <p:nvPr/>
          </p:nvSpPr>
          <p:spPr bwMode="auto">
            <a:xfrm>
              <a:off x="6539310" y="3558521"/>
              <a:ext cx="135779" cy="98749"/>
            </a:xfrm>
            <a:custGeom>
              <a:avLst/>
              <a:gdLst>
                <a:gd name="T0" fmla="*/ 36 w 37"/>
                <a:gd name="T1" fmla="*/ 14 h 27"/>
                <a:gd name="T2" fmla="*/ 17 w 37"/>
                <a:gd name="T3" fmla="*/ 0 h 27"/>
                <a:gd name="T4" fmla="*/ 1 w 37"/>
                <a:gd name="T5" fmla="*/ 14 h 27"/>
                <a:gd name="T6" fmla="*/ 20 w 37"/>
                <a:gd name="T7" fmla="*/ 27 h 27"/>
                <a:gd name="T8" fmla="*/ 36 w 37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1"/>
                    <a:pt x="10" y="27"/>
                    <a:pt x="20" y="27"/>
                  </a:cubicBezTo>
                  <a:cubicBezTo>
                    <a:pt x="30" y="27"/>
                    <a:pt x="37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iṣḷîḋê">
              <a:extLst>
                <a:ext uri="{FF2B5EF4-FFF2-40B4-BE49-F238E27FC236}">
                  <a16:creationId xmlns:a16="http://schemas.microsoft.com/office/drawing/2014/main" id="{ABA5C1B2-A1AA-4934-B2E6-10EE1DD837B9}"/>
                </a:ext>
              </a:extLst>
            </p:cNvPr>
            <p:cNvSpPr/>
            <p:nvPr/>
          </p:nvSpPr>
          <p:spPr bwMode="auto">
            <a:xfrm>
              <a:off x="6699776" y="3558521"/>
              <a:ext cx="132693" cy="98749"/>
            </a:xfrm>
            <a:custGeom>
              <a:avLst/>
              <a:gdLst>
                <a:gd name="T0" fmla="*/ 36 w 36"/>
                <a:gd name="T1" fmla="*/ 14 h 27"/>
                <a:gd name="T2" fmla="*/ 16 w 36"/>
                <a:gd name="T3" fmla="*/ 0 h 27"/>
                <a:gd name="T4" fmla="*/ 0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6" y="0"/>
                    <a:pt x="16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1"/>
                    <a:pt x="10" y="27"/>
                    <a:pt x="19" y="27"/>
                  </a:cubicBezTo>
                  <a:cubicBezTo>
                    <a:pt x="29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šḷîďe">
              <a:extLst>
                <a:ext uri="{FF2B5EF4-FFF2-40B4-BE49-F238E27FC236}">
                  <a16:creationId xmlns:a16="http://schemas.microsoft.com/office/drawing/2014/main" id="{8994BB90-90A7-4171-9C4E-2549920A906B}"/>
                </a:ext>
              </a:extLst>
            </p:cNvPr>
            <p:cNvSpPr/>
            <p:nvPr/>
          </p:nvSpPr>
          <p:spPr bwMode="auto">
            <a:xfrm>
              <a:off x="5750864" y="3678870"/>
              <a:ext cx="132693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1 w 36"/>
                <a:gd name="T5" fmla="*/ 14 h 28"/>
                <a:gd name="T6" fmla="*/ 18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9" y="0"/>
                    <a:pt x="1" y="6"/>
                    <a:pt x="1" y="14"/>
                  </a:cubicBezTo>
                  <a:cubicBezTo>
                    <a:pt x="0" y="22"/>
                    <a:pt x="8" y="28"/>
                    <a:pt x="18" y="28"/>
                  </a:cubicBezTo>
                  <a:cubicBezTo>
                    <a:pt x="28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śḷidè">
              <a:extLst>
                <a:ext uri="{FF2B5EF4-FFF2-40B4-BE49-F238E27FC236}">
                  <a16:creationId xmlns:a16="http://schemas.microsoft.com/office/drawing/2014/main" id="{43B20EDE-BE27-4ECF-8E12-1E43053B89B2}"/>
                </a:ext>
              </a:extLst>
            </p:cNvPr>
            <p:cNvSpPr/>
            <p:nvPr/>
          </p:nvSpPr>
          <p:spPr bwMode="auto">
            <a:xfrm>
              <a:off x="5912874" y="3678870"/>
              <a:ext cx="131151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0 w 36"/>
                <a:gd name="T5" fmla="*/ 14 h 28"/>
                <a:gd name="T6" fmla="*/ 19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íṣḻíḓè">
              <a:extLst>
                <a:ext uri="{FF2B5EF4-FFF2-40B4-BE49-F238E27FC236}">
                  <a16:creationId xmlns:a16="http://schemas.microsoft.com/office/drawing/2014/main" id="{80C9C5B5-A5AD-4A76-9FDA-A813A4E2F960}"/>
                </a:ext>
              </a:extLst>
            </p:cNvPr>
            <p:cNvSpPr/>
            <p:nvPr/>
          </p:nvSpPr>
          <p:spPr bwMode="auto">
            <a:xfrm>
              <a:off x="6073340" y="3678870"/>
              <a:ext cx="131151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0 w 36"/>
                <a:gd name="T5" fmla="*/ 14 h 28"/>
                <a:gd name="T6" fmla="*/ 19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iṧḷïďê">
              <a:extLst>
                <a:ext uri="{FF2B5EF4-FFF2-40B4-BE49-F238E27FC236}">
                  <a16:creationId xmlns:a16="http://schemas.microsoft.com/office/drawing/2014/main" id="{48400982-E93B-4CE1-9FD2-D6B240A986CA}"/>
                </a:ext>
              </a:extLst>
            </p:cNvPr>
            <p:cNvSpPr/>
            <p:nvPr/>
          </p:nvSpPr>
          <p:spPr bwMode="auto">
            <a:xfrm>
              <a:off x="6233807" y="3678870"/>
              <a:ext cx="134237" cy="103378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išḷiďé">
              <a:extLst>
                <a:ext uri="{FF2B5EF4-FFF2-40B4-BE49-F238E27FC236}">
                  <a16:creationId xmlns:a16="http://schemas.microsoft.com/office/drawing/2014/main" id="{7FD37899-8F87-460A-8B11-CA8E6307E67E}"/>
                </a:ext>
              </a:extLst>
            </p:cNvPr>
            <p:cNvSpPr/>
            <p:nvPr/>
          </p:nvSpPr>
          <p:spPr bwMode="auto">
            <a:xfrm>
              <a:off x="6394273" y="3678870"/>
              <a:ext cx="134237" cy="103378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íš1îďe">
              <a:extLst>
                <a:ext uri="{FF2B5EF4-FFF2-40B4-BE49-F238E27FC236}">
                  <a16:creationId xmlns:a16="http://schemas.microsoft.com/office/drawing/2014/main" id="{B4EB75E9-8BC1-4DE5-9A3D-0A9DA1FDFD89}"/>
                </a:ext>
              </a:extLst>
            </p:cNvPr>
            <p:cNvSpPr/>
            <p:nvPr/>
          </p:nvSpPr>
          <p:spPr bwMode="auto">
            <a:xfrm>
              <a:off x="6550110" y="3678870"/>
              <a:ext cx="138865" cy="103378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íṩlíďe">
              <a:extLst>
                <a:ext uri="{FF2B5EF4-FFF2-40B4-BE49-F238E27FC236}">
                  <a16:creationId xmlns:a16="http://schemas.microsoft.com/office/drawing/2014/main" id="{5F477AF3-4EC8-4776-B9E2-AA12BF87398A}"/>
                </a:ext>
              </a:extLst>
            </p:cNvPr>
            <p:cNvSpPr/>
            <p:nvPr/>
          </p:nvSpPr>
          <p:spPr bwMode="auto">
            <a:xfrm>
              <a:off x="6710577" y="3678870"/>
              <a:ext cx="138865" cy="103378"/>
            </a:xfrm>
            <a:custGeom>
              <a:avLst/>
              <a:gdLst>
                <a:gd name="T0" fmla="*/ 37 w 38"/>
                <a:gd name="T1" fmla="*/ 14 h 28"/>
                <a:gd name="T2" fmla="*/ 17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1" y="14"/>
                  </a:cubicBezTo>
                  <a:cubicBezTo>
                    <a:pt x="2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iṥ1íḍê">
              <a:extLst>
                <a:ext uri="{FF2B5EF4-FFF2-40B4-BE49-F238E27FC236}">
                  <a16:creationId xmlns:a16="http://schemas.microsoft.com/office/drawing/2014/main" id="{7221CDBB-F297-4014-90F4-19FB66178CB5}"/>
                </a:ext>
              </a:extLst>
            </p:cNvPr>
            <p:cNvSpPr/>
            <p:nvPr/>
          </p:nvSpPr>
          <p:spPr bwMode="auto">
            <a:xfrm>
              <a:off x="5915960" y="3803849"/>
              <a:ext cx="131151" cy="101834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ïṧḻíḑè">
              <a:extLst>
                <a:ext uri="{FF2B5EF4-FFF2-40B4-BE49-F238E27FC236}">
                  <a16:creationId xmlns:a16="http://schemas.microsoft.com/office/drawing/2014/main" id="{C3200FC1-90F8-4E45-BB90-8020F3968814}"/>
                </a:ext>
              </a:extLst>
            </p:cNvPr>
            <p:cNvSpPr/>
            <p:nvPr/>
          </p:nvSpPr>
          <p:spPr bwMode="auto">
            <a:xfrm>
              <a:off x="6076426" y="3803849"/>
              <a:ext cx="134237" cy="101834"/>
            </a:xfrm>
            <a:custGeom>
              <a:avLst/>
              <a:gdLst>
                <a:gd name="T0" fmla="*/ 37 w 37"/>
                <a:gd name="T1" fmla="*/ 14 h 28"/>
                <a:gd name="T2" fmla="*/ 18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7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7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iṥḻïḍe">
              <a:extLst>
                <a:ext uri="{FF2B5EF4-FFF2-40B4-BE49-F238E27FC236}">
                  <a16:creationId xmlns:a16="http://schemas.microsoft.com/office/drawing/2014/main" id="{E3A51DD1-CAB7-413C-9CF1-D85C37645DAF}"/>
                </a:ext>
              </a:extLst>
            </p:cNvPr>
            <p:cNvSpPr/>
            <p:nvPr/>
          </p:nvSpPr>
          <p:spPr bwMode="auto">
            <a:xfrm>
              <a:off x="6239978" y="3803849"/>
              <a:ext cx="135779" cy="101834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íṧľiḓe">
              <a:extLst>
                <a:ext uri="{FF2B5EF4-FFF2-40B4-BE49-F238E27FC236}">
                  <a16:creationId xmlns:a16="http://schemas.microsoft.com/office/drawing/2014/main" id="{7B7110C1-19DD-4D00-8F6E-6B5F21DD60E2}"/>
                </a:ext>
              </a:extLst>
            </p:cNvPr>
            <p:cNvSpPr/>
            <p:nvPr/>
          </p:nvSpPr>
          <p:spPr bwMode="auto">
            <a:xfrm>
              <a:off x="6400445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0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íṣḷïďe">
              <a:extLst>
                <a:ext uri="{FF2B5EF4-FFF2-40B4-BE49-F238E27FC236}">
                  <a16:creationId xmlns:a16="http://schemas.microsoft.com/office/drawing/2014/main" id="{5F7B7046-1C51-40F5-9211-9E35063065B0}"/>
                </a:ext>
              </a:extLst>
            </p:cNvPr>
            <p:cNvSpPr/>
            <p:nvPr/>
          </p:nvSpPr>
          <p:spPr bwMode="auto">
            <a:xfrm>
              <a:off x="6560911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1 w 38"/>
                <a:gd name="T5" fmla="*/ 14 h 28"/>
                <a:gd name="T6" fmla="*/ 21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0" y="28"/>
                    <a:pt x="21" y="28"/>
                  </a:cubicBezTo>
                  <a:cubicBezTo>
                    <a:pt x="31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iŝḷîḓè">
              <a:extLst>
                <a:ext uri="{FF2B5EF4-FFF2-40B4-BE49-F238E27FC236}">
                  <a16:creationId xmlns:a16="http://schemas.microsoft.com/office/drawing/2014/main" id="{35C68225-2349-4CBB-B02E-D211D2918506}"/>
                </a:ext>
              </a:extLst>
            </p:cNvPr>
            <p:cNvSpPr/>
            <p:nvPr/>
          </p:nvSpPr>
          <p:spPr bwMode="auto">
            <a:xfrm>
              <a:off x="6726006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7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1" y="14"/>
                  </a:cubicBezTo>
                  <a:cubicBezTo>
                    <a:pt x="1" y="22"/>
                    <a:pt x="10" y="28"/>
                    <a:pt x="20" y="28"/>
                  </a:cubicBezTo>
                  <a:cubicBezTo>
                    <a:pt x="31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ïṣľïḋe">
              <a:extLst>
                <a:ext uri="{FF2B5EF4-FFF2-40B4-BE49-F238E27FC236}">
                  <a16:creationId xmlns:a16="http://schemas.microsoft.com/office/drawing/2014/main" id="{5D563157-9B89-4EFF-B035-14EB495F1EC6}"/>
                </a:ext>
              </a:extLst>
            </p:cNvPr>
            <p:cNvSpPr/>
            <p:nvPr/>
          </p:nvSpPr>
          <p:spPr bwMode="auto">
            <a:xfrm>
              <a:off x="5915960" y="3931914"/>
              <a:ext cx="134237" cy="104920"/>
            </a:xfrm>
            <a:custGeom>
              <a:avLst/>
              <a:gdLst>
                <a:gd name="T0" fmla="*/ 37 w 37"/>
                <a:gd name="T1" fmla="*/ 14 h 29"/>
                <a:gd name="T2" fmla="*/ 18 w 37"/>
                <a:gd name="T3" fmla="*/ 0 h 29"/>
                <a:gd name="T4" fmla="*/ 0 w 37"/>
                <a:gd name="T5" fmla="*/ 14 h 29"/>
                <a:gd name="T6" fmla="*/ 19 w 37"/>
                <a:gd name="T7" fmla="*/ 29 h 29"/>
                <a:gd name="T8" fmla="*/ 37 w 37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37" y="14"/>
                  </a:moveTo>
                  <a:cubicBezTo>
                    <a:pt x="37" y="6"/>
                    <a:pt x="29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2"/>
                    <a:pt x="9" y="29"/>
                    <a:pt x="19" y="29"/>
                  </a:cubicBezTo>
                  <a:cubicBezTo>
                    <a:pt x="29" y="29"/>
                    <a:pt x="37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îSľîḑè">
              <a:extLst>
                <a:ext uri="{FF2B5EF4-FFF2-40B4-BE49-F238E27FC236}">
                  <a16:creationId xmlns:a16="http://schemas.microsoft.com/office/drawing/2014/main" id="{DDF93A43-1F4A-4BD6-9529-60B5346CCC5C}"/>
                </a:ext>
              </a:extLst>
            </p:cNvPr>
            <p:cNvSpPr/>
            <p:nvPr/>
          </p:nvSpPr>
          <p:spPr bwMode="auto">
            <a:xfrm>
              <a:off x="6079512" y="3931914"/>
              <a:ext cx="138865" cy="104920"/>
            </a:xfrm>
            <a:custGeom>
              <a:avLst/>
              <a:gdLst>
                <a:gd name="T0" fmla="*/ 37 w 38"/>
                <a:gd name="T1" fmla="*/ 14 h 29"/>
                <a:gd name="T2" fmla="*/ 18 w 38"/>
                <a:gd name="T3" fmla="*/ 0 h 29"/>
                <a:gd name="T4" fmla="*/ 0 w 38"/>
                <a:gd name="T5" fmla="*/ 14 h 29"/>
                <a:gd name="T6" fmla="*/ 19 w 38"/>
                <a:gd name="T7" fmla="*/ 29 h 29"/>
                <a:gd name="T8" fmla="*/ 37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7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9"/>
                    <a:pt x="19" y="29"/>
                  </a:cubicBezTo>
                  <a:cubicBezTo>
                    <a:pt x="30" y="29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iṥḻiḓe">
              <a:extLst>
                <a:ext uri="{FF2B5EF4-FFF2-40B4-BE49-F238E27FC236}">
                  <a16:creationId xmlns:a16="http://schemas.microsoft.com/office/drawing/2014/main" id="{182B2A15-2D7D-480A-ADE5-32BD943C3331}"/>
                </a:ext>
              </a:extLst>
            </p:cNvPr>
            <p:cNvSpPr/>
            <p:nvPr/>
          </p:nvSpPr>
          <p:spPr bwMode="auto">
            <a:xfrm>
              <a:off x="6244607" y="3931914"/>
              <a:ext cx="138865" cy="104920"/>
            </a:xfrm>
            <a:custGeom>
              <a:avLst/>
              <a:gdLst>
                <a:gd name="T0" fmla="*/ 38 w 38"/>
                <a:gd name="T1" fmla="*/ 14 h 29"/>
                <a:gd name="T2" fmla="*/ 18 w 38"/>
                <a:gd name="T3" fmla="*/ 0 h 29"/>
                <a:gd name="T4" fmla="*/ 1 w 38"/>
                <a:gd name="T5" fmla="*/ 14 h 29"/>
                <a:gd name="T6" fmla="*/ 20 w 38"/>
                <a:gd name="T7" fmla="*/ 29 h 29"/>
                <a:gd name="T8" fmla="*/ 38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2"/>
                    <a:pt x="10" y="29"/>
                    <a:pt x="20" y="29"/>
                  </a:cubicBezTo>
                  <a:cubicBezTo>
                    <a:pt x="30" y="29"/>
                    <a:pt x="38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îSḷïdé">
              <a:extLst>
                <a:ext uri="{FF2B5EF4-FFF2-40B4-BE49-F238E27FC236}">
                  <a16:creationId xmlns:a16="http://schemas.microsoft.com/office/drawing/2014/main" id="{45462BBC-4A9B-4E89-ABC6-DC2D41B40D3F}"/>
                </a:ext>
              </a:extLst>
            </p:cNvPr>
            <p:cNvSpPr/>
            <p:nvPr/>
          </p:nvSpPr>
          <p:spPr bwMode="auto">
            <a:xfrm>
              <a:off x="6408159" y="3931914"/>
              <a:ext cx="141951" cy="104920"/>
            </a:xfrm>
            <a:custGeom>
              <a:avLst/>
              <a:gdLst>
                <a:gd name="T0" fmla="*/ 38 w 39"/>
                <a:gd name="T1" fmla="*/ 14 h 29"/>
                <a:gd name="T2" fmla="*/ 18 w 39"/>
                <a:gd name="T3" fmla="*/ 0 h 29"/>
                <a:gd name="T4" fmla="*/ 1 w 39"/>
                <a:gd name="T5" fmla="*/ 14 h 29"/>
                <a:gd name="T6" fmla="*/ 21 w 39"/>
                <a:gd name="T7" fmla="*/ 29 h 29"/>
                <a:gd name="T8" fmla="*/ 38 w 3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2"/>
                    <a:pt x="10" y="29"/>
                    <a:pt x="21" y="29"/>
                  </a:cubicBezTo>
                  <a:cubicBezTo>
                    <a:pt x="31" y="29"/>
                    <a:pt x="39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i$ḻîḋê">
              <a:extLst>
                <a:ext uri="{FF2B5EF4-FFF2-40B4-BE49-F238E27FC236}">
                  <a16:creationId xmlns:a16="http://schemas.microsoft.com/office/drawing/2014/main" id="{8D088C94-35E6-4542-8929-04950C04D3AD}"/>
                </a:ext>
              </a:extLst>
            </p:cNvPr>
            <p:cNvSpPr/>
            <p:nvPr/>
          </p:nvSpPr>
          <p:spPr bwMode="auto">
            <a:xfrm>
              <a:off x="6573255" y="3931914"/>
              <a:ext cx="141951" cy="104920"/>
            </a:xfrm>
            <a:custGeom>
              <a:avLst/>
              <a:gdLst>
                <a:gd name="T0" fmla="*/ 38 w 39"/>
                <a:gd name="T1" fmla="*/ 14 h 29"/>
                <a:gd name="T2" fmla="*/ 18 w 39"/>
                <a:gd name="T3" fmla="*/ 0 h 29"/>
                <a:gd name="T4" fmla="*/ 1 w 39"/>
                <a:gd name="T5" fmla="*/ 14 h 29"/>
                <a:gd name="T6" fmla="*/ 21 w 39"/>
                <a:gd name="T7" fmla="*/ 29 h 29"/>
                <a:gd name="T8" fmla="*/ 38 w 3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1" y="29"/>
                    <a:pt x="21" y="29"/>
                  </a:cubicBezTo>
                  <a:cubicBezTo>
                    <a:pt x="31" y="29"/>
                    <a:pt x="39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îṡḷîdê">
              <a:extLst>
                <a:ext uri="{FF2B5EF4-FFF2-40B4-BE49-F238E27FC236}">
                  <a16:creationId xmlns:a16="http://schemas.microsoft.com/office/drawing/2014/main" id="{C8ED2BD9-CC3C-4377-8927-175630DD96AB}"/>
                </a:ext>
              </a:extLst>
            </p:cNvPr>
            <p:cNvSpPr/>
            <p:nvPr/>
          </p:nvSpPr>
          <p:spPr bwMode="auto">
            <a:xfrm>
              <a:off x="6739893" y="3931914"/>
              <a:ext cx="138865" cy="104920"/>
            </a:xfrm>
            <a:custGeom>
              <a:avLst/>
              <a:gdLst>
                <a:gd name="T0" fmla="*/ 37 w 38"/>
                <a:gd name="T1" fmla="*/ 14 h 29"/>
                <a:gd name="T2" fmla="*/ 17 w 38"/>
                <a:gd name="T3" fmla="*/ 0 h 29"/>
                <a:gd name="T4" fmla="*/ 0 w 38"/>
                <a:gd name="T5" fmla="*/ 14 h 29"/>
                <a:gd name="T6" fmla="*/ 21 w 38"/>
                <a:gd name="T7" fmla="*/ 29 h 29"/>
                <a:gd name="T8" fmla="*/ 37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2"/>
                    <a:pt x="10" y="29"/>
                    <a:pt x="21" y="29"/>
                  </a:cubicBezTo>
                  <a:cubicBezTo>
                    <a:pt x="31" y="29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îŝļíḑê">
              <a:extLst>
                <a:ext uri="{FF2B5EF4-FFF2-40B4-BE49-F238E27FC236}">
                  <a16:creationId xmlns:a16="http://schemas.microsoft.com/office/drawing/2014/main" id="{92E2C1A9-D21E-4763-9EDA-26B013DC5314}"/>
                </a:ext>
              </a:extLst>
            </p:cNvPr>
            <p:cNvSpPr/>
            <p:nvPr/>
          </p:nvSpPr>
          <p:spPr bwMode="auto">
            <a:xfrm>
              <a:off x="5750864" y="4063064"/>
              <a:ext cx="135779" cy="10955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ïšḻíḓè">
              <a:extLst>
                <a:ext uri="{FF2B5EF4-FFF2-40B4-BE49-F238E27FC236}">
                  <a16:creationId xmlns:a16="http://schemas.microsoft.com/office/drawing/2014/main" id="{BF196065-BFC0-4A79-B87C-A05C714E1CEB}"/>
                </a:ext>
              </a:extLst>
            </p:cNvPr>
            <p:cNvSpPr/>
            <p:nvPr/>
          </p:nvSpPr>
          <p:spPr bwMode="auto">
            <a:xfrm>
              <a:off x="5915960" y="4063064"/>
              <a:ext cx="138865" cy="109550"/>
            </a:xfrm>
            <a:custGeom>
              <a:avLst/>
              <a:gdLst>
                <a:gd name="T0" fmla="*/ 38 w 38"/>
                <a:gd name="T1" fmla="*/ 15 h 30"/>
                <a:gd name="T2" fmla="*/ 19 w 38"/>
                <a:gd name="T3" fmla="*/ 0 h 30"/>
                <a:gd name="T4" fmla="*/ 1 w 38"/>
                <a:gd name="T5" fmla="*/ 15 h 30"/>
                <a:gd name="T6" fmla="*/ 20 w 38"/>
                <a:gd name="T7" fmla="*/ 30 h 30"/>
                <a:gd name="T8" fmla="*/ 38 w 38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38" y="15"/>
                  </a:moveTo>
                  <a:cubicBezTo>
                    <a:pt x="38" y="6"/>
                    <a:pt x="29" y="0"/>
                    <a:pt x="19" y="0"/>
                  </a:cubicBezTo>
                  <a:cubicBezTo>
                    <a:pt x="9" y="0"/>
                    <a:pt x="0" y="6"/>
                    <a:pt x="1" y="15"/>
                  </a:cubicBezTo>
                  <a:cubicBezTo>
                    <a:pt x="1" y="23"/>
                    <a:pt x="9" y="30"/>
                    <a:pt x="20" y="30"/>
                  </a:cubicBezTo>
                  <a:cubicBezTo>
                    <a:pt x="30" y="30"/>
                    <a:pt x="38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işḻîdé">
              <a:extLst>
                <a:ext uri="{FF2B5EF4-FFF2-40B4-BE49-F238E27FC236}">
                  <a16:creationId xmlns:a16="http://schemas.microsoft.com/office/drawing/2014/main" id="{17305F72-5819-4317-AAE9-7040CA1539B4}"/>
                </a:ext>
              </a:extLst>
            </p:cNvPr>
            <p:cNvSpPr/>
            <p:nvPr/>
          </p:nvSpPr>
          <p:spPr bwMode="auto">
            <a:xfrm>
              <a:off x="6084140" y="4063064"/>
              <a:ext cx="138865" cy="109550"/>
            </a:xfrm>
            <a:custGeom>
              <a:avLst/>
              <a:gdLst>
                <a:gd name="T0" fmla="*/ 38 w 38"/>
                <a:gd name="T1" fmla="*/ 15 h 30"/>
                <a:gd name="T2" fmla="*/ 19 w 38"/>
                <a:gd name="T3" fmla="*/ 0 h 30"/>
                <a:gd name="T4" fmla="*/ 1 w 38"/>
                <a:gd name="T5" fmla="*/ 15 h 30"/>
                <a:gd name="T6" fmla="*/ 20 w 38"/>
                <a:gd name="T7" fmla="*/ 30 h 30"/>
                <a:gd name="T8" fmla="*/ 38 w 38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38" y="15"/>
                  </a:moveTo>
                  <a:cubicBezTo>
                    <a:pt x="38" y="6"/>
                    <a:pt x="29" y="0"/>
                    <a:pt x="19" y="0"/>
                  </a:cubicBezTo>
                  <a:cubicBezTo>
                    <a:pt x="8" y="0"/>
                    <a:pt x="0" y="6"/>
                    <a:pt x="1" y="15"/>
                  </a:cubicBezTo>
                  <a:cubicBezTo>
                    <a:pt x="1" y="23"/>
                    <a:pt x="9" y="30"/>
                    <a:pt x="20" y="30"/>
                  </a:cubicBezTo>
                  <a:cubicBezTo>
                    <a:pt x="30" y="30"/>
                    <a:pt x="38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îşļïḑe">
              <a:extLst>
                <a:ext uri="{FF2B5EF4-FFF2-40B4-BE49-F238E27FC236}">
                  <a16:creationId xmlns:a16="http://schemas.microsoft.com/office/drawing/2014/main" id="{A95FC222-6190-40F8-AADE-31375E5E6325}"/>
                </a:ext>
              </a:extLst>
            </p:cNvPr>
            <p:cNvSpPr/>
            <p:nvPr/>
          </p:nvSpPr>
          <p:spPr bwMode="auto">
            <a:xfrm>
              <a:off x="6250779" y="4063064"/>
              <a:ext cx="143495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0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9" y="0"/>
                    <a:pt x="18" y="0"/>
                  </a:cubicBezTo>
                  <a:cubicBezTo>
                    <a:pt x="8" y="0"/>
                    <a:pt x="0" y="6"/>
                    <a:pt x="0" y="15"/>
                  </a:cubicBezTo>
                  <a:cubicBezTo>
                    <a:pt x="1" y="23"/>
                    <a:pt x="10" y="30"/>
                    <a:pt x="20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iSḷîďè">
              <a:extLst>
                <a:ext uri="{FF2B5EF4-FFF2-40B4-BE49-F238E27FC236}">
                  <a16:creationId xmlns:a16="http://schemas.microsoft.com/office/drawing/2014/main" id="{464ECF1E-2194-47E4-A2E7-E9009478B1F6}"/>
                </a:ext>
              </a:extLst>
            </p:cNvPr>
            <p:cNvSpPr/>
            <p:nvPr/>
          </p:nvSpPr>
          <p:spPr bwMode="auto">
            <a:xfrm>
              <a:off x="6418960" y="4063064"/>
              <a:ext cx="141951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0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0" y="15"/>
                  </a:cubicBezTo>
                  <a:cubicBezTo>
                    <a:pt x="1" y="23"/>
                    <a:pt x="10" y="30"/>
                    <a:pt x="20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îṩľiḍe">
              <a:extLst>
                <a:ext uri="{FF2B5EF4-FFF2-40B4-BE49-F238E27FC236}">
                  <a16:creationId xmlns:a16="http://schemas.microsoft.com/office/drawing/2014/main" id="{B7E8A6F0-AC18-4F8B-9697-25BE27A9834A}"/>
                </a:ext>
              </a:extLst>
            </p:cNvPr>
            <p:cNvSpPr/>
            <p:nvPr/>
          </p:nvSpPr>
          <p:spPr bwMode="auto">
            <a:xfrm>
              <a:off x="6587141" y="4063064"/>
              <a:ext cx="141951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1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1" y="23"/>
                    <a:pt x="10" y="30"/>
                    <a:pt x="21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î$ľïďe">
              <a:extLst>
                <a:ext uri="{FF2B5EF4-FFF2-40B4-BE49-F238E27FC236}">
                  <a16:creationId xmlns:a16="http://schemas.microsoft.com/office/drawing/2014/main" id="{257A7C22-23F7-4DF9-87D6-7485053033BF}"/>
                </a:ext>
              </a:extLst>
            </p:cNvPr>
            <p:cNvSpPr/>
            <p:nvPr/>
          </p:nvSpPr>
          <p:spPr bwMode="auto">
            <a:xfrm>
              <a:off x="6750693" y="4063064"/>
              <a:ext cx="146580" cy="109550"/>
            </a:xfrm>
            <a:custGeom>
              <a:avLst/>
              <a:gdLst>
                <a:gd name="T0" fmla="*/ 39 w 40"/>
                <a:gd name="T1" fmla="*/ 15 h 30"/>
                <a:gd name="T2" fmla="*/ 18 w 40"/>
                <a:gd name="T3" fmla="*/ 0 h 30"/>
                <a:gd name="T4" fmla="*/ 1 w 40"/>
                <a:gd name="T5" fmla="*/ 15 h 30"/>
                <a:gd name="T6" fmla="*/ 22 w 40"/>
                <a:gd name="T7" fmla="*/ 30 h 30"/>
                <a:gd name="T8" fmla="*/ 39 w 4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39" y="15"/>
                  </a:moveTo>
                  <a:cubicBezTo>
                    <a:pt x="38" y="6"/>
                    <a:pt x="29" y="0"/>
                    <a:pt x="18" y="0"/>
                  </a:cubicBezTo>
                  <a:cubicBezTo>
                    <a:pt x="8" y="0"/>
                    <a:pt x="0" y="6"/>
                    <a:pt x="1" y="15"/>
                  </a:cubicBezTo>
                  <a:cubicBezTo>
                    <a:pt x="2" y="23"/>
                    <a:pt x="11" y="30"/>
                    <a:pt x="22" y="30"/>
                  </a:cubicBezTo>
                  <a:cubicBezTo>
                    <a:pt x="32" y="30"/>
                    <a:pt x="40" y="23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îšļîḍè">
              <a:extLst>
                <a:ext uri="{FF2B5EF4-FFF2-40B4-BE49-F238E27FC236}">
                  <a16:creationId xmlns:a16="http://schemas.microsoft.com/office/drawing/2014/main" id="{4B73C483-CE1F-4674-87C3-91138B611B33}"/>
                </a:ext>
              </a:extLst>
            </p:cNvPr>
            <p:cNvSpPr/>
            <p:nvPr/>
          </p:nvSpPr>
          <p:spPr bwMode="auto">
            <a:xfrm>
              <a:off x="5919046" y="4198843"/>
              <a:ext cx="138865" cy="112636"/>
            </a:xfrm>
            <a:custGeom>
              <a:avLst/>
              <a:gdLst>
                <a:gd name="T0" fmla="*/ 38 w 38"/>
                <a:gd name="T1" fmla="*/ 15 h 31"/>
                <a:gd name="T2" fmla="*/ 19 w 38"/>
                <a:gd name="T3" fmla="*/ 0 h 31"/>
                <a:gd name="T4" fmla="*/ 0 w 38"/>
                <a:gd name="T5" fmla="*/ 15 h 31"/>
                <a:gd name="T6" fmla="*/ 19 w 38"/>
                <a:gd name="T7" fmla="*/ 31 h 31"/>
                <a:gd name="T8" fmla="*/ 38 w 3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1">
                  <a:moveTo>
                    <a:pt x="38" y="15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5"/>
                  </a:cubicBezTo>
                  <a:cubicBezTo>
                    <a:pt x="0" y="24"/>
                    <a:pt x="9" y="31"/>
                    <a:pt x="19" y="31"/>
                  </a:cubicBezTo>
                  <a:cubicBezTo>
                    <a:pt x="30" y="31"/>
                    <a:pt x="38" y="24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ïşlide">
              <a:extLst>
                <a:ext uri="{FF2B5EF4-FFF2-40B4-BE49-F238E27FC236}">
                  <a16:creationId xmlns:a16="http://schemas.microsoft.com/office/drawing/2014/main" id="{23C623FA-557E-4D57-8B89-DB3B0F6743C2}"/>
                </a:ext>
              </a:extLst>
            </p:cNvPr>
            <p:cNvSpPr/>
            <p:nvPr/>
          </p:nvSpPr>
          <p:spPr bwMode="auto">
            <a:xfrm>
              <a:off x="6087226" y="4198843"/>
              <a:ext cx="141951" cy="112636"/>
            </a:xfrm>
            <a:custGeom>
              <a:avLst/>
              <a:gdLst>
                <a:gd name="T0" fmla="*/ 39 w 39"/>
                <a:gd name="T1" fmla="*/ 15 h 31"/>
                <a:gd name="T2" fmla="*/ 19 w 39"/>
                <a:gd name="T3" fmla="*/ 0 h 31"/>
                <a:gd name="T4" fmla="*/ 1 w 39"/>
                <a:gd name="T5" fmla="*/ 15 h 31"/>
                <a:gd name="T6" fmla="*/ 20 w 39"/>
                <a:gd name="T7" fmla="*/ 31 h 31"/>
                <a:gd name="T8" fmla="*/ 39 w 39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1">
                  <a:moveTo>
                    <a:pt x="39" y="15"/>
                  </a:moveTo>
                  <a:cubicBezTo>
                    <a:pt x="38" y="7"/>
                    <a:pt x="30" y="0"/>
                    <a:pt x="19" y="0"/>
                  </a:cubicBezTo>
                  <a:cubicBezTo>
                    <a:pt x="9" y="0"/>
                    <a:pt x="0" y="7"/>
                    <a:pt x="1" y="15"/>
                  </a:cubicBezTo>
                  <a:cubicBezTo>
                    <a:pt x="1" y="24"/>
                    <a:pt x="10" y="31"/>
                    <a:pt x="20" y="31"/>
                  </a:cubicBezTo>
                  <a:cubicBezTo>
                    <a:pt x="31" y="31"/>
                    <a:pt x="39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išlîḋè">
              <a:extLst>
                <a:ext uri="{FF2B5EF4-FFF2-40B4-BE49-F238E27FC236}">
                  <a16:creationId xmlns:a16="http://schemas.microsoft.com/office/drawing/2014/main" id="{899BF214-F322-4B48-B56E-1B13C1926EF9}"/>
                </a:ext>
              </a:extLst>
            </p:cNvPr>
            <p:cNvSpPr/>
            <p:nvPr/>
          </p:nvSpPr>
          <p:spPr bwMode="auto">
            <a:xfrm>
              <a:off x="6258494" y="4198843"/>
              <a:ext cx="141951" cy="112636"/>
            </a:xfrm>
            <a:custGeom>
              <a:avLst/>
              <a:gdLst>
                <a:gd name="T0" fmla="*/ 38 w 39"/>
                <a:gd name="T1" fmla="*/ 15 h 31"/>
                <a:gd name="T2" fmla="*/ 18 w 39"/>
                <a:gd name="T3" fmla="*/ 0 h 31"/>
                <a:gd name="T4" fmla="*/ 0 w 39"/>
                <a:gd name="T5" fmla="*/ 15 h 31"/>
                <a:gd name="T6" fmla="*/ 20 w 39"/>
                <a:gd name="T7" fmla="*/ 31 h 31"/>
                <a:gd name="T8" fmla="*/ 38 w 39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1">
                  <a:moveTo>
                    <a:pt x="38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0" y="15"/>
                  </a:cubicBezTo>
                  <a:cubicBezTo>
                    <a:pt x="1" y="24"/>
                    <a:pt x="10" y="31"/>
                    <a:pt x="20" y="31"/>
                  </a:cubicBezTo>
                  <a:cubicBezTo>
                    <a:pt x="31" y="31"/>
                    <a:pt x="39" y="24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iśḻîḓè">
              <a:extLst>
                <a:ext uri="{FF2B5EF4-FFF2-40B4-BE49-F238E27FC236}">
                  <a16:creationId xmlns:a16="http://schemas.microsoft.com/office/drawing/2014/main" id="{048E2384-8FBD-46E2-881E-46663FB4148E}"/>
                </a:ext>
              </a:extLst>
            </p:cNvPr>
            <p:cNvSpPr/>
            <p:nvPr/>
          </p:nvSpPr>
          <p:spPr bwMode="auto">
            <a:xfrm>
              <a:off x="6426674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9 w 40"/>
                <a:gd name="T3" fmla="*/ 0 h 31"/>
                <a:gd name="T4" fmla="*/ 1 w 40"/>
                <a:gd name="T5" fmla="*/ 15 h 31"/>
                <a:gd name="T6" fmla="*/ 21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2" y="24"/>
                    <a:pt x="11" y="31"/>
                    <a:pt x="21" y="31"/>
                  </a:cubicBezTo>
                  <a:cubicBezTo>
                    <a:pt x="32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ïSľïdê">
              <a:extLst>
                <a:ext uri="{FF2B5EF4-FFF2-40B4-BE49-F238E27FC236}">
                  <a16:creationId xmlns:a16="http://schemas.microsoft.com/office/drawing/2014/main" id="{275E1430-1818-41CD-9A2D-FAEB60155256}"/>
                </a:ext>
              </a:extLst>
            </p:cNvPr>
            <p:cNvSpPr/>
            <p:nvPr/>
          </p:nvSpPr>
          <p:spPr bwMode="auto">
            <a:xfrm>
              <a:off x="6597942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8 w 40"/>
                <a:gd name="T3" fmla="*/ 0 h 31"/>
                <a:gd name="T4" fmla="*/ 1 w 40"/>
                <a:gd name="T5" fmla="*/ 15 h 31"/>
                <a:gd name="T6" fmla="*/ 21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1" y="24"/>
                    <a:pt x="11" y="31"/>
                    <a:pt x="21" y="31"/>
                  </a:cubicBezTo>
                  <a:cubicBezTo>
                    <a:pt x="32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iṣḻídé">
              <a:extLst>
                <a:ext uri="{FF2B5EF4-FFF2-40B4-BE49-F238E27FC236}">
                  <a16:creationId xmlns:a16="http://schemas.microsoft.com/office/drawing/2014/main" id="{65A5960F-57DC-478A-883F-4F285A4CDA5E}"/>
                </a:ext>
              </a:extLst>
            </p:cNvPr>
            <p:cNvSpPr/>
            <p:nvPr/>
          </p:nvSpPr>
          <p:spPr bwMode="auto">
            <a:xfrm>
              <a:off x="5919046" y="4337708"/>
              <a:ext cx="143495" cy="115721"/>
            </a:xfrm>
            <a:custGeom>
              <a:avLst/>
              <a:gdLst>
                <a:gd name="T0" fmla="*/ 39 w 39"/>
                <a:gd name="T1" fmla="*/ 16 h 32"/>
                <a:gd name="T2" fmla="*/ 19 w 39"/>
                <a:gd name="T3" fmla="*/ 0 h 32"/>
                <a:gd name="T4" fmla="*/ 0 w 39"/>
                <a:gd name="T5" fmla="*/ 16 h 32"/>
                <a:gd name="T6" fmla="*/ 20 w 39"/>
                <a:gd name="T7" fmla="*/ 32 h 32"/>
                <a:gd name="T8" fmla="*/ 39 w 3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2">
                  <a:moveTo>
                    <a:pt x="39" y="16"/>
                  </a:moveTo>
                  <a:cubicBezTo>
                    <a:pt x="39" y="7"/>
                    <a:pt x="30" y="0"/>
                    <a:pt x="19" y="0"/>
                  </a:cubicBezTo>
                  <a:cubicBezTo>
                    <a:pt x="9" y="0"/>
                    <a:pt x="0" y="7"/>
                    <a:pt x="0" y="16"/>
                  </a:cubicBezTo>
                  <a:cubicBezTo>
                    <a:pt x="0" y="25"/>
                    <a:pt x="9" y="32"/>
                    <a:pt x="20" y="32"/>
                  </a:cubicBezTo>
                  <a:cubicBezTo>
                    <a:pt x="31" y="32"/>
                    <a:pt x="39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îṥļíḓê">
              <a:extLst>
                <a:ext uri="{FF2B5EF4-FFF2-40B4-BE49-F238E27FC236}">
                  <a16:creationId xmlns:a16="http://schemas.microsoft.com/office/drawing/2014/main" id="{1B365BEE-7E59-47B1-8DE4-9A85C62C50E6}"/>
                </a:ext>
              </a:extLst>
            </p:cNvPr>
            <p:cNvSpPr/>
            <p:nvPr/>
          </p:nvSpPr>
          <p:spPr bwMode="auto">
            <a:xfrm>
              <a:off x="6094941" y="4337708"/>
              <a:ext cx="141951" cy="115721"/>
            </a:xfrm>
            <a:custGeom>
              <a:avLst/>
              <a:gdLst>
                <a:gd name="T0" fmla="*/ 39 w 39"/>
                <a:gd name="T1" fmla="*/ 16 h 32"/>
                <a:gd name="T2" fmla="*/ 19 w 39"/>
                <a:gd name="T3" fmla="*/ 0 h 32"/>
                <a:gd name="T4" fmla="*/ 0 w 39"/>
                <a:gd name="T5" fmla="*/ 16 h 32"/>
                <a:gd name="T6" fmla="*/ 20 w 39"/>
                <a:gd name="T7" fmla="*/ 32 h 32"/>
                <a:gd name="T8" fmla="*/ 39 w 3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2">
                  <a:moveTo>
                    <a:pt x="39" y="16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9" y="32"/>
                    <a:pt x="20" y="32"/>
                  </a:cubicBezTo>
                  <a:cubicBezTo>
                    <a:pt x="31" y="32"/>
                    <a:pt x="39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ïṥliďé">
              <a:extLst>
                <a:ext uri="{FF2B5EF4-FFF2-40B4-BE49-F238E27FC236}">
                  <a16:creationId xmlns:a16="http://schemas.microsoft.com/office/drawing/2014/main" id="{BF3D7FCE-DC2C-484D-8B78-5898225C94AB}"/>
                </a:ext>
              </a:extLst>
            </p:cNvPr>
            <p:cNvSpPr/>
            <p:nvPr/>
          </p:nvSpPr>
          <p:spPr bwMode="auto">
            <a:xfrm>
              <a:off x="6266208" y="4337708"/>
              <a:ext cx="146580" cy="115721"/>
            </a:xfrm>
            <a:custGeom>
              <a:avLst/>
              <a:gdLst>
                <a:gd name="T0" fmla="*/ 39 w 40"/>
                <a:gd name="T1" fmla="*/ 16 h 32"/>
                <a:gd name="T2" fmla="*/ 19 w 40"/>
                <a:gd name="T3" fmla="*/ 0 h 32"/>
                <a:gd name="T4" fmla="*/ 0 w 40"/>
                <a:gd name="T5" fmla="*/ 16 h 32"/>
                <a:gd name="T6" fmla="*/ 21 w 40"/>
                <a:gd name="T7" fmla="*/ 32 h 32"/>
                <a:gd name="T8" fmla="*/ 39 w 40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2">
                  <a:moveTo>
                    <a:pt x="39" y="16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1" y="25"/>
                    <a:pt x="10" y="32"/>
                    <a:pt x="21" y="32"/>
                  </a:cubicBezTo>
                  <a:cubicBezTo>
                    <a:pt x="31" y="32"/>
                    <a:pt x="40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ïşḻiďé">
              <a:extLst>
                <a:ext uri="{FF2B5EF4-FFF2-40B4-BE49-F238E27FC236}">
                  <a16:creationId xmlns:a16="http://schemas.microsoft.com/office/drawing/2014/main" id="{EBA163E4-6B91-46B7-91AB-7059A544E04D}"/>
                </a:ext>
              </a:extLst>
            </p:cNvPr>
            <p:cNvSpPr/>
            <p:nvPr/>
          </p:nvSpPr>
          <p:spPr bwMode="auto">
            <a:xfrm>
              <a:off x="6437476" y="4337708"/>
              <a:ext cx="146580" cy="115721"/>
            </a:xfrm>
            <a:custGeom>
              <a:avLst/>
              <a:gdLst>
                <a:gd name="T0" fmla="*/ 39 w 40"/>
                <a:gd name="T1" fmla="*/ 16 h 32"/>
                <a:gd name="T2" fmla="*/ 19 w 40"/>
                <a:gd name="T3" fmla="*/ 0 h 32"/>
                <a:gd name="T4" fmla="*/ 1 w 40"/>
                <a:gd name="T5" fmla="*/ 16 h 32"/>
                <a:gd name="T6" fmla="*/ 21 w 40"/>
                <a:gd name="T7" fmla="*/ 32 h 32"/>
                <a:gd name="T8" fmla="*/ 39 w 40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2">
                  <a:moveTo>
                    <a:pt x="39" y="16"/>
                  </a:moveTo>
                  <a:cubicBezTo>
                    <a:pt x="39" y="7"/>
                    <a:pt x="29" y="0"/>
                    <a:pt x="19" y="0"/>
                  </a:cubicBezTo>
                  <a:cubicBezTo>
                    <a:pt x="8" y="0"/>
                    <a:pt x="0" y="7"/>
                    <a:pt x="1" y="16"/>
                  </a:cubicBezTo>
                  <a:cubicBezTo>
                    <a:pt x="1" y="25"/>
                    <a:pt x="11" y="32"/>
                    <a:pt x="21" y="32"/>
                  </a:cubicBezTo>
                  <a:cubicBezTo>
                    <a:pt x="32" y="32"/>
                    <a:pt x="40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işlíḑè">
              <a:extLst>
                <a:ext uri="{FF2B5EF4-FFF2-40B4-BE49-F238E27FC236}">
                  <a16:creationId xmlns:a16="http://schemas.microsoft.com/office/drawing/2014/main" id="{4B9D74DB-722D-4C9A-A316-0C7F33BCE481}"/>
                </a:ext>
              </a:extLst>
            </p:cNvPr>
            <p:cNvSpPr/>
            <p:nvPr/>
          </p:nvSpPr>
          <p:spPr bwMode="auto">
            <a:xfrm>
              <a:off x="5923674" y="4479659"/>
              <a:ext cx="141951" cy="123436"/>
            </a:xfrm>
            <a:custGeom>
              <a:avLst/>
              <a:gdLst>
                <a:gd name="T0" fmla="*/ 39 w 39"/>
                <a:gd name="T1" fmla="*/ 17 h 34"/>
                <a:gd name="T2" fmla="*/ 19 w 39"/>
                <a:gd name="T3" fmla="*/ 0 h 34"/>
                <a:gd name="T4" fmla="*/ 0 w 39"/>
                <a:gd name="T5" fmla="*/ 17 h 34"/>
                <a:gd name="T6" fmla="*/ 20 w 39"/>
                <a:gd name="T7" fmla="*/ 34 h 34"/>
                <a:gd name="T8" fmla="*/ 39 w 3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4">
                  <a:moveTo>
                    <a:pt x="39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9" y="34"/>
                    <a:pt x="20" y="34"/>
                  </a:cubicBezTo>
                  <a:cubicBezTo>
                    <a:pt x="31" y="34"/>
                    <a:pt x="39" y="26"/>
                    <a:pt x="3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ïSḻíďè">
              <a:extLst>
                <a:ext uri="{FF2B5EF4-FFF2-40B4-BE49-F238E27FC236}">
                  <a16:creationId xmlns:a16="http://schemas.microsoft.com/office/drawing/2014/main" id="{7F65875C-A314-4AEB-894E-B52A7FBA9983}"/>
                </a:ext>
              </a:extLst>
            </p:cNvPr>
            <p:cNvSpPr/>
            <p:nvPr/>
          </p:nvSpPr>
          <p:spPr bwMode="auto">
            <a:xfrm>
              <a:off x="6098027" y="4479659"/>
              <a:ext cx="146580" cy="123436"/>
            </a:xfrm>
            <a:custGeom>
              <a:avLst/>
              <a:gdLst>
                <a:gd name="T0" fmla="*/ 39 w 40"/>
                <a:gd name="T1" fmla="*/ 17 h 34"/>
                <a:gd name="T2" fmla="*/ 19 w 40"/>
                <a:gd name="T3" fmla="*/ 0 h 34"/>
                <a:gd name="T4" fmla="*/ 0 w 40"/>
                <a:gd name="T5" fmla="*/ 17 h 34"/>
                <a:gd name="T6" fmla="*/ 20 w 40"/>
                <a:gd name="T7" fmla="*/ 34 h 34"/>
                <a:gd name="T8" fmla="*/ 39 w 4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4">
                  <a:moveTo>
                    <a:pt x="39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9" y="34"/>
                    <a:pt x="20" y="34"/>
                  </a:cubicBezTo>
                  <a:cubicBezTo>
                    <a:pt x="31" y="34"/>
                    <a:pt x="40" y="26"/>
                    <a:pt x="3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iŝḷîdé">
              <a:extLst>
                <a:ext uri="{FF2B5EF4-FFF2-40B4-BE49-F238E27FC236}">
                  <a16:creationId xmlns:a16="http://schemas.microsoft.com/office/drawing/2014/main" id="{CCC86ACF-9BBD-416C-99B7-B96EB2933024}"/>
                </a:ext>
              </a:extLst>
            </p:cNvPr>
            <p:cNvSpPr/>
            <p:nvPr/>
          </p:nvSpPr>
          <p:spPr bwMode="auto">
            <a:xfrm>
              <a:off x="6273923" y="4479659"/>
              <a:ext cx="145037" cy="123436"/>
            </a:xfrm>
            <a:custGeom>
              <a:avLst/>
              <a:gdLst>
                <a:gd name="T0" fmla="*/ 40 w 40"/>
                <a:gd name="T1" fmla="*/ 17 h 34"/>
                <a:gd name="T2" fmla="*/ 19 w 40"/>
                <a:gd name="T3" fmla="*/ 0 h 34"/>
                <a:gd name="T4" fmla="*/ 0 w 40"/>
                <a:gd name="T5" fmla="*/ 17 h 34"/>
                <a:gd name="T6" fmla="*/ 21 w 40"/>
                <a:gd name="T7" fmla="*/ 34 h 34"/>
                <a:gd name="T8" fmla="*/ 40 w 4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4">
                  <a:moveTo>
                    <a:pt x="40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6"/>
                    <a:pt x="10" y="34"/>
                    <a:pt x="21" y="34"/>
                  </a:cubicBezTo>
                  <a:cubicBezTo>
                    <a:pt x="32" y="34"/>
                    <a:pt x="40" y="26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ṥļiḓe">
              <a:extLst>
                <a:ext uri="{FF2B5EF4-FFF2-40B4-BE49-F238E27FC236}">
                  <a16:creationId xmlns:a16="http://schemas.microsoft.com/office/drawing/2014/main" id="{37CC428E-BFA4-4B11-8B7C-C93DF0256EA1}"/>
                </a:ext>
              </a:extLst>
            </p:cNvPr>
            <p:cNvSpPr/>
            <p:nvPr/>
          </p:nvSpPr>
          <p:spPr bwMode="auto">
            <a:xfrm>
              <a:off x="6448276" y="4479659"/>
              <a:ext cx="149666" cy="123436"/>
            </a:xfrm>
            <a:custGeom>
              <a:avLst/>
              <a:gdLst>
                <a:gd name="T0" fmla="*/ 40 w 41"/>
                <a:gd name="T1" fmla="*/ 17 h 34"/>
                <a:gd name="T2" fmla="*/ 19 w 41"/>
                <a:gd name="T3" fmla="*/ 0 h 34"/>
                <a:gd name="T4" fmla="*/ 0 w 41"/>
                <a:gd name="T5" fmla="*/ 17 h 34"/>
                <a:gd name="T6" fmla="*/ 21 w 41"/>
                <a:gd name="T7" fmla="*/ 34 h 34"/>
                <a:gd name="T8" fmla="*/ 40 w 41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4">
                  <a:moveTo>
                    <a:pt x="40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6"/>
                    <a:pt x="10" y="34"/>
                    <a:pt x="21" y="34"/>
                  </a:cubicBezTo>
                  <a:cubicBezTo>
                    <a:pt x="32" y="34"/>
                    <a:pt x="41" y="26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ïŝ1ïďe">
              <a:extLst>
                <a:ext uri="{FF2B5EF4-FFF2-40B4-BE49-F238E27FC236}">
                  <a16:creationId xmlns:a16="http://schemas.microsoft.com/office/drawing/2014/main" id="{D793EBEA-9C3E-4C8A-89B2-F9E0F8FEE590}"/>
                </a:ext>
              </a:extLst>
            </p:cNvPr>
            <p:cNvSpPr/>
            <p:nvPr/>
          </p:nvSpPr>
          <p:spPr bwMode="auto">
            <a:xfrm>
              <a:off x="6102656" y="4629325"/>
              <a:ext cx="148123" cy="128065"/>
            </a:xfrm>
            <a:custGeom>
              <a:avLst/>
              <a:gdLst>
                <a:gd name="T0" fmla="*/ 40 w 41"/>
                <a:gd name="T1" fmla="*/ 17 h 35"/>
                <a:gd name="T2" fmla="*/ 20 w 41"/>
                <a:gd name="T3" fmla="*/ 0 h 35"/>
                <a:gd name="T4" fmla="*/ 0 w 41"/>
                <a:gd name="T5" fmla="*/ 17 h 35"/>
                <a:gd name="T6" fmla="*/ 21 w 41"/>
                <a:gd name="T7" fmla="*/ 35 h 35"/>
                <a:gd name="T8" fmla="*/ 40 w 4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5">
                  <a:moveTo>
                    <a:pt x="40" y="17"/>
                  </a:moveTo>
                  <a:cubicBezTo>
                    <a:pt x="40" y="8"/>
                    <a:pt x="31" y="0"/>
                    <a:pt x="20" y="0"/>
                  </a:cubicBezTo>
                  <a:cubicBezTo>
                    <a:pt x="9" y="0"/>
                    <a:pt x="0" y="8"/>
                    <a:pt x="0" y="17"/>
                  </a:cubicBezTo>
                  <a:cubicBezTo>
                    <a:pt x="1" y="27"/>
                    <a:pt x="10" y="35"/>
                    <a:pt x="21" y="35"/>
                  </a:cubicBezTo>
                  <a:cubicBezTo>
                    <a:pt x="32" y="35"/>
                    <a:pt x="41" y="27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ï$ļíḋe">
              <a:extLst>
                <a:ext uri="{FF2B5EF4-FFF2-40B4-BE49-F238E27FC236}">
                  <a16:creationId xmlns:a16="http://schemas.microsoft.com/office/drawing/2014/main" id="{082407AB-AE9E-4AED-9BDD-AB37A4C2CBDB}"/>
                </a:ext>
              </a:extLst>
            </p:cNvPr>
            <p:cNvSpPr/>
            <p:nvPr/>
          </p:nvSpPr>
          <p:spPr bwMode="auto">
            <a:xfrm>
              <a:off x="6280095" y="4629325"/>
              <a:ext cx="149666" cy="128065"/>
            </a:xfrm>
            <a:custGeom>
              <a:avLst/>
              <a:gdLst>
                <a:gd name="T0" fmla="*/ 40 w 41"/>
                <a:gd name="T1" fmla="*/ 17 h 35"/>
                <a:gd name="T2" fmla="*/ 19 w 41"/>
                <a:gd name="T3" fmla="*/ 0 h 35"/>
                <a:gd name="T4" fmla="*/ 0 w 41"/>
                <a:gd name="T5" fmla="*/ 17 h 35"/>
                <a:gd name="T6" fmla="*/ 21 w 41"/>
                <a:gd name="T7" fmla="*/ 35 h 35"/>
                <a:gd name="T8" fmla="*/ 40 w 4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5">
                  <a:moveTo>
                    <a:pt x="40" y="17"/>
                  </a:moveTo>
                  <a:cubicBezTo>
                    <a:pt x="40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7"/>
                    <a:pt x="10" y="35"/>
                    <a:pt x="21" y="35"/>
                  </a:cubicBezTo>
                  <a:cubicBezTo>
                    <a:pt x="32" y="35"/>
                    <a:pt x="41" y="27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íśḻiḓé">
              <a:extLst>
                <a:ext uri="{FF2B5EF4-FFF2-40B4-BE49-F238E27FC236}">
                  <a16:creationId xmlns:a16="http://schemas.microsoft.com/office/drawing/2014/main" id="{97477240-B051-4DC5-A379-94BF5A32682E}"/>
                </a:ext>
              </a:extLst>
            </p:cNvPr>
            <p:cNvSpPr/>
            <p:nvPr/>
          </p:nvSpPr>
          <p:spPr bwMode="auto">
            <a:xfrm>
              <a:off x="9524911" y="3222157"/>
              <a:ext cx="145037" cy="87948"/>
            </a:xfrm>
            <a:custGeom>
              <a:avLst/>
              <a:gdLst>
                <a:gd name="T0" fmla="*/ 37 w 40"/>
                <a:gd name="T1" fmla="*/ 12 h 24"/>
                <a:gd name="T2" fmla="*/ 14 w 40"/>
                <a:gd name="T3" fmla="*/ 0 h 24"/>
                <a:gd name="T4" fmla="*/ 3 w 40"/>
                <a:gd name="T5" fmla="*/ 12 h 24"/>
                <a:gd name="T6" fmla="*/ 26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4" y="0"/>
                    <a:pt x="0" y="5"/>
                    <a:pt x="3" y="12"/>
                  </a:cubicBezTo>
                  <a:cubicBezTo>
                    <a:pt x="6" y="19"/>
                    <a:pt x="16" y="24"/>
                    <a:pt x="26" y="24"/>
                  </a:cubicBezTo>
                  <a:cubicBezTo>
                    <a:pt x="35" y="24"/>
                    <a:pt x="40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iṩļïdè">
              <a:extLst>
                <a:ext uri="{FF2B5EF4-FFF2-40B4-BE49-F238E27FC236}">
                  <a16:creationId xmlns:a16="http://schemas.microsoft.com/office/drawing/2014/main" id="{D6CB45BA-560D-4A30-AE07-677C41CBB879}"/>
                </a:ext>
              </a:extLst>
            </p:cNvPr>
            <p:cNvSpPr/>
            <p:nvPr/>
          </p:nvSpPr>
          <p:spPr bwMode="auto">
            <a:xfrm>
              <a:off x="9575829" y="3331707"/>
              <a:ext cx="149666" cy="91034"/>
            </a:xfrm>
            <a:custGeom>
              <a:avLst/>
              <a:gdLst>
                <a:gd name="T0" fmla="*/ 38 w 41"/>
                <a:gd name="T1" fmla="*/ 12 h 25"/>
                <a:gd name="T2" fmla="*/ 14 w 41"/>
                <a:gd name="T3" fmla="*/ 0 h 25"/>
                <a:gd name="T4" fmla="*/ 3 w 41"/>
                <a:gd name="T5" fmla="*/ 12 h 25"/>
                <a:gd name="T6" fmla="*/ 27 w 41"/>
                <a:gd name="T7" fmla="*/ 25 h 25"/>
                <a:gd name="T8" fmla="*/ 38 w 41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5">
                  <a:moveTo>
                    <a:pt x="38" y="12"/>
                  </a:moveTo>
                  <a:cubicBezTo>
                    <a:pt x="34" y="5"/>
                    <a:pt x="24" y="0"/>
                    <a:pt x="14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7" y="19"/>
                    <a:pt x="17" y="25"/>
                    <a:pt x="27" y="25"/>
                  </a:cubicBezTo>
                  <a:cubicBezTo>
                    <a:pt x="36" y="25"/>
                    <a:pt x="41" y="19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ïṡḻidè">
              <a:extLst>
                <a:ext uri="{FF2B5EF4-FFF2-40B4-BE49-F238E27FC236}">
                  <a16:creationId xmlns:a16="http://schemas.microsoft.com/office/drawing/2014/main" id="{61EAA1E3-BF82-42DA-88DA-E0337968D366}"/>
                </a:ext>
              </a:extLst>
            </p:cNvPr>
            <p:cNvSpPr/>
            <p:nvPr/>
          </p:nvSpPr>
          <p:spPr bwMode="auto">
            <a:xfrm>
              <a:off x="9527997" y="3558520"/>
              <a:ext cx="154295" cy="98749"/>
            </a:xfrm>
            <a:custGeom>
              <a:avLst/>
              <a:gdLst>
                <a:gd name="T0" fmla="*/ 39 w 42"/>
                <a:gd name="T1" fmla="*/ 14 h 27"/>
                <a:gd name="T2" fmla="*/ 15 w 42"/>
                <a:gd name="T3" fmla="*/ 0 h 27"/>
                <a:gd name="T4" fmla="*/ 4 w 42"/>
                <a:gd name="T5" fmla="*/ 14 h 27"/>
                <a:gd name="T6" fmla="*/ 28 w 42"/>
                <a:gd name="T7" fmla="*/ 27 h 27"/>
                <a:gd name="T8" fmla="*/ 39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9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7" y="21"/>
                    <a:pt x="18" y="27"/>
                    <a:pt x="28" y="27"/>
                  </a:cubicBezTo>
                  <a:cubicBezTo>
                    <a:pt x="37" y="27"/>
                    <a:pt x="42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i$lïḋê">
              <a:extLst>
                <a:ext uri="{FF2B5EF4-FFF2-40B4-BE49-F238E27FC236}">
                  <a16:creationId xmlns:a16="http://schemas.microsoft.com/office/drawing/2014/main" id="{5ECB0E1C-03BA-4C91-BBBF-3A34D433B695}"/>
                </a:ext>
              </a:extLst>
            </p:cNvPr>
            <p:cNvSpPr/>
            <p:nvPr/>
          </p:nvSpPr>
          <p:spPr bwMode="auto">
            <a:xfrm>
              <a:off x="9480166" y="3803849"/>
              <a:ext cx="157381" cy="101834"/>
            </a:xfrm>
            <a:custGeom>
              <a:avLst/>
              <a:gdLst>
                <a:gd name="T0" fmla="*/ 39 w 43"/>
                <a:gd name="T1" fmla="*/ 14 h 28"/>
                <a:gd name="T2" fmla="*/ 15 w 43"/>
                <a:gd name="T3" fmla="*/ 0 h 28"/>
                <a:gd name="T4" fmla="*/ 3 w 43"/>
                <a:gd name="T5" fmla="*/ 14 h 28"/>
                <a:gd name="T6" fmla="*/ 28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2"/>
                    <a:pt x="17" y="28"/>
                    <a:pt x="28" y="28"/>
                  </a:cubicBezTo>
                  <a:cubicBezTo>
                    <a:pt x="38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íş1îḑé">
              <a:extLst>
                <a:ext uri="{FF2B5EF4-FFF2-40B4-BE49-F238E27FC236}">
                  <a16:creationId xmlns:a16="http://schemas.microsoft.com/office/drawing/2014/main" id="{276A4CB2-30D9-4F5E-BBFB-729721292282}"/>
                </a:ext>
              </a:extLst>
            </p:cNvPr>
            <p:cNvSpPr/>
            <p:nvPr/>
          </p:nvSpPr>
          <p:spPr bwMode="auto">
            <a:xfrm>
              <a:off x="9802641" y="3803849"/>
              <a:ext cx="160466" cy="101834"/>
            </a:xfrm>
            <a:custGeom>
              <a:avLst/>
              <a:gdLst>
                <a:gd name="T0" fmla="*/ 40 w 44"/>
                <a:gd name="T1" fmla="*/ 14 h 28"/>
                <a:gd name="T2" fmla="*/ 15 w 44"/>
                <a:gd name="T3" fmla="*/ 0 h 28"/>
                <a:gd name="T4" fmla="*/ 4 w 44"/>
                <a:gd name="T5" fmla="*/ 14 h 28"/>
                <a:gd name="T6" fmla="*/ 29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19" y="28"/>
                    <a:pt x="29" y="28"/>
                  </a:cubicBezTo>
                  <a:cubicBezTo>
                    <a:pt x="39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ïšľîdê">
              <a:extLst>
                <a:ext uri="{FF2B5EF4-FFF2-40B4-BE49-F238E27FC236}">
                  <a16:creationId xmlns:a16="http://schemas.microsoft.com/office/drawing/2014/main" id="{393E4C89-B9B0-4C62-9880-A4267888513B}"/>
                </a:ext>
              </a:extLst>
            </p:cNvPr>
            <p:cNvSpPr/>
            <p:nvPr/>
          </p:nvSpPr>
          <p:spPr bwMode="auto">
            <a:xfrm>
              <a:off x="10126660" y="3803849"/>
              <a:ext cx="163552" cy="101834"/>
            </a:xfrm>
            <a:custGeom>
              <a:avLst/>
              <a:gdLst>
                <a:gd name="T0" fmla="*/ 41 w 45"/>
                <a:gd name="T1" fmla="*/ 14 h 28"/>
                <a:gd name="T2" fmla="*/ 15 w 45"/>
                <a:gd name="T3" fmla="*/ 0 h 28"/>
                <a:gd name="T4" fmla="*/ 4 w 45"/>
                <a:gd name="T5" fmla="*/ 14 h 28"/>
                <a:gd name="T6" fmla="*/ 30 w 45"/>
                <a:gd name="T7" fmla="*/ 28 h 28"/>
                <a:gd name="T8" fmla="*/ 41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1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îṧḻiďè">
              <a:extLst>
                <a:ext uri="{FF2B5EF4-FFF2-40B4-BE49-F238E27FC236}">
                  <a16:creationId xmlns:a16="http://schemas.microsoft.com/office/drawing/2014/main" id="{9B46C86D-79E3-4CCF-8A9D-2B0A479A062E}"/>
                </a:ext>
              </a:extLst>
            </p:cNvPr>
            <p:cNvSpPr/>
            <p:nvPr/>
          </p:nvSpPr>
          <p:spPr bwMode="auto">
            <a:xfrm>
              <a:off x="8546683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15 w 39"/>
                <a:gd name="T3" fmla="*/ 0 h 26"/>
                <a:gd name="T4" fmla="*/ 2 w 39"/>
                <a:gd name="T5" fmla="*/ 12 h 26"/>
                <a:gd name="T6" fmla="*/ 24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4" y="5"/>
                    <a:pt x="25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20"/>
                    <a:pt x="14" y="26"/>
                    <a:pt x="24" y="26"/>
                  </a:cubicBezTo>
                  <a:cubicBezTo>
                    <a:pt x="34" y="26"/>
                    <a:pt x="39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îsḷïdé">
              <a:extLst>
                <a:ext uri="{FF2B5EF4-FFF2-40B4-BE49-F238E27FC236}">
                  <a16:creationId xmlns:a16="http://schemas.microsoft.com/office/drawing/2014/main" id="{DD3A7481-D549-43B2-BE57-1C9C6B41663D}"/>
                </a:ext>
              </a:extLst>
            </p:cNvPr>
            <p:cNvSpPr/>
            <p:nvPr/>
          </p:nvSpPr>
          <p:spPr bwMode="auto">
            <a:xfrm>
              <a:off x="9166947" y="3445885"/>
              <a:ext cx="146580" cy="94120"/>
            </a:xfrm>
            <a:custGeom>
              <a:avLst/>
              <a:gdLst>
                <a:gd name="T0" fmla="*/ 37 w 40"/>
                <a:gd name="T1" fmla="*/ 12 h 26"/>
                <a:gd name="T2" fmla="*/ 14 w 40"/>
                <a:gd name="T3" fmla="*/ 0 h 26"/>
                <a:gd name="T4" fmla="*/ 3 w 40"/>
                <a:gd name="T5" fmla="*/ 12 h 26"/>
                <a:gd name="T6" fmla="*/ 26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34" y="5"/>
                    <a:pt x="24" y="0"/>
                    <a:pt x="14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6" y="20"/>
                    <a:pt x="16" y="26"/>
                    <a:pt x="26" y="26"/>
                  </a:cubicBezTo>
                  <a:cubicBezTo>
                    <a:pt x="35" y="26"/>
                    <a:pt x="40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íṧ1íḋe">
              <a:extLst>
                <a:ext uri="{FF2B5EF4-FFF2-40B4-BE49-F238E27FC236}">
                  <a16:creationId xmlns:a16="http://schemas.microsoft.com/office/drawing/2014/main" id="{AA1022C9-5FBC-486E-81A2-A2402937B1C1}"/>
                </a:ext>
              </a:extLst>
            </p:cNvPr>
            <p:cNvSpPr/>
            <p:nvPr/>
          </p:nvSpPr>
          <p:spPr bwMode="auto">
            <a:xfrm>
              <a:off x="9319700" y="3445885"/>
              <a:ext cx="149666" cy="94120"/>
            </a:xfrm>
            <a:custGeom>
              <a:avLst/>
              <a:gdLst>
                <a:gd name="T0" fmla="*/ 38 w 41"/>
                <a:gd name="T1" fmla="*/ 12 h 26"/>
                <a:gd name="T2" fmla="*/ 15 w 41"/>
                <a:gd name="T3" fmla="*/ 0 h 26"/>
                <a:gd name="T4" fmla="*/ 3 w 41"/>
                <a:gd name="T5" fmla="*/ 12 h 26"/>
                <a:gd name="T6" fmla="*/ 26 w 41"/>
                <a:gd name="T7" fmla="*/ 26 h 26"/>
                <a:gd name="T8" fmla="*/ 38 w 41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38" y="12"/>
                  </a:moveTo>
                  <a:cubicBezTo>
                    <a:pt x="35" y="5"/>
                    <a:pt x="24" y="0"/>
                    <a:pt x="15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6" y="20"/>
                    <a:pt x="17" y="26"/>
                    <a:pt x="26" y="26"/>
                  </a:cubicBezTo>
                  <a:cubicBezTo>
                    <a:pt x="36" y="26"/>
                    <a:pt x="41" y="20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ṥḻiḓé">
              <a:extLst>
                <a:ext uri="{FF2B5EF4-FFF2-40B4-BE49-F238E27FC236}">
                  <a16:creationId xmlns:a16="http://schemas.microsoft.com/office/drawing/2014/main" id="{186F5DC7-4B36-4BF8-B990-A218E135DD86}"/>
                </a:ext>
              </a:extLst>
            </p:cNvPr>
            <p:cNvSpPr/>
            <p:nvPr/>
          </p:nvSpPr>
          <p:spPr bwMode="auto">
            <a:xfrm>
              <a:off x="8744180" y="3558520"/>
              <a:ext cx="145037" cy="98749"/>
            </a:xfrm>
            <a:custGeom>
              <a:avLst/>
              <a:gdLst>
                <a:gd name="T0" fmla="*/ 38 w 40"/>
                <a:gd name="T1" fmla="*/ 14 h 27"/>
                <a:gd name="T2" fmla="*/ 15 w 40"/>
                <a:gd name="T3" fmla="*/ 0 h 27"/>
                <a:gd name="T4" fmla="*/ 2 w 40"/>
                <a:gd name="T5" fmla="*/ 14 h 27"/>
                <a:gd name="T6" fmla="*/ 25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2" y="14"/>
                  </a:cubicBezTo>
                  <a:cubicBezTo>
                    <a:pt x="5" y="21"/>
                    <a:pt x="15" y="27"/>
                    <a:pt x="25" y="27"/>
                  </a:cubicBezTo>
                  <a:cubicBezTo>
                    <a:pt x="35" y="27"/>
                    <a:pt x="40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íṡḻïďe">
              <a:extLst>
                <a:ext uri="{FF2B5EF4-FFF2-40B4-BE49-F238E27FC236}">
                  <a16:creationId xmlns:a16="http://schemas.microsoft.com/office/drawing/2014/main" id="{16BFAEB3-995F-42F1-B5BE-A40301A8AC28}"/>
                </a:ext>
              </a:extLst>
            </p:cNvPr>
            <p:cNvSpPr/>
            <p:nvPr/>
          </p:nvSpPr>
          <p:spPr bwMode="auto">
            <a:xfrm>
              <a:off x="8900018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15 w 41"/>
                <a:gd name="T3" fmla="*/ 0 h 27"/>
                <a:gd name="T4" fmla="*/ 3 w 41"/>
                <a:gd name="T5" fmla="*/ 14 h 27"/>
                <a:gd name="T6" fmla="*/ 2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5" y="21"/>
                    <a:pt x="16" y="27"/>
                    <a:pt x="26" y="27"/>
                  </a:cubicBezTo>
                  <a:cubicBezTo>
                    <a:pt x="35" y="27"/>
                    <a:pt x="41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ïsľiḍè">
              <a:extLst>
                <a:ext uri="{FF2B5EF4-FFF2-40B4-BE49-F238E27FC236}">
                  <a16:creationId xmlns:a16="http://schemas.microsoft.com/office/drawing/2014/main" id="{3D19150B-C011-4136-90DC-9C35BB8A445A}"/>
                </a:ext>
              </a:extLst>
            </p:cNvPr>
            <p:cNvSpPr/>
            <p:nvPr/>
          </p:nvSpPr>
          <p:spPr bwMode="auto">
            <a:xfrm>
              <a:off x="9057399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15 w 41"/>
                <a:gd name="T3" fmla="*/ 0 h 27"/>
                <a:gd name="T4" fmla="*/ 3 w 41"/>
                <a:gd name="T5" fmla="*/ 14 h 27"/>
                <a:gd name="T6" fmla="*/ 2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1"/>
                    <a:pt x="16" y="27"/>
                    <a:pt x="26" y="27"/>
                  </a:cubicBezTo>
                  <a:cubicBezTo>
                    <a:pt x="36" y="27"/>
                    <a:pt x="41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îSlïḍe">
              <a:extLst>
                <a:ext uri="{FF2B5EF4-FFF2-40B4-BE49-F238E27FC236}">
                  <a16:creationId xmlns:a16="http://schemas.microsoft.com/office/drawing/2014/main" id="{C72BF301-E41E-4D2E-92FF-6B1BAC15FBD1}"/>
                </a:ext>
              </a:extLst>
            </p:cNvPr>
            <p:cNvSpPr/>
            <p:nvPr/>
          </p:nvSpPr>
          <p:spPr bwMode="auto">
            <a:xfrm>
              <a:off x="9214779" y="3558520"/>
              <a:ext cx="152752" cy="98749"/>
            </a:xfrm>
            <a:custGeom>
              <a:avLst/>
              <a:gdLst>
                <a:gd name="T0" fmla="*/ 38 w 42"/>
                <a:gd name="T1" fmla="*/ 14 h 27"/>
                <a:gd name="T2" fmla="*/ 15 w 42"/>
                <a:gd name="T3" fmla="*/ 0 h 27"/>
                <a:gd name="T4" fmla="*/ 3 w 42"/>
                <a:gd name="T5" fmla="*/ 14 h 27"/>
                <a:gd name="T6" fmla="*/ 27 w 42"/>
                <a:gd name="T7" fmla="*/ 27 h 27"/>
                <a:gd name="T8" fmla="*/ 38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1"/>
                    <a:pt x="17" y="27"/>
                    <a:pt x="27" y="27"/>
                  </a:cubicBezTo>
                  <a:cubicBezTo>
                    <a:pt x="36" y="27"/>
                    <a:pt x="42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iṣḻîḍé">
              <a:extLst>
                <a:ext uri="{FF2B5EF4-FFF2-40B4-BE49-F238E27FC236}">
                  <a16:creationId xmlns:a16="http://schemas.microsoft.com/office/drawing/2014/main" id="{EA94C948-C3FF-4515-999E-76C55BF88452}"/>
                </a:ext>
              </a:extLst>
            </p:cNvPr>
            <p:cNvSpPr/>
            <p:nvPr/>
          </p:nvSpPr>
          <p:spPr bwMode="auto">
            <a:xfrm>
              <a:off x="9370616" y="3558520"/>
              <a:ext cx="154295" cy="98749"/>
            </a:xfrm>
            <a:custGeom>
              <a:avLst/>
              <a:gdLst>
                <a:gd name="T0" fmla="*/ 39 w 42"/>
                <a:gd name="T1" fmla="*/ 14 h 27"/>
                <a:gd name="T2" fmla="*/ 15 w 42"/>
                <a:gd name="T3" fmla="*/ 0 h 27"/>
                <a:gd name="T4" fmla="*/ 3 w 42"/>
                <a:gd name="T5" fmla="*/ 14 h 27"/>
                <a:gd name="T6" fmla="*/ 27 w 42"/>
                <a:gd name="T7" fmla="*/ 27 h 27"/>
                <a:gd name="T8" fmla="*/ 39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9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7" y="21"/>
                    <a:pt x="17" y="27"/>
                    <a:pt x="27" y="27"/>
                  </a:cubicBezTo>
                  <a:cubicBezTo>
                    <a:pt x="37" y="27"/>
                    <a:pt x="42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îṥḷíďé">
              <a:extLst>
                <a:ext uri="{FF2B5EF4-FFF2-40B4-BE49-F238E27FC236}">
                  <a16:creationId xmlns:a16="http://schemas.microsoft.com/office/drawing/2014/main" id="{440B74A1-E9B1-4525-98FB-93D3F6CBC337}"/>
                </a:ext>
              </a:extLst>
            </p:cNvPr>
            <p:cNvSpPr/>
            <p:nvPr/>
          </p:nvSpPr>
          <p:spPr bwMode="auto">
            <a:xfrm>
              <a:off x="9842758" y="3558520"/>
              <a:ext cx="155838" cy="98749"/>
            </a:xfrm>
            <a:custGeom>
              <a:avLst/>
              <a:gdLst>
                <a:gd name="T0" fmla="*/ 39 w 43"/>
                <a:gd name="T1" fmla="*/ 14 h 27"/>
                <a:gd name="T2" fmla="*/ 15 w 43"/>
                <a:gd name="T3" fmla="*/ 0 h 27"/>
                <a:gd name="T4" fmla="*/ 4 w 43"/>
                <a:gd name="T5" fmla="*/ 14 h 27"/>
                <a:gd name="T6" fmla="*/ 28 w 43"/>
                <a:gd name="T7" fmla="*/ 27 h 27"/>
                <a:gd name="T8" fmla="*/ 39 w 43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7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1"/>
                    <a:pt x="19" y="27"/>
                    <a:pt x="28" y="27"/>
                  </a:cubicBezTo>
                  <a:cubicBezTo>
                    <a:pt x="38" y="27"/>
                    <a:pt x="43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ïṣ1iḑé">
              <a:extLst>
                <a:ext uri="{FF2B5EF4-FFF2-40B4-BE49-F238E27FC236}">
                  <a16:creationId xmlns:a16="http://schemas.microsoft.com/office/drawing/2014/main" id="{3A23EF31-18B8-419E-9C42-4BB0E6CCC236}"/>
                </a:ext>
              </a:extLst>
            </p:cNvPr>
            <p:cNvSpPr/>
            <p:nvPr/>
          </p:nvSpPr>
          <p:spPr bwMode="auto">
            <a:xfrm>
              <a:off x="9998596" y="3558520"/>
              <a:ext cx="160466" cy="98749"/>
            </a:xfrm>
            <a:custGeom>
              <a:avLst/>
              <a:gdLst>
                <a:gd name="T0" fmla="*/ 40 w 44"/>
                <a:gd name="T1" fmla="*/ 14 h 27"/>
                <a:gd name="T2" fmla="*/ 15 w 44"/>
                <a:gd name="T3" fmla="*/ 0 h 27"/>
                <a:gd name="T4" fmla="*/ 4 w 44"/>
                <a:gd name="T5" fmla="*/ 14 h 27"/>
                <a:gd name="T6" fmla="*/ 29 w 44"/>
                <a:gd name="T7" fmla="*/ 27 h 27"/>
                <a:gd name="T8" fmla="*/ 40 w 44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7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1"/>
                    <a:pt x="19" y="27"/>
                    <a:pt x="29" y="27"/>
                  </a:cubicBezTo>
                  <a:cubicBezTo>
                    <a:pt x="39" y="27"/>
                    <a:pt x="44" y="21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íṥ1îďê">
              <a:extLst>
                <a:ext uri="{FF2B5EF4-FFF2-40B4-BE49-F238E27FC236}">
                  <a16:creationId xmlns:a16="http://schemas.microsoft.com/office/drawing/2014/main" id="{6D2C65C4-4161-4D9F-8327-BF135BD7AD8A}"/>
                </a:ext>
              </a:extLst>
            </p:cNvPr>
            <p:cNvSpPr/>
            <p:nvPr/>
          </p:nvSpPr>
          <p:spPr bwMode="auto">
            <a:xfrm>
              <a:off x="8787383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15 w 41"/>
                <a:gd name="T3" fmla="*/ 0 h 28"/>
                <a:gd name="T4" fmla="*/ 2 w 41"/>
                <a:gd name="T5" fmla="*/ 14 h 28"/>
                <a:gd name="T6" fmla="*/ 25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2" y="14"/>
                  </a:cubicBezTo>
                  <a:cubicBezTo>
                    <a:pt x="5" y="22"/>
                    <a:pt x="16" y="28"/>
                    <a:pt x="25" y="28"/>
                  </a:cubicBezTo>
                  <a:cubicBezTo>
                    <a:pt x="35" y="28"/>
                    <a:pt x="41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i$ľîḓe">
              <a:extLst>
                <a:ext uri="{FF2B5EF4-FFF2-40B4-BE49-F238E27FC236}">
                  <a16:creationId xmlns:a16="http://schemas.microsoft.com/office/drawing/2014/main" id="{1CF2069C-BC83-4407-8854-9E676A3A3B25}"/>
                </a:ext>
              </a:extLst>
            </p:cNvPr>
            <p:cNvSpPr/>
            <p:nvPr/>
          </p:nvSpPr>
          <p:spPr bwMode="auto">
            <a:xfrm>
              <a:off x="8944763" y="3678869"/>
              <a:ext cx="152752" cy="103378"/>
            </a:xfrm>
            <a:custGeom>
              <a:avLst/>
              <a:gdLst>
                <a:gd name="T0" fmla="*/ 39 w 42"/>
                <a:gd name="T1" fmla="*/ 14 h 28"/>
                <a:gd name="T2" fmla="*/ 16 w 42"/>
                <a:gd name="T3" fmla="*/ 0 h 28"/>
                <a:gd name="T4" fmla="*/ 3 w 42"/>
                <a:gd name="T5" fmla="*/ 14 h 28"/>
                <a:gd name="T6" fmla="*/ 27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36" y="6"/>
                    <a:pt x="26" y="0"/>
                    <a:pt x="16" y="0"/>
                  </a:cubicBezTo>
                  <a:cubicBezTo>
                    <a:pt x="6" y="0"/>
                    <a:pt x="0" y="6"/>
                    <a:pt x="3" y="14"/>
                  </a:cubicBezTo>
                  <a:cubicBezTo>
                    <a:pt x="6" y="22"/>
                    <a:pt x="17" y="28"/>
                    <a:pt x="27" y="28"/>
                  </a:cubicBezTo>
                  <a:cubicBezTo>
                    <a:pt x="37" y="28"/>
                    <a:pt x="42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ïS1îde">
              <a:extLst>
                <a:ext uri="{FF2B5EF4-FFF2-40B4-BE49-F238E27FC236}">
                  <a16:creationId xmlns:a16="http://schemas.microsoft.com/office/drawing/2014/main" id="{2D917389-B485-4225-BB6A-4EB89F1FD3E4}"/>
                </a:ext>
              </a:extLst>
            </p:cNvPr>
            <p:cNvSpPr/>
            <p:nvPr/>
          </p:nvSpPr>
          <p:spPr bwMode="auto">
            <a:xfrm>
              <a:off x="9583543" y="3678869"/>
              <a:ext cx="155838" cy="103378"/>
            </a:xfrm>
            <a:custGeom>
              <a:avLst/>
              <a:gdLst>
                <a:gd name="T0" fmla="*/ 40 w 43"/>
                <a:gd name="T1" fmla="*/ 14 h 28"/>
                <a:gd name="T2" fmla="*/ 15 w 43"/>
                <a:gd name="T3" fmla="*/ 0 h 28"/>
                <a:gd name="T4" fmla="*/ 4 w 43"/>
                <a:gd name="T5" fmla="*/ 14 h 28"/>
                <a:gd name="T6" fmla="*/ 28 w 43"/>
                <a:gd name="T7" fmla="*/ 28 h 28"/>
                <a:gd name="T8" fmla="*/ 40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7" y="22"/>
                    <a:pt x="18" y="28"/>
                    <a:pt x="28" y="28"/>
                  </a:cubicBezTo>
                  <a:cubicBezTo>
                    <a:pt x="38" y="28"/>
                    <a:pt x="43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ïṧ1íḍè">
              <a:extLst>
                <a:ext uri="{FF2B5EF4-FFF2-40B4-BE49-F238E27FC236}">
                  <a16:creationId xmlns:a16="http://schemas.microsoft.com/office/drawing/2014/main" id="{34FEE4C1-7B89-4E4D-ACBC-091235668B7A}"/>
                </a:ext>
              </a:extLst>
            </p:cNvPr>
            <p:cNvSpPr/>
            <p:nvPr/>
          </p:nvSpPr>
          <p:spPr bwMode="auto">
            <a:xfrm>
              <a:off x="10064942" y="3678869"/>
              <a:ext cx="157381" cy="103378"/>
            </a:xfrm>
            <a:custGeom>
              <a:avLst/>
              <a:gdLst>
                <a:gd name="T0" fmla="*/ 39 w 43"/>
                <a:gd name="T1" fmla="*/ 14 h 28"/>
                <a:gd name="T2" fmla="*/ 14 w 43"/>
                <a:gd name="T3" fmla="*/ 0 h 28"/>
                <a:gd name="T4" fmla="*/ 4 w 43"/>
                <a:gd name="T5" fmla="*/ 14 h 28"/>
                <a:gd name="T6" fmla="*/ 29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5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7" y="22"/>
                    <a:pt x="19" y="28"/>
                    <a:pt x="29" y="28"/>
                  </a:cubicBezTo>
                  <a:cubicBezTo>
                    <a:pt x="39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íṩlïḋê">
              <a:extLst>
                <a:ext uri="{FF2B5EF4-FFF2-40B4-BE49-F238E27FC236}">
                  <a16:creationId xmlns:a16="http://schemas.microsoft.com/office/drawing/2014/main" id="{E871545A-DA7E-4AB9-BE5F-60C02A7FE3A4}"/>
                </a:ext>
              </a:extLst>
            </p:cNvPr>
            <p:cNvSpPr/>
            <p:nvPr/>
          </p:nvSpPr>
          <p:spPr bwMode="auto">
            <a:xfrm>
              <a:off x="10222323" y="3678869"/>
              <a:ext cx="160466" cy="103378"/>
            </a:xfrm>
            <a:custGeom>
              <a:avLst/>
              <a:gdLst>
                <a:gd name="T0" fmla="*/ 40 w 44"/>
                <a:gd name="T1" fmla="*/ 14 h 28"/>
                <a:gd name="T2" fmla="*/ 15 w 44"/>
                <a:gd name="T3" fmla="*/ 0 h 28"/>
                <a:gd name="T4" fmla="*/ 4 w 44"/>
                <a:gd name="T5" fmla="*/ 14 h 28"/>
                <a:gd name="T6" fmla="*/ 30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íṡļîḍê">
              <a:extLst>
                <a:ext uri="{FF2B5EF4-FFF2-40B4-BE49-F238E27FC236}">
                  <a16:creationId xmlns:a16="http://schemas.microsoft.com/office/drawing/2014/main" id="{498EB73D-DD70-4848-96BA-8750F9FCBD6D}"/>
                </a:ext>
              </a:extLst>
            </p:cNvPr>
            <p:cNvSpPr/>
            <p:nvPr/>
          </p:nvSpPr>
          <p:spPr bwMode="auto">
            <a:xfrm>
              <a:off x="10382789" y="3678869"/>
              <a:ext cx="160466" cy="103378"/>
            </a:xfrm>
            <a:custGeom>
              <a:avLst/>
              <a:gdLst>
                <a:gd name="T0" fmla="*/ 40 w 44"/>
                <a:gd name="T1" fmla="*/ 14 h 28"/>
                <a:gd name="T2" fmla="*/ 14 w 44"/>
                <a:gd name="T3" fmla="*/ 0 h 28"/>
                <a:gd name="T4" fmla="*/ 4 w 44"/>
                <a:gd name="T5" fmla="*/ 14 h 28"/>
                <a:gd name="T6" fmla="*/ 30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9" y="22"/>
                    <a:pt x="20" y="28"/>
                    <a:pt x="30" y="28"/>
                  </a:cubicBezTo>
                  <a:cubicBezTo>
                    <a:pt x="40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iṣḷiḍe">
              <a:extLst>
                <a:ext uri="{FF2B5EF4-FFF2-40B4-BE49-F238E27FC236}">
                  <a16:creationId xmlns:a16="http://schemas.microsoft.com/office/drawing/2014/main" id="{B9422E13-7321-485B-8320-C5D3CF5ED278}"/>
                </a:ext>
              </a:extLst>
            </p:cNvPr>
            <p:cNvSpPr/>
            <p:nvPr/>
          </p:nvSpPr>
          <p:spPr bwMode="auto">
            <a:xfrm>
              <a:off x="9156147" y="3803849"/>
              <a:ext cx="157381" cy="101834"/>
            </a:xfrm>
            <a:custGeom>
              <a:avLst/>
              <a:gdLst>
                <a:gd name="T0" fmla="*/ 39 w 43"/>
                <a:gd name="T1" fmla="*/ 14 h 28"/>
                <a:gd name="T2" fmla="*/ 15 w 43"/>
                <a:gd name="T3" fmla="*/ 0 h 28"/>
                <a:gd name="T4" fmla="*/ 3 w 43"/>
                <a:gd name="T5" fmla="*/ 14 h 28"/>
                <a:gd name="T6" fmla="*/ 27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2"/>
                    <a:pt x="17" y="28"/>
                    <a:pt x="27" y="28"/>
                  </a:cubicBezTo>
                  <a:cubicBezTo>
                    <a:pt x="37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íšḷîḑê">
              <a:extLst>
                <a:ext uri="{FF2B5EF4-FFF2-40B4-BE49-F238E27FC236}">
                  <a16:creationId xmlns:a16="http://schemas.microsoft.com/office/drawing/2014/main" id="{1B5BF185-C7CB-482C-8A94-48887C8BA48E}"/>
                </a:ext>
              </a:extLst>
            </p:cNvPr>
            <p:cNvSpPr/>
            <p:nvPr/>
          </p:nvSpPr>
          <p:spPr bwMode="auto">
            <a:xfrm>
              <a:off x="9316614" y="3803849"/>
              <a:ext cx="157381" cy="101834"/>
            </a:xfrm>
            <a:custGeom>
              <a:avLst/>
              <a:gdLst>
                <a:gd name="T0" fmla="*/ 40 w 43"/>
                <a:gd name="T1" fmla="*/ 14 h 28"/>
                <a:gd name="T2" fmla="*/ 16 w 43"/>
                <a:gd name="T3" fmla="*/ 0 h 28"/>
                <a:gd name="T4" fmla="*/ 3 w 43"/>
                <a:gd name="T5" fmla="*/ 14 h 28"/>
                <a:gd name="T6" fmla="*/ 28 w 43"/>
                <a:gd name="T7" fmla="*/ 28 h 28"/>
                <a:gd name="T8" fmla="*/ 40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40" y="14"/>
                  </a:moveTo>
                  <a:cubicBezTo>
                    <a:pt x="36" y="6"/>
                    <a:pt x="26" y="0"/>
                    <a:pt x="16" y="0"/>
                  </a:cubicBezTo>
                  <a:cubicBezTo>
                    <a:pt x="6" y="0"/>
                    <a:pt x="0" y="6"/>
                    <a:pt x="3" y="14"/>
                  </a:cubicBezTo>
                  <a:cubicBezTo>
                    <a:pt x="7" y="22"/>
                    <a:pt x="18" y="28"/>
                    <a:pt x="28" y="28"/>
                  </a:cubicBezTo>
                  <a:cubicBezTo>
                    <a:pt x="38" y="28"/>
                    <a:pt x="43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ísļïḍé">
              <a:extLst>
                <a:ext uri="{FF2B5EF4-FFF2-40B4-BE49-F238E27FC236}">
                  <a16:creationId xmlns:a16="http://schemas.microsoft.com/office/drawing/2014/main" id="{088816F9-E435-49E7-A7E5-22145AB436DD}"/>
                </a:ext>
              </a:extLst>
            </p:cNvPr>
            <p:cNvSpPr/>
            <p:nvPr/>
          </p:nvSpPr>
          <p:spPr bwMode="auto">
            <a:xfrm>
              <a:off x="10290213" y="3803849"/>
              <a:ext cx="165096" cy="101834"/>
            </a:xfrm>
            <a:custGeom>
              <a:avLst/>
              <a:gdLst>
                <a:gd name="T0" fmla="*/ 40 w 45"/>
                <a:gd name="T1" fmla="*/ 14 h 28"/>
                <a:gd name="T2" fmla="*/ 14 w 45"/>
                <a:gd name="T3" fmla="*/ 0 h 28"/>
                <a:gd name="T4" fmla="*/ 4 w 45"/>
                <a:gd name="T5" fmla="*/ 14 h 28"/>
                <a:gd name="T6" fmla="*/ 30 w 45"/>
                <a:gd name="T7" fmla="*/ 28 h 28"/>
                <a:gd name="T8" fmla="*/ 40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0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5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îslîdé">
              <a:extLst>
                <a:ext uri="{FF2B5EF4-FFF2-40B4-BE49-F238E27FC236}">
                  <a16:creationId xmlns:a16="http://schemas.microsoft.com/office/drawing/2014/main" id="{E84DC36D-C74B-48D6-B998-B9B45113CDDF}"/>
                </a:ext>
              </a:extLst>
            </p:cNvPr>
            <p:cNvSpPr/>
            <p:nvPr/>
          </p:nvSpPr>
          <p:spPr bwMode="auto">
            <a:xfrm>
              <a:off x="10452222" y="3803849"/>
              <a:ext cx="163552" cy="101834"/>
            </a:xfrm>
            <a:custGeom>
              <a:avLst/>
              <a:gdLst>
                <a:gd name="T0" fmla="*/ 41 w 45"/>
                <a:gd name="T1" fmla="*/ 14 h 28"/>
                <a:gd name="T2" fmla="*/ 14 w 45"/>
                <a:gd name="T3" fmla="*/ 0 h 28"/>
                <a:gd name="T4" fmla="*/ 4 w 45"/>
                <a:gd name="T5" fmla="*/ 14 h 28"/>
                <a:gd name="T6" fmla="*/ 31 w 45"/>
                <a:gd name="T7" fmla="*/ 28 h 28"/>
                <a:gd name="T8" fmla="*/ 41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1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9" y="22"/>
                    <a:pt x="20" y="28"/>
                    <a:pt x="31" y="28"/>
                  </a:cubicBezTo>
                  <a:cubicBezTo>
                    <a:pt x="41" y="28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îṡḻîḍè">
              <a:extLst>
                <a:ext uri="{FF2B5EF4-FFF2-40B4-BE49-F238E27FC236}">
                  <a16:creationId xmlns:a16="http://schemas.microsoft.com/office/drawing/2014/main" id="{74C12093-6041-4808-B920-A3BD5F6B718D}"/>
                </a:ext>
              </a:extLst>
            </p:cNvPr>
            <p:cNvSpPr/>
            <p:nvPr/>
          </p:nvSpPr>
          <p:spPr bwMode="auto">
            <a:xfrm>
              <a:off x="11348674" y="4198843"/>
              <a:ext cx="183611" cy="112636"/>
            </a:xfrm>
            <a:custGeom>
              <a:avLst/>
              <a:gdLst>
                <a:gd name="T0" fmla="*/ 44 w 50"/>
                <a:gd name="T1" fmla="*/ 15 h 31"/>
                <a:gd name="T2" fmla="*/ 15 w 50"/>
                <a:gd name="T3" fmla="*/ 0 h 31"/>
                <a:gd name="T4" fmla="*/ 6 w 50"/>
                <a:gd name="T5" fmla="*/ 15 h 31"/>
                <a:gd name="T6" fmla="*/ 35 w 50"/>
                <a:gd name="T7" fmla="*/ 31 h 31"/>
                <a:gd name="T8" fmla="*/ 44 w 5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1">
                  <a:moveTo>
                    <a:pt x="44" y="15"/>
                  </a:moveTo>
                  <a:cubicBezTo>
                    <a:pt x="38" y="7"/>
                    <a:pt x="25" y="0"/>
                    <a:pt x="15" y="0"/>
                  </a:cubicBezTo>
                  <a:cubicBezTo>
                    <a:pt x="5" y="0"/>
                    <a:pt x="0" y="7"/>
                    <a:pt x="6" y="15"/>
                  </a:cubicBezTo>
                  <a:cubicBezTo>
                    <a:pt x="11" y="24"/>
                    <a:pt x="24" y="31"/>
                    <a:pt x="35" y="31"/>
                  </a:cubicBezTo>
                  <a:cubicBezTo>
                    <a:pt x="46" y="31"/>
                    <a:pt x="50" y="24"/>
                    <a:pt x="4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îśļíḑè">
              <a:extLst>
                <a:ext uri="{FF2B5EF4-FFF2-40B4-BE49-F238E27FC236}">
                  <a16:creationId xmlns:a16="http://schemas.microsoft.com/office/drawing/2014/main" id="{18264D17-2141-4355-A338-FB42D9086810}"/>
                </a:ext>
              </a:extLst>
            </p:cNvPr>
            <p:cNvSpPr/>
            <p:nvPr/>
          </p:nvSpPr>
          <p:spPr bwMode="auto">
            <a:xfrm>
              <a:off x="10027912" y="3931913"/>
              <a:ext cx="165096" cy="104920"/>
            </a:xfrm>
            <a:custGeom>
              <a:avLst/>
              <a:gdLst>
                <a:gd name="T0" fmla="*/ 41 w 45"/>
                <a:gd name="T1" fmla="*/ 14 h 29"/>
                <a:gd name="T2" fmla="*/ 15 w 45"/>
                <a:gd name="T3" fmla="*/ 0 h 29"/>
                <a:gd name="T4" fmla="*/ 4 w 45"/>
                <a:gd name="T5" fmla="*/ 14 h 29"/>
                <a:gd name="T6" fmla="*/ 30 w 45"/>
                <a:gd name="T7" fmla="*/ 29 h 29"/>
                <a:gd name="T8" fmla="*/ 41 w 45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41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9"/>
                    <a:pt x="30" y="29"/>
                  </a:cubicBezTo>
                  <a:cubicBezTo>
                    <a:pt x="40" y="29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íŝľïďé">
              <a:extLst>
                <a:ext uri="{FF2B5EF4-FFF2-40B4-BE49-F238E27FC236}">
                  <a16:creationId xmlns:a16="http://schemas.microsoft.com/office/drawing/2014/main" id="{A8227ED7-D56C-466E-9298-9661CD49E2D1}"/>
                </a:ext>
              </a:extLst>
            </p:cNvPr>
            <p:cNvSpPr/>
            <p:nvPr/>
          </p:nvSpPr>
          <p:spPr bwMode="auto">
            <a:xfrm>
              <a:off x="10356560" y="3931913"/>
              <a:ext cx="168182" cy="104920"/>
            </a:xfrm>
            <a:custGeom>
              <a:avLst/>
              <a:gdLst>
                <a:gd name="T0" fmla="*/ 42 w 46"/>
                <a:gd name="T1" fmla="*/ 14 h 29"/>
                <a:gd name="T2" fmla="*/ 15 w 46"/>
                <a:gd name="T3" fmla="*/ 0 h 29"/>
                <a:gd name="T4" fmla="*/ 5 w 46"/>
                <a:gd name="T5" fmla="*/ 14 h 29"/>
                <a:gd name="T6" fmla="*/ 31 w 46"/>
                <a:gd name="T7" fmla="*/ 29 h 29"/>
                <a:gd name="T8" fmla="*/ 42 w 46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9">
                  <a:moveTo>
                    <a:pt x="42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5" y="14"/>
                  </a:cubicBezTo>
                  <a:cubicBezTo>
                    <a:pt x="9" y="22"/>
                    <a:pt x="21" y="29"/>
                    <a:pt x="31" y="29"/>
                  </a:cubicBezTo>
                  <a:cubicBezTo>
                    <a:pt x="42" y="29"/>
                    <a:pt x="46" y="22"/>
                    <a:pt x="42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îšḻíḍe">
              <a:extLst>
                <a:ext uri="{FF2B5EF4-FFF2-40B4-BE49-F238E27FC236}">
                  <a16:creationId xmlns:a16="http://schemas.microsoft.com/office/drawing/2014/main" id="{97838F76-6126-4A7E-BFFA-FDD53CF83445}"/>
                </a:ext>
              </a:extLst>
            </p:cNvPr>
            <p:cNvSpPr/>
            <p:nvPr/>
          </p:nvSpPr>
          <p:spPr bwMode="auto">
            <a:xfrm>
              <a:off x="9762525" y="4063064"/>
              <a:ext cx="163552" cy="109550"/>
            </a:xfrm>
            <a:custGeom>
              <a:avLst/>
              <a:gdLst>
                <a:gd name="T0" fmla="*/ 41 w 45"/>
                <a:gd name="T1" fmla="*/ 15 h 30"/>
                <a:gd name="T2" fmla="*/ 15 w 45"/>
                <a:gd name="T3" fmla="*/ 0 h 30"/>
                <a:gd name="T4" fmla="*/ 3 w 45"/>
                <a:gd name="T5" fmla="*/ 15 h 30"/>
                <a:gd name="T6" fmla="*/ 29 w 45"/>
                <a:gd name="T7" fmla="*/ 30 h 30"/>
                <a:gd name="T8" fmla="*/ 41 w 45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0">
                  <a:moveTo>
                    <a:pt x="41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3" y="15"/>
                  </a:cubicBezTo>
                  <a:cubicBezTo>
                    <a:pt x="7" y="23"/>
                    <a:pt x="19" y="30"/>
                    <a:pt x="29" y="30"/>
                  </a:cubicBezTo>
                  <a:cubicBezTo>
                    <a:pt x="40" y="30"/>
                    <a:pt x="45" y="23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iṩḻïďè">
              <a:extLst>
                <a:ext uri="{FF2B5EF4-FFF2-40B4-BE49-F238E27FC236}">
                  <a16:creationId xmlns:a16="http://schemas.microsoft.com/office/drawing/2014/main" id="{3CC5F845-9025-4E51-995E-8D391FA133B7}"/>
                </a:ext>
              </a:extLst>
            </p:cNvPr>
            <p:cNvSpPr/>
            <p:nvPr/>
          </p:nvSpPr>
          <p:spPr bwMode="auto">
            <a:xfrm>
              <a:off x="9926077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6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8" y="6"/>
                    <a:pt x="26" y="0"/>
                    <a:pt x="16" y="0"/>
                  </a:cubicBezTo>
                  <a:cubicBezTo>
                    <a:pt x="6" y="0"/>
                    <a:pt x="0" y="6"/>
                    <a:pt x="4" y="15"/>
                  </a:cubicBezTo>
                  <a:cubicBezTo>
                    <a:pt x="8" y="23"/>
                    <a:pt x="20" y="30"/>
                    <a:pt x="31" y="30"/>
                  </a:cubicBezTo>
                  <a:cubicBezTo>
                    <a:pt x="41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îṡļiḍe">
              <a:extLst>
                <a:ext uri="{FF2B5EF4-FFF2-40B4-BE49-F238E27FC236}">
                  <a16:creationId xmlns:a16="http://schemas.microsoft.com/office/drawing/2014/main" id="{C5632163-1C26-418B-B505-1F8B3BCFBE1E}"/>
                </a:ext>
              </a:extLst>
            </p:cNvPr>
            <p:cNvSpPr/>
            <p:nvPr/>
          </p:nvSpPr>
          <p:spPr bwMode="auto">
            <a:xfrm>
              <a:off x="10094259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8" y="6"/>
                    <a:pt x="26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0" y="30"/>
                    <a:pt x="31" y="30"/>
                  </a:cubicBezTo>
                  <a:cubicBezTo>
                    <a:pt x="41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iṧľíďe">
              <a:extLst>
                <a:ext uri="{FF2B5EF4-FFF2-40B4-BE49-F238E27FC236}">
                  <a16:creationId xmlns:a16="http://schemas.microsoft.com/office/drawing/2014/main" id="{9F2BAE2B-E512-4F55-AF45-566DEC598BD4}"/>
                </a:ext>
              </a:extLst>
            </p:cNvPr>
            <p:cNvSpPr/>
            <p:nvPr/>
          </p:nvSpPr>
          <p:spPr bwMode="auto">
            <a:xfrm>
              <a:off x="10262440" y="4063064"/>
              <a:ext cx="166638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1" y="30"/>
                    <a:pt x="31" y="30"/>
                  </a:cubicBezTo>
                  <a:cubicBezTo>
                    <a:pt x="42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ísļiḍé">
              <a:extLst>
                <a:ext uri="{FF2B5EF4-FFF2-40B4-BE49-F238E27FC236}">
                  <a16:creationId xmlns:a16="http://schemas.microsoft.com/office/drawing/2014/main" id="{71F10E63-7CE8-4FF1-9F0D-BE01E6479E74}"/>
                </a:ext>
              </a:extLst>
            </p:cNvPr>
            <p:cNvSpPr/>
            <p:nvPr/>
          </p:nvSpPr>
          <p:spPr bwMode="auto">
            <a:xfrm>
              <a:off x="10429078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1" y="30"/>
                    <a:pt x="31" y="30"/>
                  </a:cubicBezTo>
                  <a:cubicBezTo>
                    <a:pt x="42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íṧ1îde">
              <a:extLst>
                <a:ext uri="{FF2B5EF4-FFF2-40B4-BE49-F238E27FC236}">
                  <a16:creationId xmlns:a16="http://schemas.microsoft.com/office/drawing/2014/main" id="{84057380-1A3D-44B2-92E5-B6906528B219}"/>
                </a:ext>
              </a:extLst>
            </p:cNvPr>
            <p:cNvSpPr/>
            <p:nvPr/>
          </p:nvSpPr>
          <p:spPr bwMode="auto">
            <a:xfrm>
              <a:off x="10597259" y="4063064"/>
              <a:ext cx="171268" cy="109550"/>
            </a:xfrm>
            <a:custGeom>
              <a:avLst/>
              <a:gdLst>
                <a:gd name="T0" fmla="*/ 42 w 47"/>
                <a:gd name="T1" fmla="*/ 15 h 30"/>
                <a:gd name="T2" fmla="*/ 14 w 47"/>
                <a:gd name="T3" fmla="*/ 0 h 30"/>
                <a:gd name="T4" fmla="*/ 4 w 47"/>
                <a:gd name="T5" fmla="*/ 15 h 30"/>
                <a:gd name="T6" fmla="*/ 32 w 47"/>
                <a:gd name="T7" fmla="*/ 30 h 30"/>
                <a:gd name="T8" fmla="*/ 42 w 47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0">
                  <a:moveTo>
                    <a:pt x="42" y="15"/>
                  </a:moveTo>
                  <a:cubicBezTo>
                    <a:pt x="37" y="6"/>
                    <a:pt x="25" y="0"/>
                    <a:pt x="14" y="0"/>
                  </a:cubicBezTo>
                  <a:cubicBezTo>
                    <a:pt x="4" y="0"/>
                    <a:pt x="0" y="6"/>
                    <a:pt x="4" y="15"/>
                  </a:cubicBezTo>
                  <a:cubicBezTo>
                    <a:pt x="9" y="23"/>
                    <a:pt x="21" y="30"/>
                    <a:pt x="32" y="30"/>
                  </a:cubicBezTo>
                  <a:cubicBezTo>
                    <a:pt x="42" y="30"/>
                    <a:pt x="47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î$ḻïḋê">
              <a:extLst>
                <a:ext uri="{FF2B5EF4-FFF2-40B4-BE49-F238E27FC236}">
                  <a16:creationId xmlns:a16="http://schemas.microsoft.com/office/drawing/2014/main" id="{11C37756-B45F-4460-BB36-4C383581EB32}"/>
                </a:ext>
              </a:extLst>
            </p:cNvPr>
            <p:cNvSpPr/>
            <p:nvPr/>
          </p:nvSpPr>
          <p:spPr bwMode="auto">
            <a:xfrm>
              <a:off x="9652976" y="4198843"/>
              <a:ext cx="166638" cy="112636"/>
            </a:xfrm>
            <a:custGeom>
              <a:avLst/>
              <a:gdLst>
                <a:gd name="T0" fmla="*/ 42 w 46"/>
                <a:gd name="T1" fmla="*/ 15 h 31"/>
                <a:gd name="T2" fmla="*/ 16 w 46"/>
                <a:gd name="T3" fmla="*/ 0 h 31"/>
                <a:gd name="T4" fmla="*/ 4 w 46"/>
                <a:gd name="T5" fmla="*/ 15 h 31"/>
                <a:gd name="T6" fmla="*/ 30 w 46"/>
                <a:gd name="T7" fmla="*/ 31 h 31"/>
                <a:gd name="T8" fmla="*/ 42 w 4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1">
                  <a:moveTo>
                    <a:pt x="42" y="15"/>
                  </a:moveTo>
                  <a:cubicBezTo>
                    <a:pt x="38" y="7"/>
                    <a:pt x="27" y="0"/>
                    <a:pt x="16" y="0"/>
                  </a:cubicBezTo>
                  <a:cubicBezTo>
                    <a:pt x="6" y="0"/>
                    <a:pt x="0" y="7"/>
                    <a:pt x="4" y="15"/>
                  </a:cubicBezTo>
                  <a:cubicBezTo>
                    <a:pt x="8" y="24"/>
                    <a:pt x="20" y="31"/>
                    <a:pt x="30" y="31"/>
                  </a:cubicBezTo>
                  <a:cubicBezTo>
                    <a:pt x="41" y="31"/>
                    <a:pt x="46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íṧliḑè">
              <a:extLst>
                <a:ext uri="{FF2B5EF4-FFF2-40B4-BE49-F238E27FC236}">
                  <a16:creationId xmlns:a16="http://schemas.microsoft.com/office/drawing/2014/main" id="{D84121AD-4760-4F5C-8BDA-DFFC855FBAD4}"/>
                </a:ext>
              </a:extLst>
            </p:cNvPr>
            <p:cNvSpPr/>
            <p:nvPr/>
          </p:nvSpPr>
          <p:spPr bwMode="auto">
            <a:xfrm>
              <a:off x="9824243" y="4198843"/>
              <a:ext cx="168182" cy="112636"/>
            </a:xfrm>
            <a:custGeom>
              <a:avLst/>
              <a:gdLst>
                <a:gd name="T0" fmla="*/ 42 w 46"/>
                <a:gd name="T1" fmla="*/ 15 h 31"/>
                <a:gd name="T2" fmla="*/ 16 w 46"/>
                <a:gd name="T3" fmla="*/ 0 h 31"/>
                <a:gd name="T4" fmla="*/ 4 w 46"/>
                <a:gd name="T5" fmla="*/ 15 h 31"/>
                <a:gd name="T6" fmla="*/ 30 w 46"/>
                <a:gd name="T7" fmla="*/ 31 h 31"/>
                <a:gd name="T8" fmla="*/ 42 w 4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1">
                  <a:moveTo>
                    <a:pt x="42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8" y="24"/>
                    <a:pt x="20" y="31"/>
                    <a:pt x="30" y="31"/>
                  </a:cubicBezTo>
                  <a:cubicBezTo>
                    <a:pt x="41" y="31"/>
                    <a:pt x="46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ïślíḑe">
              <a:extLst>
                <a:ext uri="{FF2B5EF4-FFF2-40B4-BE49-F238E27FC236}">
                  <a16:creationId xmlns:a16="http://schemas.microsoft.com/office/drawing/2014/main" id="{BE884643-F874-48A2-8794-07009E4603BD}"/>
                </a:ext>
              </a:extLst>
            </p:cNvPr>
            <p:cNvSpPr/>
            <p:nvPr/>
          </p:nvSpPr>
          <p:spPr bwMode="auto">
            <a:xfrm>
              <a:off x="9992424" y="4198843"/>
              <a:ext cx="171268" cy="112636"/>
            </a:xfrm>
            <a:custGeom>
              <a:avLst/>
              <a:gdLst>
                <a:gd name="T0" fmla="*/ 43 w 47"/>
                <a:gd name="T1" fmla="*/ 15 h 31"/>
                <a:gd name="T2" fmla="*/ 16 w 47"/>
                <a:gd name="T3" fmla="*/ 0 h 31"/>
                <a:gd name="T4" fmla="*/ 4 w 47"/>
                <a:gd name="T5" fmla="*/ 15 h 31"/>
                <a:gd name="T6" fmla="*/ 31 w 47"/>
                <a:gd name="T7" fmla="*/ 31 h 31"/>
                <a:gd name="T8" fmla="*/ 43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3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9" y="24"/>
                    <a:pt x="21" y="31"/>
                    <a:pt x="31" y="31"/>
                  </a:cubicBezTo>
                  <a:cubicBezTo>
                    <a:pt x="42" y="31"/>
                    <a:pt x="47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isḻîde">
              <a:extLst>
                <a:ext uri="{FF2B5EF4-FFF2-40B4-BE49-F238E27FC236}">
                  <a16:creationId xmlns:a16="http://schemas.microsoft.com/office/drawing/2014/main" id="{46A6DCB2-7951-4BEC-AFC7-4889376F34ED}"/>
                </a:ext>
              </a:extLst>
            </p:cNvPr>
            <p:cNvSpPr/>
            <p:nvPr/>
          </p:nvSpPr>
          <p:spPr bwMode="auto">
            <a:xfrm>
              <a:off x="10163691" y="4198843"/>
              <a:ext cx="171268" cy="112636"/>
            </a:xfrm>
            <a:custGeom>
              <a:avLst/>
              <a:gdLst>
                <a:gd name="T0" fmla="*/ 42 w 47"/>
                <a:gd name="T1" fmla="*/ 15 h 31"/>
                <a:gd name="T2" fmla="*/ 15 w 47"/>
                <a:gd name="T3" fmla="*/ 0 h 31"/>
                <a:gd name="T4" fmla="*/ 4 w 47"/>
                <a:gd name="T5" fmla="*/ 15 h 31"/>
                <a:gd name="T6" fmla="*/ 31 w 47"/>
                <a:gd name="T7" fmla="*/ 31 h 31"/>
                <a:gd name="T8" fmla="*/ 42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2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8" y="24"/>
                    <a:pt x="20" y="31"/>
                    <a:pt x="31" y="31"/>
                  </a:cubicBezTo>
                  <a:cubicBezTo>
                    <a:pt x="42" y="31"/>
                    <a:pt x="47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îS1íḍe">
              <a:extLst>
                <a:ext uri="{FF2B5EF4-FFF2-40B4-BE49-F238E27FC236}">
                  <a16:creationId xmlns:a16="http://schemas.microsoft.com/office/drawing/2014/main" id="{012E30FC-5327-48D8-BB91-2ACF601B871A}"/>
                </a:ext>
              </a:extLst>
            </p:cNvPr>
            <p:cNvSpPr/>
            <p:nvPr/>
          </p:nvSpPr>
          <p:spPr bwMode="auto">
            <a:xfrm>
              <a:off x="10330329" y="4198843"/>
              <a:ext cx="175896" cy="112636"/>
            </a:xfrm>
            <a:custGeom>
              <a:avLst/>
              <a:gdLst>
                <a:gd name="T0" fmla="*/ 43 w 48"/>
                <a:gd name="T1" fmla="*/ 15 h 31"/>
                <a:gd name="T2" fmla="*/ 16 w 48"/>
                <a:gd name="T3" fmla="*/ 0 h 31"/>
                <a:gd name="T4" fmla="*/ 5 w 48"/>
                <a:gd name="T5" fmla="*/ 15 h 31"/>
                <a:gd name="T6" fmla="*/ 32 w 48"/>
                <a:gd name="T7" fmla="*/ 31 h 31"/>
                <a:gd name="T8" fmla="*/ 43 w 4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1">
                  <a:moveTo>
                    <a:pt x="43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5" y="15"/>
                  </a:cubicBezTo>
                  <a:cubicBezTo>
                    <a:pt x="9" y="24"/>
                    <a:pt x="21" y="31"/>
                    <a:pt x="32" y="31"/>
                  </a:cubicBezTo>
                  <a:cubicBezTo>
                    <a:pt x="43" y="31"/>
                    <a:pt x="48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işlíḑe">
              <a:extLst>
                <a:ext uri="{FF2B5EF4-FFF2-40B4-BE49-F238E27FC236}">
                  <a16:creationId xmlns:a16="http://schemas.microsoft.com/office/drawing/2014/main" id="{488D7486-3847-4463-B69C-D47A0CF89FEC}"/>
                </a:ext>
              </a:extLst>
            </p:cNvPr>
            <p:cNvSpPr/>
            <p:nvPr/>
          </p:nvSpPr>
          <p:spPr bwMode="auto">
            <a:xfrm>
              <a:off x="10503139" y="4198843"/>
              <a:ext cx="171268" cy="112636"/>
            </a:xfrm>
            <a:custGeom>
              <a:avLst/>
              <a:gdLst>
                <a:gd name="T0" fmla="*/ 43 w 47"/>
                <a:gd name="T1" fmla="*/ 15 h 31"/>
                <a:gd name="T2" fmla="*/ 15 w 47"/>
                <a:gd name="T3" fmla="*/ 0 h 31"/>
                <a:gd name="T4" fmla="*/ 4 w 47"/>
                <a:gd name="T5" fmla="*/ 15 h 31"/>
                <a:gd name="T6" fmla="*/ 32 w 47"/>
                <a:gd name="T7" fmla="*/ 31 h 31"/>
                <a:gd name="T8" fmla="*/ 43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3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9" y="24"/>
                    <a:pt x="21" y="31"/>
                    <a:pt x="32" y="31"/>
                  </a:cubicBezTo>
                  <a:cubicBezTo>
                    <a:pt x="43" y="31"/>
                    <a:pt x="47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iśľîde">
              <a:extLst>
                <a:ext uri="{FF2B5EF4-FFF2-40B4-BE49-F238E27FC236}">
                  <a16:creationId xmlns:a16="http://schemas.microsoft.com/office/drawing/2014/main" id="{39D6CDD4-650D-46BE-8385-CF750BF99933}"/>
                </a:ext>
              </a:extLst>
            </p:cNvPr>
            <p:cNvSpPr/>
            <p:nvPr/>
          </p:nvSpPr>
          <p:spPr bwMode="auto">
            <a:xfrm>
              <a:off x="10669777" y="4198843"/>
              <a:ext cx="175896" cy="112636"/>
            </a:xfrm>
            <a:custGeom>
              <a:avLst/>
              <a:gdLst>
                <a:gd name="T0" fmla="*/ 43 w 48"/>
                <a:gd name="T1" fmla="*/ 15 h 31"/>
                <a:gd name="T2" fmla="*/ 15 w 48"/>
                <a:gd name="T3" fmla="*/ 0 h 31"/>
                <a:gd name="T4" fmla="*/ 5 w 48"/>
                <a:gd name="T5" fmla="*/ 15 h 31"/>
                <a:gd name="T6" fmla="*/ 33 w 48"/>
                <a:gd name="T7" fmla="*/ 31 h 31"/>
                <a:gd name="T8" fmla="*/ 43 w 4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1">
                  <a:moveTo>
                    <a:pt x="43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5" y="15"/>
                  </a:cubicBezTo>
                  <a:cubicBezTo>
                    <a:pt x="10" y="24"/>
                    <a:pt x="22" y="31"/>
                    <a:pt x="33" y="31"/>
                  </a:cubicBezTo>
                  <a:cubicBezTo>
                    <a:pt x="44" y="31"/>
                    <a:pt x="48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ïsļiḍe">
              <a:extLst>
                <a:ext uri="{FF2B5EF4-FFF2-40B4-BE49-F238E27FC236}">
                  <a16:creationId xmlns:a16="http://schemas.microsoft.com/office/drawing/2014/main" id="{7D7AD53A-C5D3-4CBE-8627-142E76F8CC4E}"/>
                </a:ext>
              </a:extLst>
            </p:cNvPr>
            <p:cNvSpPr/>
            <p:nvPr/>
          </p:nvSpPr>
          <p:spPr bwMode="auto">
            <a:xfrm>
              <a:off x="9543426" y="4337708"/>
              <a:ext cx="166638" cy="115721"/>
            </a:xfrm>
            <a:custGeom>
              <a:avLst/>
              <a:gdLst>
                <a:gd name="T0" fmla="*/ 42 w 46"/>
                <a:gd name="T1" fmla="*/ 16 h 32"/>
                <a:gd name="T2" fmla="*/ 16 w 46"/>
                <a:gd name="T3" fmla="*/ 0 h 32"/>
                <a:gd name="T4" fmla="*/ 4 w 46"/>
                <a:gd name="T5" fmla="*/ 16 h 32"/>
                <a:gd name="T6" fmla="*/ 30 w 46"/>
                <a:gd name="T7" fmla="*/ 32 h 32"/>
                <a:gd name="T8" fmla="*/ 42 w 46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2">
                  <a:moveTo>
                    <a:pt x="42" y="16"/>
                  </a:moveTo>
                  <a:cubicBezTo>
                    <a:pt x="38" y="7"/>
                    <a:pt x="27" y="0"/>
                    <a:pt x="16" y="0"/>
                  </a:cubicBezTo>
                  <a:cubicBezTo>
                    <a:pt x="6" y="0"/>
                    <a:pt x="0" y="7"/>
                    <a:pt x="4" y="16"/>
                  </a:cubicBezTo>
                  <a:cubicBezTo>
                    <a:pt x="7" y="25"/>
                    <a:pt x="19" y="32"/>
                    <a:pt x="30" y="32"/>
                  </a:cubicBezTo>
                  <a:cubicBezTo>
                    <a:pt x="41" y="32"/>
                    <a:pt x="46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íSlïḑe">
              <a:extLst>
                <a:ext uri="{FF2B5EF4-FFF2-40B4-BE49-F238E27FC236}">
                  <a16:creationId xmlns:a16="http://schemas.microsoft.com/office/drawing/2014/main" id="{2D4D6B74-8162-4384-88BC-72FD6BB1C77C}"/>
                </a:ext>
              </a:extLst>
            </p:cNvPr>
            <p:cNvSpPr/>
            <p:nvPr/>
          </p:nvSpPr>
          <p:spPr bwMode="auto">
            <a:xfrm>
              <a:off x="9714694" y="4337708"/>
              <a:ext cx="171268" cy="115721"/>
            </a:xfrm>
            <a:custGeom>
              <a:avLst/>
              <a:gdLst>
                <a:gd name="T0" fmla="*/ 43 w 47"/>
                <a:gd name="T1" fmla="*/ 16 h 32"/>
                <a:gd name="T2" fmla="*/ 16 w 47"/>
                <a:gd name="T3" fmla="*/ 0 h 32"/>
                <a:gd name="T4" fmla="*/ 4 w 47"/>
                <a:gd name="T5" fmla="*/ 16 h 32"/>
                <a:gd name="T6" fmla="*/ 31 w 47"/>
                <a:gd name="T7" fmla="*/ 32 h 32"/>
                <a:gd name="T8" fmla="*/ 43 w 47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2">
                  <a:moveTo>
                    <a:pt x="43" y="16"/>
                  </a:moveTo>
                  <a:cubicBezTo>
                    <a:pt x="39" y="7"/>
                    <a:pt x="27" y="0"/>
                    <a:pt x="16" y="0"/>
                  </a:cubicBezTo>
                  <a:cubicBezTo>
                    <a:pt x="6" y="0"/>
                    <a:pt x="0" y="7"/>
                    <a:pt x="4" y="16"/>
                  </a:cubicBezTo>
                  <a:cubicBezTo>
                    <a:pt x="8" y="25"/>
                    <a:pt x="20" y="32"/>
                    <a:pt x="31" y="32"/>
                  </a:cubicBezTo>
                  <a:cubicBezTo>
                    <a:pt x="41" y="32"/>
                    <a:pt x="47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iš1îḍè">
              <a:extLst>
                <a:ext uri="{FF2B5EF4-FFF2-40B4-BE49-F238E27FC236}">
                  <a16:creationId xmlns:a16="http://schemas.microsoft.com/office/drawing/2014/main" id="{BA95A3E7-E85D-4E15-9B72-54A0A5BB1864}"/>
                </a:ext>
              </a:extLst>
            </p:cNvPr>
            <p:cNvSpPr/>
            <p:nvPr/>
          </p:nvSpPr>
          <p:spPr bwMode="auto">
            <a:xfrm>
              <a:off x="9885961" y="4337708"/>
              <a:ext cx="174353" cy="115721"/>
            </a:xfrm>
            <a:custGeom>
              <a:avLst/>
              <a:gdLst>
                <a:gd name="T0" fmla="*/ 43 w 48"/>
                <a:gd name="T1" fmla="*/ 16 h 32"/>
                <a:gd name="T2" fmla="*/ 16 w 48"/>
                <a:gd name="T3" fmla="*/ 0 h 32"/>
                <a:gd name="T4" fmla="*/ 5 w 48"/>
                <a:gd name="T5" fmla="*/ 16 h 32"/>
                <a:gd name="T6" fmla="*/ 31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9" y="7"/>
                    <a:pt x="27" y="0"/>
                    <a:pt x="16" y="0"/>
                  </a:cubicBezTo>
                  <a:cubicBezTo>
                    <a:pt x="6" y="0"/>
                    <a:pt x="0" y="7"/>
                    <a:pt x="5" y="16"/>
                  </a:cubicBezTo>
                  <a:cubicBezTo>
                    <a:pt x="9" y="25"/>
                    <a:pt x="21" y="32"/>
                    <a:pt x="31" y="32"/>
                  </a:cubicBezTo>
                  <a:cubicBezTo>
                    <a:pt x="42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ïSliďé">
              <a:extLst>
                <a:ext uri="{FF2B5EF4-FFF2-40B4-BE49-F238E27FC236}">
                  <a16:creationId xmlns:a16="http://schemas.microsoft.com/office/drawing/2014/main" id="{062915AF-3A25-4137-A827-598F8583BB80}"/>
                </a:ext>
              </a:extLst>
            </p:cNvPr>
            <p:cNvSpPr/>
            <p:nvPr/>
          </p:nvSpPr>
          <p:spPr bwMode="auto">
            <a:xfrm>
              <a:off x="10060314" y="4337708"/>
              <a:ext cx="172810" cy="115721"/>
            </a:xfrm>
            <a:custGeom>
              <a:avLst/>
              <a:gdLst>
                <a:gd name="T0" fmla="*/ 43 w 47"/>
                <a:gd name="T1" fmla="*/ 16 h 32"/>
                <a:gd name="T2" fmla="*/ 16 w 47"/>
                <a:gd name="T3" fmla="*/ 0 h 32"/>
                <a:gd name="T4" fmla="*/ 4 w 47"/>
                <a:gd name="T5" fmla="*/ 16 h 32"/>
                <a:gd name="T6" fmla="*/ 31 w 47"/>
                <a:gd name="T7" fmla="*/ 32 h 32"/>
                <a:gd name="T8" fmla="*/ 43 w 47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2">
                  <a:moveTo>
                    <a:pt x="43" y="16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6"/>
                  </a:cubicBezTo>
                  <a:cubicBezTo>
                    <a:pt x="8" y="25"/>
                    <a:pt x="20" y="32"/>
                    <a:pt x="31" y="32"/>
                  </a:cubicBezTo>
                  <a:cubicBezTo>
                    <a:pt x="42" y="32"/>
                    <a:pt x="47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iṡḷidè">
              <a:extLst>
                <a:ext uri="{FF2B5EF4-FFF2-40B4-BE49-F238E27FC236}">
                  <a16:creationId xmlns:a16="http://schemas.microsoft.com/office/drawing/2014/main" id="{3357642B-FA97-4E66-90F8-7BB4B79404EC}"/>
                </a:ext>
              </a:extLst>
            </p:cNvPr>
            <p:cNvSpPr/>
            <p:nvPr/>
          </p:nvSpPr>
          <p:spPr bwMode="auto">
            <a:xfrm>
              <a:off x="10233124" y="4337708"/>
              <a:ext cx="174353" cy="115721"/>
            </a:xfrm>
            <a:custGeom>
              <a:avLst/>
              <a:gdLst>
                <a:gd name="T0" fmla="*/ 43 w 48"/>
                <a:gd name="T1" fmla="*/ 16 h 32"/>
                <a:gd name="T2" fmla="*/ 16 w 48"/>
                <a:gd name="T3" fmla="*/ 0 h 32"/>
                <a:gd name="T4" fmla="*/ 4 w 48"/>
                <a:gd name="T5" fmla="*/ 16 h 32"/>
                <a:gd name="T6" fmla="*/ 32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9" y="7"/>
                    <a:pt x="26" y="0"/>
                    <a:pt x="16" y="0"/>
                  </a:cubicBezTo>
                  <a:cubicBezTo>
                    <a:pt x="5" y="0"/>
                    <a:pt x="0" y="7"/>
                    <a:pt x="4" y="16"/>
                  </a:cubicBezTo>
                  <a:cubicBezTo>
                    <a:pt x="9" y="25"/>
                    <a:pt x="21" y="32"/>
                    <a:pt x="32" y="32"/>
                  </a:cubicBezTo>
                  <a:cubicBezTo>
                    <a:pt x="43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îṣ1ïḓe">
              <a:extLst>
                <a:ext uri="{FF2B5EF4-FFF2-40B4-BE49-F238E27FC236}">
                  <a16:creationId xmlns:a16="http://schemas.microsoft.com/office/drawing/2014/main" id="{C533B2B6-9A50-4262-92ED-85F13FB0A1E8}"/>
                </a:ext>
              </a:extLst>
            </p:cNvPr>
            <p:cNvSpPr/>
            <p:nvPr/>
          </p:nvSpPr>
          <p:spPr bwMode="auto">
            <a:xfrm>
              <a:off x="10404391" y="4337708"/>
              <a:ext cx="174353" cy="115721"/>
            </a:xfrm>
            <a:custGeom>
              <a:avLst/>
              <a:gdLst>
                <a:gd name="T0" fmla="*/ 44 w 48"/>
                <a:gd name="T1" fmla="*/ 16 h 32"/>
                <a:gd name="T2" fmla="*/ 16 w 48"/>
                <a:gd name="T3" fmla="*/ 0 h 32"/>
                <a:gd name="T4" fmla="*/ 5 w 48"/>
                <a:gd name="T5" fmla="*/ 16 h 32"/>
                <a:gd name="T6" fmla="*/ 33 w 48"/>
                <a:gd name="T7" fmla="*/ 32 h 32"/>
                <a:gd name="T8" fmla="*/ 44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4" y="16"/>
                  </a:moveTo>
                  <a:cubicBezTo>
                    <a:pt x="39" y="7"/>
                    <a:pt x="26" y="0"/>
                    <a:pt x="16" y="0"/>
                  </a:cubicBezTo>
                  <a:cubicBezTo>
                    <a:pt x="5" y="0"/>
                    <a:pt x="0" y="7"/>
                    <a:pt x="5" y="16"/>
                  </a:cubicBezTo>
                  <a:cubicBezTo>
                    <a:pt x="10" y="25"/>
                    <a:pt x="22" y="32"/>
                    <a:pt x="33" y="32"/>
                  </a:cubicBezTo>
                  <a:cubicBezTo>
                    <a:pt x="44" y="32"/>
                    <a:pt x="48" y="25"/>
                    <a:pt x="4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îśļïdè">
              <a:extLst>
                <a:ext uri="{FF2B5EF4-FFF2-40B4-BE49-F238E27FC236}">
                  <a16:creationId xmlns:a16="http://schemas.microsoft.com/office/drawing/2014/main" id="{0F0F3643-DE73-4839-AA07-9D96A5201104}"/>
                </a:ext>
              </a:extLst>
            </p:cNvPr>
            <p:cNvSpPr/>
            <p:nvPr/>
          </p:nvSpPr>
          <p:spPr bwMode="auto">
            <a:xfrm>
              <a:off x="10578744" y="4337708"/>
              <a:ext cx="175896" cy="115721"/>
            </a:xfrm>
            <a:custGeom>
              <a:avLst/>
              <a:gdLst>
                <a:gd name="T0" fmla="*/ 43 w 48"/>
                <a:gd name="T1" fmla="*/ 16 h 32"/>
                <a:gd name="T2" fmla="*/ 15 w 48"/>
                <a:gd name="T3" fmla="*/ 0 h 32"/>
                <a:gd name="T4" fmla="*/ 4 w 48"/>
                <a:gd name="T5" fmla="*/ 16 h 32"/>
                <a:gd name="T6" fmla="*/ 33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4" y="0"/>
                    <a:pt x="0" y="7"/>
                    <a:pt x="4" y="16"/>
                  </a:cubicBezTo>
                  <a:cubicBezTo>
                    <a:pt x="9" y="25"/>
                    <a:pt x="22" y="32"/>
                    <a:pt x="33" y="32"/>
                  </a:cubicBezTo>
                  <a:cubicBezTo>
                    <a:pt x="43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i$ľiḋé">
              <a:extLst>
                <a:ext uri="{FF2B5EF4-FFF2-40B4-BE49-F238E27FC236}">
                  <a16:creationId xmlns:a16="http://schemas.microsoft.com/office/drawing/2014/main" id="{35992D92-B954-43F8-A6DD-93E707361FEB}"/>
                </a:ext>
              </a:extLst>
            </p:cNvPr>
            <p:cNvSpPr/>
            <p:nvPr/>
          </p:nvSpPr>
          <p:spPr bwMode="auto">
            <a:xfrm>
              <a:off x="10750011" y="4337708"/>
              <a:ext cx="178982" cy="115721"/>
            </a:xfrm>
            <a:custGeom>
              <a:avLst/>
              <a:gdLst>
                <a:gd name="T0" fmla="*/ 43 w 49"/>
                <a:gd name="T1" fmla="*/ 16 h 32"/>
                <a:gd name="T2" fmla="*/ 15 w 49"/>
                <a:gd name="T3" fmla="*/ 0 h 32"/>
                <a:gd name="T4" fmla="*/ 5 w 49"/>
                <a:gd name="T5" fmla="*/ 16 h 32"/>
                <a:gd name="T6" fmla="*/ 33 w 49"/>
                <a:gd name="T7" fmla="*/ 32 h 32"/>
                <a:gd name="T8" fmla="*/ 43 w 4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43" y="16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4" y="0"/>
                    <a:pt x="0" y="7"/>
                    <a:pt x="5" y="16"/>
                  </a:cubicBezTo>
                  <a:cubicBezTo>
                    <a:pt x="10" y="25"/>
                    <a:pt x="22" y="32"/>
                    <a:pt x="33" y="32"/>
                  </a:cubicBezTo>
                  <a:cubicBezTo>
                    <a:pt x="44" y="32"/>
                    <a:pt x="49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iṩḻiḑê">
              <a:extLst>
                <a:ext uri="{FF2B5EF4-FFF2-40B4-BE49-F238E27FC236}">
                  <a16:creationId xmlns:a16="http://schemas.microsoft.com/office/drawing/2014/main" id="{CC63E989-B1E3-40E0-BBD0-1E2538C5C0D8}"/>
                </a:ext>
              </a:extLst>
            </p:cNvPr>
            <p:cNvSpPr/>
            <p:nvPr/>
          </p:nvSpPr>
          <p:spPr bwMode="auto">
            <a:xfrm>
              <a:off x="10922821" y="4337708"/>
              <a:ext cx="177439" cy="115721"/>
            </a:xfrm>
            <a:custGeom>
              <a:avLst/>
              <a:gdLst>
                <a:gd name="T0" fmla="*/ 44 w 49"/>
                <a:gd name="T1" fmla="*/ 16 h 32"/>
                <a:gd name="T2" fmla="*/ 15 w 49"/>
                <a:gd name="T3" fmla="*/ 0 h 32"/>
                <a:gd name="T4" fmla="*/ 5 w 49"/>
                <a:gd name="T5" fmla="*/ 16 h 32"/>
                <a:gd name="T6" fmla="*/ 34 w 49"/>
                <a:gd name="T7" fmla="*/ 32 h 32"/>
                <a:gd name="T8" fmla="*/ 44 w 4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44" y="16"/>
                  </a:moveTo>
                  <a:cubicBezTo>
                    <a:pt x="39" y="7"/>
                    <a:pt x="26" y="0"/>
                    <a:pt x="15" y="0"/>
                  </a:cubicBezTo>
                  <a:cubicBezTo>
                    <a:pt x="5" y="0"/>
                    <a:pt x="0" y="7"/>
                    <a:pt x="5" y="16"/>
                  </a:cubicBezTo>
                  <a:cubicBezTo>
                    <a:pt x="10" y="25"/>
                    <a:pt x="23" y="32"/>
                    <a:pt x="34" y="32"/>
                  </a:cubicBezTo>
                  <a:cubicBezTo>
                    <a:pt x="45" y="32"/>
                    <a:pt x="49" y="25"/>
                    <a:pt x="4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ïṧlïḋe">
              <a:extLst>
                <a:ext uri="{FF2B5EF4-FFF2-40B4-BE49-F238E27FC236}">
                  <a16:creationId xmlns:a16="http://schemas.microsoft.com/office/drawing/2014/main" id="{8BDE647E-02AE-40D0-8D69-57A68F6861AE}"/>
                </a:ext>
              </a:extLst>
            </p:cNvPr>
            <p:cNvSpPr/>
            <p:nvPr/>
          </p:nvSpPr>
          <p:spPr bwMode="auto">
            <a:xfrm>
              <a:off x="9779498" y="4479659"/>
              <a:ext cx="172810" cy="123436"/>
            </a:xfrm>
            <a:custGeom>
              <a:avLst/>
              <a:gdLst>
                <a:gd name="T0" fmla="*/ 43 w 47"/>
                <a:gd name="T1" fmla="*/ 17 h 34"/>
                <a:gd name="T2" fmla="*/ 16 w 47"/>
                <a:gd name="T3" fmla="*/ 0 h 34"/>
                <a:gd name="T4" fmla="*/ 4 w 47"/>
                <a:gd name="T5" fmla="*/ 17 h 34"/>
                <a:gd name="T6" fmla="*/ 31 w 47"/>
                <a:gd name="T7" fmla="*/ 34 h 34"/>
                <a:gd name="T8" fmla="*/ 43 w 47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4">
                  <a:moveTo>
                    <a:pt x="43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6"/>
                    <a:pt x="20" y="34"/>
                    <a:pt x="31" y="34"/>
                  </a:cubicBezTo>
                  <a:cubicBezTo>
                    <a:pt x="42" y="34"/>
                    <a:pt x="47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$ḻïḋê">
              <a:extLst>
                <a:ext uri="{FF2B5EF4-FFF2-40B4-BE49-F238E27FC236}">
                  <a16:creationId xmlns:a16="http://schemas.microsoft.com/office/drawing/2014/main" id="{5E119872-2B30-419B-9B75-BC1382B80439}"/>
                </a:ext>
              </a:extLst>
            </p:cNvPr>
            <p:cNvSpPr/>
            <p:nvPr/>
          </p:nvSpPr>
          <p:spPr bwMode="auto">
            <a:xfrm>
              <a:off x="9955394" y="4479659"/>
              <a:ext cx="174353" cy="123436"/>
            </a:xfrm>
            <a:custGeom>
              <a:avLst/>
              <a:gdLst>
                <a:gd name="T0" fmla="*/ 43 w 48"/>
                <a:gd name="T1" fmla="*/ 17 h 34"/>
                <a:gd name="T2" fmla="*/ 16 w 48"/>
                <a:gd name="T3" fmla="*/ 0 h 34"/>
                <a:gd name="T4" fmla="*/ 4 w 48"/>
                <a:gd name="T5" fmla="*/ 17 h 34"/>
                <a:gd name="T6" fmla="*/ 31 w 48"/>
                <a:gd name="T7" fmla="*/ 34 h 34"/>
                <a:gd name="T8" fmla="*/ 43 w 48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4">
                  <a:moveTo>
                    <a:pt x="43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6"/>
                    <a:pt x="21" y="34"/>
                    <a:pt x="31" y="34"/>
                  </a:cubicBezTo>
                  <a:cubicBezTo>
                    <a:pt x="42" y="34"/>
                    <a:pt x="48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ïś1ide">
              <a:extLst>
                <a:ext uri="{FF2B5EF4-FFF2-40B4-BE49-F238E27FC236}">
                  <a16:creationId xmlns:a16="http://schemas.microsoft.com/office/drawing/2014/main" id="{F516D485-BDB5-47A4-9245-8E78D2AA473D}"/>
                </a:ext>
              </a:extLst>
            </p:cNvPr>
            <p:cNvSpPr/>
            <p:nvPr/>
          </p:nvSpPr>
          <p:spPr bwMode="auto">
            <a:xfrm>
              <a:off x="10129746" y="4479659"/>
              <a:ext cx="175896" cy="123436"/>
            </a:xfrm>
            <a:custGeom>
              <a:avLst/>
              <a:gdLst>
                <a:gd name="T0" fmla="*/ 44 w 48"/>
                <a:gd name="T1" fmla="*/ 17 h 34"/>
                <a:gd name="T2" fmla="*/ 16 w 48"/>
                <a:gd name="T3" fmla="*/ 0 h 34"/>
                <a:gd name="T4" fmla="*/ 4 w 48"/>
                <a:gd name="T5" fmla="*/ 17 h 34"/>
                <a:gd name="T6" fmla="*/ 32 w 48"/>
                <a:gd name="T7" fmla="*/ 34 h 34"/>
                <a:gd name="T8" fmla="*/ 44 w 48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4">
                  <a:moveTo>
                    <a:pt x="44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9" y="26"/>
                    <a:pt x="21" y="34"/>
                    <a:pt x="32" y="34"/>
                  </a:cubicBezTo>
                  <a:cubicBezTo>
                    <a:pt x="43" y="34"/>
                    <a:pt x="48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îş1ïdé">
              <a:extLst>
                <a:ext uri="{FF2B5EF4-FFF2-40B4-BE49-F238E27FC236}">
                  <a16:creationId xmlns:a16="http://schemas.microsoft.com/office/drawing/2014/main" id="{316ACF19-82A3-402D-9759-0BDF80C9F5A7}"/>
                </a:ext>
              </a:extLst>
            </p:cNvPr>
            <p:cNvSpPr/>
            <p:nvPr/>
          </p:nvSpPr>
          <p:spPr bwMode="auto">
            <a:xfrm>
              <a:off x="10305642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6 w 49"/>
                <a:gd name="T3" fmla="*/ 0 h 34"/>
                <a:gd name="T4" fmla="*/ 4 w 49"/>
                <a:gd name="T5" fmla="*/ 17 h 34"/>
                <a:gd name="T6" fmla="*/ 33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9" y="26"/>
                    <a:pt x="22" y="34"/>
                    <a:pt x="33" y="34"/>
                  </a:cubicBezTo>
                  <a:cubicBezTo>
                    <a:pt x="44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iš1ïďé">
              <a:extLst>
                <a:ext uri="{FF2B5EF4-FFF2-40B4-BE49-F238E27FC236}">
                  <a16:creationId xmlns:a16="http://schemas.microsoft.com/office/drawing/2014/main" id="{76C5FD5F-BE1D-4BF9-80DE-50ECA1C592EB}"/>
                </a:ext>
              </a:extLst>
            </p:cNvPr>
            <p:cNvSpPr/>
            <p:nvPr/>
          </p:nvSpPr>
          <p:spPr bwMode="auto">
            <a:xfrm>
              <a:off x="10479995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6 w 49"/>
                <a:gd name="T3" fmla="*/ 0 h 34"/>
                <a:gd name="T4" fmla="*/ 5 w 49"/>
                <a:gd name="T5" fmla="*/ 17 h 34"/>
                <a:gd name="T6" fmla="*/ 33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9" y="26"/>
                    <a:pt x="22" y="34"/>
                    <a:pt x="33" y="34"/>
                  </a:cubicBezTo>
                  <a:cubicBezTo>
                    <a:pt x="44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íṥḻide">
              <a:extLst>
                <a:ext uri="{FF2B5EF4-FFF2-40B4-BE49-F238E27FC236}">
                  <a16:creationId xmlns:a16="http://schemas.microsoft.com/office/drawing/2014/main" id="{6C9A8BEA-E68E-4842-AFEC-ADD2E078ED27}"/>
                </a:ext>
              </a:extLst>
            </p:cNvPr>
            <p:cNvSpPr/>
            <p:nvPr/>
          </p:nvSpPr>
          <p:spPr bwMode="auto">
            <a:xfrm>
              <a:off x="10655891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5 w 49"/>
                <a:gd name="T3" fmla="*/ 0 h 34"/>
                <a:gd name="T4" fmla="*/ 5 w 49"/>
                <a:gd name="T5" fmla="*/ 17 h 34"/>
                <a:gd name="T6" fmla="*/ 34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6"/>
                    <a:pt x="23" y="34"/>
                    <a:pt x="34" y="34"/>
                  </a:cubicBezTo>
                  <a:cubicBezTo>
                    <a:pt x="45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ïŝ1îḍê">
              <a:extLst>
                <a:ext uri="{FF2B5EF4-FFF2-40B4-BE49-F238E27FC236}">
                  <a16:creationId xmlns:a16="http://schemas.microsoft.com/office/drawing/2014/main" id="{21365BC9-755D-4784-A1FE-E2FEEDE04379}"/>
                </a:ext>
              </a:extLst>
            </p:cNvPr>
            <p:cNvSpPr/>
            <p:nvPr/>
          </p:nvSpPr>
          <p:spPr bwMode="auto">
            <a:xfrm>
              <a:off x="10830244" y="4479659"/>
              <a:ext cx="183611" cy="123436"/>
            </a:xfrm>
            <a:custGeom>
              <a:avLst/>
              <a:gdLst>
                <a:gd name="T0" fmla="*/ 44 w 50"/>
                <a:gd name="T1" fmla="*/ 17 h 34"/>
                <a:gd name="T2" fmla="*/ 15 w 50"/>
                <a:gd name="T3" fmla="*/ 0 h 34"/>
                <a:gd name="T4" fmla="*/ 5 w 50"/>
                <a:gd name="T5" fmla="*/ 17 h 34"/>
                <a:gd name="T6" fmla="*/ 34 w 50"/>
                <a:gd name="T7" fmla="*/ 34 h 34"/>
                <a:gd name="T8" fmla="*/ 44 w 5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4">
                  <a:moveTo>
                    <a:pt x="44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6"/>
                    <a:pt x="23" y="34"/>
                    <a:pt x="34" y="34"/>
                  </a:cubicBezTo>
                  <a:cubicBezTo>
                    <a:pt x="45" y="34"/>
                    <a:pt x="50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ísḻíḋê">
              <a:extLst>
                <a:ext uri="{FF2B5EF4-FFF2-40B4-BE49-F238E27FC236}">
                  <a16:creationId xmlns:a16="http://schemas.microsoft.com/office/drawing/2014/main" id="{51D69B57-DEAC-427B-816B-9E45E0F0A02A}"/>
                </a:ext>
              </a:extLst>
            </p:cNvPr>
            <p:cNvSpPr/>
            <p:nvPr/>
          </p:nvSpPr>
          <p:spPr bwMode="auto">
            <a:xfrm>
              <a:off x="11006140" y="4479659"/>
              <a:ext cx="182068" cy="123436"/>
            </a:xfrm>
            <a:custGeom>
              <a:avLst/>
              <a:gdLst>
                <a:gd name="T0" fmla="*/ 45 w 50"/>
                <a:gd name="T1" fmla="*/ 17 h 34"/>
                <a:gd name="T2" fmla="*/ 15 w 50"/>
                <a:gd name="T3" fmla="*/ 0 h 34"/>
                <a:gd name="T4" fmla="*/ 5 w 50"/>
                <a:gd name="T5" fmla="*/ 17 h 34"/>
                <a:gd name="T6" fmla="*/ 35 w 50"/>
                <a:gd name="T7" fmla="*/ 34 h 34"/>
                <a:gd name="T8" fmla="*/ 45 w 5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4">
                  <a:moveTo>
                    <a:pt x="45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1" y="26"/>
                    <a:pt x="24" y="34"/>
                    <a:pt x="35" y="34"/>
                  </a:cubicBezTo>
                  <a:cubicBezTo>
                    <a:pt x="46" y="34"/>
                    <a:pt x="50" y="26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î$ľïḑé">
              <a:extLst>
                <a:ext uri="{FF2B5EF4-FFF2-40B4-BE49-F238E27FC236}">
                  <a16:creationId xmlns:a16="http://schemas.microsoft.com/office/drawing/2014/main" id="{96C2BF48-960A-4F57-9585-2336EF758E32}"/>
                </a:ext>
              </a:extLst>
            </p:cNvPr>
            <p:cNvSpPr/>
            <p:nvPr/>
          </p:nvSpPr>
          <p:spPr bwMode="auto">
            <a:xfrm>
              <a:off x="11180493" y="4479659"/>
              <a:ext cx="186697" cy="123436"/>
            </a:xfrm>
            <a:custGeom>
              <a:avLst/>
              <a:gdLst>
                <a:gd name="T0" fmla="*/ 45 w 51"/>
                <a:gd name="T1" fmla="*/ 17 h 34"/>
                <a:gd name="T2" fmla="*/ 15 w 51"/>
                <a:gd name="T3" fmla="*/ 0 h 34"/>
                <a:gd name="T4" fmla="*/ 6 w 51"/>
                <a:gd name="T5" fmla="*/ 17 h 34"/>
                <a:gd name="T6" fmla="*/ 35 w 51"/>
                <a:gd name="T7" fmla="*/ 34 h 34"/>
                <a:gd name="T8" fmla="*/ 45 w 51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4">
                  <a:moveTo>
                    <a:pt x="45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4" y="0"/>
                    <a:pt x="0" y="8"/>
                    <a:pt x="6" y="17"/>
                  </a:cubicBezTo>
                  <a:cubicBezTo>
                    <a:pt x="11" y="26"/>
                    <a:pt x="24" y="34"/>
                    <a:pt x="35" y="34"/>
                  </a:cubicBezTo>
                  <a:cubicBezTo>
                    <a:pt x="46" y="34"/>
                    <a:pt x="51" y="26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ïšḷíḓè">
              <a:extLst>
                <a:ext uri="{FF2B5EF4-FFF2-40B4-BE49-F238E27FC236}">
                  <a16:creationId xmlns:a16="http://schemas.microsoft.com/office/drawing/2014/main" id="{1466CDB7-4761-444B-BF2A-A1580D6482A2}"/>
                </a:ext>
              </a:extLst>
            </p:cNvPr>
            <p:cNvSpPr/>
            <p:nvPr/>
          </p:nvSpPr>
          <p:spPr bwMode="auto">
            <a:xfrm>
              <a:off x="9845844" y="4629324"/>
              <a:ext cx="174353" cy="128065"/>
            </a:xfrm>
            <a:custGeom>
              <a:avLst/>
              <a:gdLst>
                <a:gd name="T0" fmla="*/ 44 w 48"/>
                <a:gd name="T1" fmla="*/ 17 h 35"/>
                <a:gd name="T2" fmla="*/ 16 w 48"/>
                <a:gd name="T3" fmla="*/ 0 h 35"/>
                <a:gd name="T4" fmla="*/ 4 w 48"/>
                <a:gd name="T5" fmla="*/ 17 h 35"/>
                <a:gd name="T6" fmla="*/ 32 w 48"/>
                <a:gd name="T7" fmla="*/ 35 h 35"/>
                <a:gd name="T8" fmla="*/ 44 w 48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5">
                  <a:moveTo>
                    <a:pt x="44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7"/>
                    <a:pt x="21" y="35"/>
                    <a:pt x="32" y="35"/>
                  </a:cubicBezTo>
                  <a:cubicBezTo>
                    <a:pt x="43" y="35"/>
                    <a:pt x="48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ïṩľíḑé">
              <a:extLst>
                <a:ext uri="{FF2B5EF4-FFF2-40B4-BE49-F238E27FC236}">
                  <a16:creationId xmlns:a16="http://schemas.microsoft.com/office/drawing/2014/main" id="{8349CE09-E9F2-4AA7-BD81-07B137B81159}"/>
                </a:ext>
              </a:extLst>
            </p:cNvPr>
            <p:cNvSpPr/>
            <p:nvPr/>
          </p:nvSpPr>
          <p:spPr bwMode="auto">
            <a:xfrm>
              <a:off x="10024826" y="4629324"/>
              <a:ext cx="178982" cy="128065"/>
            </a:xfrm>
            <a:custGeom>
              <a:avLst/>
              <a:gdLst>
                <a:gd name="T0" fmla="*/ 44 w 49"/>
                <a:gd name="T1" fmla="*/ 17 h 35"/>
                <a:gd name="T2" fmla="*/ 16 w 49"/>
                <a:gd name="T3" fmla="*/ 0 h 35"/>
                <a:gd name="T4" fmla="*/ 4 w 49"/>
                <a:gd name="T5" fmla="*/ 17 h 35"/>
                <a:gd name="T6" fmla="*/ 32 w 49"/>
                <a:gd name="T7" fmla="*/ 35 h 35"/>
                <a:gd name="T8" fmla="*/ 44 w 49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5">
                  <a:moveTo>
                    <a:pt x="44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7"/>
                    <a:pt x="21" y="35"/>
                    <a:pt x="32" y="35"/>
                  </a:cubicBezTo>
                  <a:cubicBezTo>
                    <a:pt x="43" y="35"/>
                    <a:pt x="49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iŝliḋè">
              <a:extLst>
                <a:ext uri="{FF2B5EF4-FFF2-40B4-BE49-F238E27FC236}">
                  <a16:creationId xmlns:a16="http://schemas.microsoft.com/office/drawing/2014/main" id="{E36EF7B6-CBC5-4C8A-B035-D427BCCB7DEB}"/>
                </a:ext>
              </a:extLst>
            </p:cNvPr>
            <p:cNvSpPr/>
            <p:nvPr/>
          </p:nvSpPr>
          <p:spPr bwMode="auto">
            <a:xfrm>
              <a:off x="10199179" y="4629324"/>
              <a:ext cx="183611" cy="128065"/>
            </a:xfrm>
            <a:custGeom>
              <a:avLst/>
              <a:gdLst>
                <a:gd name="T0" fmla="*/ 45 w 50"/>
                <a:gd name="T1" fmla="*/ 17 h 35"/>
                <a:gd name="T2" fmla="*/ 17 w 50"/>
                <a:gd name="T3" fmla="*/ 0 h 35"/>
                <a:gd name="T4" fmla="*/ 5 w 50"/>
                <a:gd name="T5" fmla="*/ 17 h 35"/>
                <a:gd name="T6" fmla="*/ 33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8" y="0"/>
                    <a:pt x="17" y="0"/>
                  </a:cubicBezTo>
                  <a:cubicBezTo>
                    <a:pt x="6" y="0"/>
                    <a:pt x="0" y="8"/>
                    <a:pt x="5" y="17"/>
                  </a:cubicBezTo>
                  <a:cubicBezTo>
                    <a:pt x="10" y="27"/>
                    <a:pt x="22" y="35"/>
                    <a:pt x="33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ïsļíḍe">
              <a:extLst>
                <a:ext uri="{FF2B5EF4-FFF2-40B4-BE49-F238E27FC236}">
                  <a16:creationId xmlns:a16="http://schemas.microsoft.com/office/drawing/2014/main" id="{B18FF15D-EC14-4D63-932F-08BEC0DA84AE}"/>
                </a:ext>
              </a:extLst>
            </p:cNvPr>
            <p:cNvSpPr/>
            <p:nvPr/>
          </p:nvSpPr>
          <p:spPr bwMode="auto">
            <a:xfrm>
              <a:off x="10378161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4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4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îŝļiḋé">
              <a:extLst>
                <a:ext uri="{FF2B5EF4-FFF2-40B4-BE49-F238E27FC236}">
                  <a16:creationId xmlns:a16="http://schemas.microsoft.com/office/drawing/2014/main" id="{ACB8ECD4-3F3F-4205-8F68-4647E8CC8861}"/>
                </a:ext>
              </a:extLst>
            </p:cNvPr>
            <p:cNvSpPr/>
            <p:nvPr/>
          </p:nvSpPr>
          <p:spPr bwMode="auto">
            <a:xfrm>
              <a:off x="10557143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4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4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iś1íḋe">
              <a:extLst>
                <a:ext uri="{FF2B5EF4-FFF2-40B4-BE49-F238E27FC236}">
                  <a16:creationId xmlns:a16="http://schemas.microsoft.com/office/drawing/2014/main" id="{5103B7F6-61FB-40D8-8E2C-52541146D12E}"/>
                </a:ext>
              </a:extLst>
            </p:cNvPr>
            <p:cNvSpPr/>
            <p:nvPr/>
          </p:nvSpPr>
          <p:spPr bwMode="auto">
            <a:xfrm>
              <a:off x="10736125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5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5" y="35"/>
                  </a:cubicBezTo>
                  <a:cubicBezTo>
                    <a:pt x="46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íṡḻïḑê">
              <a:extLst>
                <a:ext uri="{FF2B5EF4-FFF2-40B4-BE49-F238E27FC236}">
                  <a16:creationId xmlns:a16="http://schemas.microsoft.com/office/drawing/2014/main" id="{C99070F1-5173-4FC3-A329-293CDDCB0E89}"/>
                </a:ext>
              </a:extLst>
            </p:cNvPr>
            <p:cNvSpPr/>
            <p:nvPr/>
          </p:nvSpPr>
          <p:spPr bwMode="auto">
            <a:xfrm>
              <a:off x="10915106" y="4629324"/>
              <a:ext cx="185154" cy="128065"/>
            </a:xfrm>
            <a:custGeom>
              <a:avLst/>
              <a:gdLst>
                <a:gd name="T0" fmla="*/ 45 w 51"/>
                <a:gd name="T1" fmla="*/ 17 h 35"/>
                <a:gd name="T2" fmla="*/ 15 w 51"/>
                <a:gd name="T3" fmla="*/ 0 h 35"/>
                <a:gd name="T4" fmla="*/ 5 w 51"/>
                <a:gd name="T5" fmla="*/ 17 h 35"/>
                <a:gd name="T6" fmla="*/ 35 w 51"/>
                <a:gd name="T7" fmla="*/ 35 h 35"/>
                <a:gd name="T8" fmla="*/ 45 w 5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45" y="17"/>
                  </a:moveTo>
                  <a:cubicBezTo>
                    <a:pt x="40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0" y="27"/>
                    <a:pt x="24" y="35"/>
                    <a:pt x="35" y="35"/>
                  </a:cubicBezTo>
                  <a:cubicBezTo>
                    <a:pt x="46" y="35"/>
                    <a:pt x="51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ísľíḍé">
              <a:extLst>
                <a:ext uri="{FF2B5EF4-FFF2-40B4-BE49-F238E27FC236}">
                  <a16:creationId xmlns:a16="http://schemas.microsoft.com/office/drawing/2014/main" id="{E8F1C527-2292-4A07-9EF0-D435DBB45E84}"/>
                </a:ext>
              </a:extLst>
            </p:cNvPr>
            <p:cNvSpPr/>
            <p:nvPr/>
          </p:nvSpPr>
          <p:spPr bwMode="auto">
            <a:xfrm>
              <a:off x="11094088" y="4629324"/>
              <a:ext cx="185154" cy="128065"/>
            </a:xfrm>
            <a:custGeom>
              <a:avLst/>
              <a:gdLst>
                <a:gd name="T0" fmla="*/ 45 w 51"/>
                <a:gd name="T1" fmla="*/ 17 h 35"/>
                <a:gd name="T2" fmla="*/ 15 w 51"/>
                <a:gd name="T3" fmla="*/ 0 h 35"/>
                <a:gd name="T4" fmla="*/ 5 w 51"/>
                <a:gd name="T5" fmla="*/ 17 h 35"/>
                <a:gd name="T6" fmla="*/ 35 w 51"/>
                <a:gd name="T7" fmla="*/ 35 h 35"/>
                <a:gd name="T8" fmla="*/ 45 w 5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45" y="17"/>
                  </a:moveTo>
                  <a:cubicBezTo>
                    <a:pt x="40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1" y="27"/>
                    <a:pt x="24" y="35"/>
                    <a:pt x="35" y="35"/>
                  </a:cubicBezTo>
                  <a:cubicBezTo>
                    <a:pt x="46" y="35"/>
                    <a:pt x="51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îṣ1idè">
              <a:extLst>
                <a:ext uri="{FF2B5EF4-FFF2-40B4-BE49-F238E27FC236}">
                  <a16:creationId xmlns:a16="http://schemas.microsoft.com/office/drawing/2014/main" id="{E16840AF-1CBE-48B1-ACC8-F8B991DD9736}"/>
                </a:ext>
              </a:extLst>
            </p:cNvPr>
            <p:cNvSpPr/>
            <p:nvPr/>
          </p:nvSpPr>
          <p:spPr bwMode="auto">
            <a:xfrm>
              <a:off x="9910648" y="4783619"/>
              <a:ext cx="183611" cy="131151"/>
            </a:xfrm>
            <a:custGeom>
              <a:avLst/>
              <a:gdLst>
                <a:gd name="T0" fmla="*/ 45 w 50"/>
                <a:gd name="T1" fmla="*/ 18 h 36"/>
                <a:gd name="T2" fmla="*/ 17 w 50"/>
                <a:gd name="T3" fmla="*/ 0 h 36"/>
                <a:gd name="T4" fmla="*/ 5 w 50"/>
                <a:gd name="T5" fmla="*/ 18 h 36"/>
                <a:gd name="T6" fmla="*/ 33 w 50"/>
                <a:gd name="T7" fmla="*/ 36 h 36"/>
                <a:gd name="T8" fmla="*/ 45 w 50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6">
                  <a:moveTo>
                    <a:pt x="45" y="18"/>
                  </a:moveTo>
                  <a:cubicBezTo>
                    <a:pt x="41" y="8"/>
                    <a:pt x="28" y="0"/>
                    <a:pt x="17" y="0"/>
                  </a:cubicBezTo>
                  <a:cubicBezTo>
                    <a:pt x="6" y="0"/>
                    <a:pt x="0" y="8"/>
                    <a:pt x="5" y="18"/>
                  </a:cubicBezTo>
                  <a:cubicBezTo>
                    <a:pt x="9" y="28"/>
                    <a:pt x="22" y="36"/>
                    <a:pt x="33" y="36"/>
                  </a:cubicBezTo>
                  <a:cubicBezTo>
                    <a:pt x="44" y="36"/>
                    <a:pt x="50" y="28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iṣľîḓe">
              <a:extLst>
                <a:ext uri="{FF2B5EF4-FFF2-40B4-BE49-F238E27FC236}">
                  <a16:creationId xmlns:a16="http://schemas.microsoft.com/office/drawing/2014/main" id="{A8A2C311-8565-4007-85F8-BC5C44635650}"/>
                </a:ext>
              </a:extLst>
            </p:cNvPr>
            <p:cNvSpPr/>
            <p:nvPr/>
          </p:nvSpPr>
          <p:spPr bwMode="auto">
            <a:xfrm>
              <a:off x="10819444" y="4783619"/>
              <a:ext cx="186697" cy="131151"/>
            </a:xfrm>
            <a:custGeom>
              <a:avLst/>
              <a:gdLst>
                <a:gd name="T0" fmla="*/ 46 w 51"/>
                <a:gd name="T1" fmla="*/ 18 h 36"/>
                <a:gd name="T2" fmla="*/ 16 w 51"/>
                <a:gd name="T3" fmla="*/ 0 h 36"/>
                <a:gd name="T4" fmla="*/ 5 w 51"/>
                <a:gd name="T5" fmla="*/ 18 h 36"/>
                <a:gd name="T6" fmla="*/ 35 w 51"/>
                <a:gd name="T7" fmla="*/ 36 h 36"/>
                <a:gd name="T8" fmla="*/ 46 w 51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6">
                  <a:moveTo>
                    <a:pt x="46" y="18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8"/>
                  </a:cubicBezTo>
                  <a:cubicBezTo>
                    <a:pt x="10" y="28"/>
                    <a:pt x="24" y="36"/>
                    <a:pt x="35" y="36"/>
                  </a:cubicBezTo>
                  <a:cubicBezTo>
                    <a:pt x="47" y="36"/>
                    <a:pt x="51" y="28"/>
                    <a:pt x="46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ïṧlîḋè">
              <a:extLst>
                <a:ext uri="{FF2B5EF4-FFF2-40B4-BE49-F238E27FC236}">
                  <a16:creationId xmlns:a16="http://schemas.microsoft.com/office/drawing/2014/main" id="{9572C685-C0F6-416B-831E-95E0198B1ABC}"/>
                </a:ext>
              </a:extLst>
            </p:cNvPr>
            <p:cNvSpPr/>
            <p:nvPr/>
          </p:nvSpPr>
          <p:spPr bwMode="auto">
            <a:xfrm>
              <a:off x="10998426" y="4783619"/>
              <a:ext cx="189783" cy="131151"/>
            </a:xfrm>
            <a:custGeom>
              <a:avLst/>
              <a:gdLst>
                <a:gd name="T0" fmla="*/ 47 w 52"/>
                <a:gd name="T1" fmla="*/ 18 h 36"/>
                <a:gd name="T2" fmla="*/ 16 w 52"/>
                <a:gd name="T3" fmla="*/ 0 h 36"/>
                <a:gd name="T4" fmla="*/ 6 w 52"/>
                <a:gd name="T5" fmla="*/ 18 h 36"/>
                <a:gd name="T6" fmla="*/ 36 w 52"/>
                <a:gd name="T7" fmla="*/ 36 h 36"/>
                <a:gd name="T8" fmla="*/ 47 w 52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6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1" y="28"/>
                    <a:pt x="25" y="36"/>
                    <a:pt x="36" y="36"/>
                  </a:cubicBezTo>
                  <a:cubicBezTo>
                    <a:pt x="48" y="36"/>
                    <a:pt x="52" y="28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îŝľiḓê">
              <a:extLst>
                <a:ext uri="{FF2B5EF4-FFF2-40B4-BE49-F238E27FC236}">
                  <a16:creationId xmlns:a16="http://schemas.microsoft.com/office/drawing/2014/main" id="{29C8F851-65C9-432F-ABAA-21344F7AC0DD}"/>
                </a:ext>
              </a:extLst>
            </p:cNvPr>
            <p:cNvSpPr/>
            <p:nvPr/>
          </p:nvSpPr>
          <p:spPr bwMode="auto">
            <a:xfrm>
              <a:off x="11180493" y="4783619"/>
              <a:ext cx="189783" cy="131151"/>
            </a:xfrm>
            <a:custGeom>
              <a:avLst/>
              <a:gdLst>
                <a:gd name="T0" fmla="*/ 47 w 52"/>
                <a:gd name="T1" fmla="*/ 18 h 36"/>
                <a:gd name="T2" fmla="*/ 16 w 52"/>
                <a:gd name="T3" fmla="*/ 0 h 36"/>
                <a:gd name="T4" fmla="*/ 6 w 52"/>
                <a:gd name="T5" fmla="*/ 18 h 36"/>
                <a:gd name="T6" fmla="*/ 37 w 52"/>
                <a:gd name="T7" fmla="*/ 36 h 36"/>
                <a:gd name="T8" fmla="*/ 47 w 52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6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2" y="28"/>
                    <a:pt x="25" y="36"/>
                    <a:pt x="37" y="36"/>
                  </a:cubicBezTo>
                  <a:cubicBezTo>
                    <a:pt x="48" y="36"/>
                    <a:pt x="52" y="28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íSļîďè">
              <a:extLst>
                <a:ext uri="{FF2B5EF4-FFF2-40B4-BE49-F238E27FC236}">
                  <a16:creationId xmlns:a16="http://schemas.microsoft.com/office/drawing/2014/main" id="{74C55416-C3A5-42D6-8237-841362972295}"/>
                </a:ext>
              </a:extLst>
            </p:cNvPr>
            <p:cNvSpPr/>
            <p:nvPr/>
          </p:nvSpPr>
          <p:spPr bwMode="auto">
            <a:xfrm>
              <a:off x="11089459" y="4944086"/>
              <a:ext cx="194411" cy="134237"/>
            </a:xfrm>
            <a:custGeom>
              <a:avLst/>
              <a:gdLst>
                <a:gd name="T0" fmla="*/ 47 w 53"/>
                <a:gd name="T1" fmla="*/ 18 h 37"/>
                <a:gd name="T2" fmla="*/ 16 w 53"/>
                <a:gd name="T3" fmla="*/ 0 h 37"/>
                <a:gd name="T4" fmla="*/ 6 w 53"/>
                <a:gd name="T5" fmla="*/ 18 h 37"/>
                <a:gd name="T6" fmla="*/ 37 w 53"/>
                <a:gd name="T7" fmla="*/ 37 h 37"/>
                <a:gd name="T8" fmla="*/ 47 w 53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7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1" y="29"/>
                    <a:pt x="25" y="37"/>
                    <a:pt x="37" y="37"/>
                  </a:cubicBezTo>
                  <a:cubicBezTo>
                    <a:pt x="48" y="37"/>
                    <a:pt x="53" y="29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îṩlïḍé">
              <a:extLst>
                <a:ext uri="{FF2B5EF4-FFF2-40B4-BE49-F238E27FC236}">
                  <a16:creationId xmlns:a16="http://schemas.microsoft.com/office/drawing/2014/main" id="{C850179D-46E9-4AD1-80FD-DD139174FB54}"/>
                </a:ext>
              </a:extLst>
            </p:cNvPr>
            <p:cNvSpPr/>
            <p:nvPr/>
          </p:nvSpPr>
          <p:spPr bwMode="auto">
            <a:xfrm>
              <a:off x="11180493" y="5107638"/>
              <a:ext cx="197497" cy="138865"/>
            </a:xfrm>
            <a:custGeom>
              <a:avLst/>
              <a:gdLst>
                <a:gd name="T0" fmla="*/ 48 w 54"/>
                <a:gd name="T1" fmla="*/ 19 h 38"/>
                <a:gd name="T2" fmla="*/ 17 w 54"/>
                <a:gd name="T3" fmla="*/ 0 h 38"/>
                <a:gd name="T4" fmla="*/ 6 w 54"/>
                <a:gd name="T5" fmla="*/ 19 h 38"/>
                <a:gd name="T6" fmla="*/ 38 w 54"/>
                <a:gd name="T7" fmla="*/ 38 h 38"/>
                <a:gd name="T8" fmla="*/ 48 w 54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8">
                  <a:moveTo>
                    <a:pt x="48" y="19"/>
                  </a:moveTo>
                  <a:cubicBezTo>
                    <a:pt x="42" y="9"/>
                    <a:pt x="28" y="0"/>
                    <a:pt x="17" y="0"/>
                  </a:cubicBezTo>
                  <a:cubicBezTo>
                    <a:pt x="5" y="0"/>
                    <a:pt x="0" y="9"/>
                    <a:pt x="6" y="19"/>
                  </a:cubicBezTo>
                  <a:cubicBezTo>
                    <a:pt x="12" y="30"/>
                    <a:pt x="26" y="38"/>
                    <a:pt x="38" y="38"/>
                  </a:cubicBezTo>
                  <a:cubicBezTo>
                    <a:pt x="50" y="38"/>
                    <a:pt x="54" y="30"/>
                    <a:pt x="48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şlîḋé">
              <a:extLst>
                <a:ext uri="{FF2B5EF4-FFF2-40B4-BE49-F238E27FC236}">
                  <a16:creationId xmlns:a16="http://schemas.microsoft.com/office/drawing/2014/main" id="{07257004-2599-4AA1-8D31-A420EEA8197D}"/>
                </a:ext>
              </a:extLst>
            </p:cNvPr>
            <p:cNvSpPr/>
            <p:nvPr/>
          </p:nvSpPr>
          <p:spPr bwMode="auto">
            <a:xfrm>
              <a:off x="2999791" y="2907396"/>
              <a:ext cx="135779" cy="84863"/>
            </a:xfrm>
            <a:custGeom>
              <a:avLst/>
              <a:gdLst>
                <a:gd name="T0" fmla="*/ 34 w 37"/>
                <a:gd name="T1" fmla="*/ 11 h 23"/>
                <a:gd name="T2" fmla="*/ 22 w 37"/>
                <a:gd name="T3" fmla="*/ 0 h 23"/>
                <a:gd name="T4" fmla="*/ 2 w 37"/>
                <a:gd name="T5" fmla="*/ 11 h 23"/>
                <a:gd name="T6" fmla="*/ 14 w 37"/>
                <a:gd name="T7" fmla="*/ 23 h 23"/>
                <a:gd name="T8" fmla="*/ 34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4" y="11"/>
                  </a:moveTo>
                  <a:cubicBezTo>
                    <a:pt x="37" y="5"/>
                    <a:pt x="31" y="0"/>
                    <a:pt x="22" y="0"/>
                  </a:cubicBezTo>
                  <a:cubicBezTo>
                    <a:pt x="13" y="0"/>
                    <a:pt x="4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2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îṣļïdê">
              <a:extLst>
                <a:ext uri="{FF2B5EF4-FFF2-40B4-BE49-F238E27FC236}">
                  <a16:creationId xmlns:a16="http://schemas.microsoft.com/office/drawing/2014/main" id="{8761EBF2-43F8-472B-BEE9-17B79045AABF}"/>
                </a:ext>
              </a:extLst>
            </p:cNvPr>
            <p:cNvSpPr/>
            <p:nvPr/>
          </p:nvSpPr>
          <p:spPr bwMode="auto">
            <a:xfrm>
              <a:off x="2959674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23 w 37"/>
                <a:gd name="T3" fmla="*/ 0 h 23"/>
                <a:gd name="T4" fmla="*/ 2 w 37"/>
                <a:gd name="T5" fmla="*/ 11 h 23"/>
                <a:gd name="T6" fmla="*/ 14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7" y="5"/>
                    <a:pt x="32" y="0"/>
                    <a:pt x="23" y="0"/>
                  </a:cubicBezTo>
                  <a:cubicBezTo>
                    <a:pt x="14" y="0"/>
                    <a:pt x="5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ŝḻiḑê">
              <a:extLst>
                <a:ext uri="{FF2B5EF4-FFF2-40B4-BE49-F238E27FC236}">
                  <a16:creationId xmlns:a16="http://schemas.microsoft.com/office/drawing/2014/main" id="{07D6268A-8357-4B67-8765-5D454E2EA1BF}"/>
                </a:ext>
              </a:extLst>
            </p:cNvPr>
            <p:cNvSpPr/>
            <p:nvPr/>
          </p:nvSpPr>
          <p:spPr bwMode="auto">
            <a:xfrm>
              <a:off x="3106254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23 w 38"/>
                <a:gd name="T3" fmla="*/ 0 h 23"/>
                <a:gd name="T4" fmla="*/ 3 w 38"/>
                <a:gd name="T5" fmla="*/ 11 h 23"/>
                <a:gd name="T6" fmla="*/ 15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5" y="5"/>
                    <a:pt x="3" y="11"/>
                  </a:cubicBezTo>
                  <a:cubicBezTo>
                    <a:pt x="0" y="18"/>
                    <a:pt x="6" y="23"/>
                    <a:pt x="15" y="23"/>
                  </a:cubicBezTo>
                  <a:cubicBezTo>
                    <a:pt x="24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iṩḻiďe">
              <a:extLst>
                <a:ext uri="{FF2B5EF4-FFF2-40B4-BE49-F238E27FC236}">
                  <a16:creationId xmlns:a16="http://schemas.microsoft.com/office/drawing/2014/main" id="{E827C667-8980-4F4E-B897-830CDC5B6041}"/>
                </a:ext>
              </a:extLst>
            </p:cNvPr>
            <p:cNvSpPr/>
            <p:nvPr/>
          </p:nvSpPr>
          <p:spPr bwMode="auto">
            <a:xfrm>
              <a:off x="3660172" y="4337708"/>
              <a:ext cx="157381" cy="115721"/>
            </a:xfrm>
            <a:custGeom>
              <a:avLst/>
              <a:gdLst>
                <a:gd name="T0" fmla="*/ 41 w 43"/>
                <a:gd name="T1" fmla="*/ 16 h 32"/>
                <a:gd name="T2" fmla="*/ 26 w 43"/>
                <a:gd name="T3" fmla="*/ 0 h 32"/>
                <a:gd name="T4" fmla="*/ 3 w 43"/>
                <a:gd name="T5" fmla="*/ 16 h 32"/>
                <a:gd name="T6" fmla="*/ 18 w 43"/>
                <a:gd name="T7" fmla="*/ 32 h 32"/>
                <a:gd name="T8" fmla="*/ 41 w 43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2">
                  <a:moveTo>
                    <a:pt x="41" y="16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5" y="0"/>
                    <a:pt x="5" y="7"/>
                    <a:pt x="3" y="16"/>
                  </a:cubicBezTo>
                  <a:cubicBezTo>
                    <a:pt x="0" y="25"/>
                    <a:pt x="7" y="32"/>
                    <a:pt x="18" y="32"/>
                  </a:cubicBezTo>
                  <a:cubicBezTo>
                    <a:pt x="29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ïṣḷiḋe">
              <a:extLst>
                <a:ext uri="{FF2B5EF4-FFF2-40B4-BE49-F238E27FC236}">
                  <a16:creationId xmlns:a16="http://schemas.microsoft.com/office/drawing/2014/main" id="{EBE598D6-285A-4C85-99DE-BF701714CC00}"/>
                </a:ext>
              </a:extLst>
            </p:cNvPr>
            <p:cNvSpPr/>
            <p:nvPr/>
          </p:nvSpPr>
          <p:spPr bwMode="auto">
            <a:xfrm>
              <a:off x="3510506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19" y="0"/>
                  </a:cubicBezTo>
                  <a:cubicBezTo>
                    <a:pt x="11" y="0"/>
                    <a:pt x="3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ïṧľîdè">
              <a:extLst>
                <a:ext uri="{FF2B5EF4-FFF2-40B4-BE49-F238E27FC236}">
                  <a16:creationId xmlns:a16="http://schemas.microsoft.com/office/drawing/2014/main" id="{FB8E4787-BC49-4E69-AE89-A9DFF7EC3ACC}"/>
                </a:ext>
              </a:extLst>
            </p:cNvPr>
            <p:cNvSpPr/>
            <p:nvPr/>
          </p:nvSpPr>
          <p:spPr bwMode="auto">
            <a:xfrm>
              <a:off x="2941159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4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5"/>
                    <a:pt x="5" y="19"/>
                    <a:pt x="14" y="19"/>
                  </a:cubicBezTo>
                  <a:cubicBezTo>
                    <a:pt x="22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iSļîḍe">
              <a:extLst>
                <a:ext uri="{FF2B5EF4-FFF2-40B4-BE49-F238E27FC236}">
                  <a16:creationId xmlns:a16="http://schemas.microsoft.com/office/drawing/2014/main" id="{8BAD333B-EE1A-44A3-92F2-6E9C0329F7A4}"/>
                </a:ext>
              </a:extLst>
            </p:cNvPr>
            <p:cNvSpPr/>
            <p:nvPr/>
          </p:nvSpPr>
          <p:spPr bwMode="auto">
            <a:xfrm>
              <a:off x="3076938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4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5"/>
                    <a:pt x="5" y="19"/>
                    <a:pt x="14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iṩḻïḓe">
              <a:extLst>
                <a:ext uri="{FF2B5EF4-FFF2-40B4-BE49-F238E27FC236}">
                  <a16:creationId xmlns:a16="http://schemas.microsoft.com/office/drawing/2014/main" id="{D2B698B2-ED22-404A-A208-2448DBB916A6}"/>
                </a:ext>
              </a:extLst>
            </p:cNvPr>
            <p:cNvSpPr/>
            <p:nvPr/>
          </p:nvSpPr>
          <p:spPr bwMode="auto">
            <a:xfrm>
              <a:off x="3212717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íṡḻîḓê">
              <a:extLst>
                <a:ext uri="{FF2B5EF4-FFF2-40B4-BE49-F238E27FC236}">
                  <a16:creationId xmlns:a16="http://schemas.microsoft.com/office/drawing/2014/main" id="{FAE61F39-EABF-440D-BDA5-9ED03F369B22}"/>
                </a:ext>
              </a:extLst>
            </p:cNvPr>
            <p:cNvSpPr/>
            <p:nvPr/>
          </p:nvSpPr>
          <p:spPr bwMode="auto">
            <a:xfrm>
              <a:off x="3346953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0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îṩ1iḓé">
              <a:extLst>
                <a:ext uri="{FF2B5EF4-FFF2-40B4-BE49-F238E27FC236}">
                  <a16:creationId xmlns:a16="http://schemas.microsoft.com/office/drawing/2014/main" id="{6F3E881D-4920-45C4-8D64-16B2EA0CB612}"/>
                </a:ext>
              </a:extLst>
            </p:cNvPr>
            <p:cNvSpPr/>
            <p:nvPr/>
          </p:nvSpPr>
          <p:spPr bwMode="auto">
            <a:xfrm>
              <a:off x="3482732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3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ïṣľídè">
              <a:extLst>
                <a:ext uri="{FF2B5EF4-FFF2-40B4-BE49-F238E27FC236}">
                  <a16:creationId xmlns:a16="http://schemas.microsoft.com/office/drawing/2014/main" id="{CEB4BB78-8BEC-4A86-939D-37855223C573}"/>
                </a:ext>
              </a:extLst>
            </p:cNvPr>
            <p:cNvSpPr/>
            <p:nvPr/>
          </p:nvSpPr>
          <p:spPr bwMode="auto">
            <a:xfrm>
              <a:off x="3616969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1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ísļîdé">
              <a:extLst>
                <a:ext uri="{FF2B5EF4-FFF2-40B4-BE49-F238E27FC236}">
                  <a16:creationId xmlns:a16="http://schemas.microsoft.com/office/drawing/2014/main" id="{2D27DBC3-C0C8-4259-A995-99A4D57E66F5}"/>
                </a:ext>
              </a:extLst>
            </p:cNvPr>
            <p:cNvSpPr/>
            <p:nvPr/>
          </p:nvSpPr>
          <p:spPr bwMode="auto">
            <a:xfrm>
              <a:off x="2905670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3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iṩ1ïdè">
              <a:extLst>
                <a:ext uri="{FF2B5EF4-FFF2-40B4-BE49-F238E27FC236}">
                  <a16:creationId xmlns:a16="http://schemas.microsoft.com/office/drawing/2014/main" id="{A251A93C-733C-4EB5-93A0-904642FD2AE5}"/>
                </a:ext>
              </a:extLst>
            </p:cNvPr>
            <p:cNvSpPr/>
            <p:nvPr/>
          </p:nvSpPr>
          <p:spPr bwMode="auto">
            <a:xfrm>
              <a:off x="3044536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3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0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sḷîḑê">
              <a:extLst>
                <a:ext uri="{FF2B5EF4-FFF2-40B4-BE49-F238E27FC236}">
                  <a16:creationId xmlns:a16="http://schemas.microsoft.com/office/drawing/2014/main" id="{B38A36EA-770A-4C9C-84F2-76DBF991797D}"/>
                </a:ext>
              </a:extLst>
            </p:cNvPr>
            <p:cNvSpPr/>
            <p:nvPr/>
          </p:nvSpPr>
          <p:spPr bwMode="auto">
            <a:xfrm>
              <a:off x="3178772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4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0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íś1íďé">
              <a:extLst>
                <a:ext uri="{FF2B5EF4-FFF2-40B4-BE49-F238E27FC236}">
                  <a16:creationId xmlns:a16="http://schemas.microsoft.com/office/drawing/2014/main" id="{1BAEDFAB-C761-4AB1-8B31-609DCC94B1A5}"/>
                </a:ext>
              </a:extLst>
            </p:cNvPr>
            <p:cNvSpPr/>
            <p:nvPr/>
          </p:nvSpPr>
          <p:spPr bwMode="auto">
            <a:xfrm>
              <a:off x="3314552" y="2439884"/>
              <a:ext cx="123436" cy="74061"/>
            </a:xfrm>
            <a:custGeom>
              <a:avLst/>
              <a:gdLst>
                <a:gd name="T0" fmla="*/ 33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4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išlïďê">
              <a:extLst>
                <a:ext uri="{FF2B5EF4-FFF2-40B4-BE49-F238E27FC236}">
                  <a16:creationId xmlns:a16="http://schemas.microsoft.com/office/drawing/2014/main" id="{446AE682-3A17-4776-BA0C-845C7722FF2E}"/>
                </a:ext>
              </a:extLst>
            </p:cNvPr>
            <p:cNvSpPr/>
            <p:nvPr/>
          </p:nvSpPr>
          <p:spPr bwMode="auto">
            <a:xfrm>
              <a:off x="2868640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2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îṧľîḍé">
              <a:extLst>
                <a:ext uri="{FF2B5EF4-FFF2-40B4-BE49-F238E27FC236}">
                  <a16:creationId xmlns:a16="http://schemas.microsoft.com/office/drawing/2014/main" id="{5DB9143F-4D5B-4E4B-91BB-74093191E202}"/>
                </a:ext>
              </a:extLst>
            </p:cNvPr>
            <p:cNvSpPr/>
            <p:nvPr/>
          </p:nvSpPr>
          <p:spPr bwMode="auto">
            <a:xfrm>
              <a:off x="3007505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1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1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íšlíḋè">
              <a:extLst>
                <a:ext uri="{FF2B5EF4-FFF2-40B4-BE49-F238E27FC236}">
                  <a16:creationId xmlns:a16="http://schemas.microsoft.com/office/drawing/2014/main" id="{78C5709E-B966-4478-9EC1-8CDCF4D30F07}"/>
                </a:ext>
              </a:extLst>
            </p:cNvPr>
            <p:cNvSpPr/>
            <p:nvPr/>
          </p:nvSpPr>
          <p:spPr bwMode="auto">
            <a:xfrm>
              <a:off x="3146370" y="2532461"/>
              <a:ext cx="128065" cy="72519"/>
            </a:xfrm>
            <a:custGeom>
              <a:avLst/>
              <a:gdLst>
                <a:gd name="T0" fmla="*/ 32 w 35"/>
                <a:gd name="T1" fmla="*/ 10 h 20"/>
                <a:gd name="T2" fmla="*/ 21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5" y="4"/>
                    <a:pt x="29" y="0"/>
                    <a:pt x="21" y="0"/>
                  </a:cubicBezTo>
                  <a:cubicBezTo>
                    <a:pt x="12" y="0"/>
                    <a:pt x="4" y="4"/>
                    <a:pt x="2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0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ïṧľîdé">
              <a:extLst>
                <a:ext uri="{FF2B5EF4-FFF2-40B4-BE49-F238E27FC236}">
                  <a16:creationId xmlns:a16="http://schemas.microsoft.com/office/drawing/2014/main" id="{63BDA286-4DFD-42F7-8FE9-BA535CD535FA}"/>
                </a:ext>
              </a:extLst>
            </p:cNvPr>
            <p:cNvSpPr/>
            <p:nvPr/>
          </p:nvSpPr>
          <p:spPr bwMode="auto">
            <a:xfrm>
              <a:off x="2828523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3" y="20"/>
                    <a:pt x="32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ï$1îdê">
              <a:extLst>
                <a:ext uri="{FF2B5EF4-FFF2-40B4-BE49-F238E27FC236}">
                  <a16:creationId xmlns:a16="http://schemas.microsoft.com/office/drawing/2014/main" id="{3EFF588C-EEA5-47E2-AF7D-259D839FE4B3}"/>
                </a:ext>
              </a:extLst>
            </p:cNvPr>
            <p:cNvSpPr/>
            <p:nvPr/>
          </p:nvSpPr>
          <p:spPr bwMode="auto">
            <a:xfrm>
              <a:off x="2970474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iS1iḍè">
              <a:extLst>
                <a:ext uri="{FF2B5EF4-FFF2-40B4-BE49-F238E27FC236}">
                  <a16:creationId xmlns:a16="http://schemas.microsoft.com/office/drawing/2014/main" id="{6784853D-8E40-4152-B7A5-072D6FA5079A}"/>
                </a:ext>
              </a:extLst>
            </p:cNvPr>
            <p:cNvSpPr/>
            <p:nvPr/>
          </p:nvSpPr>
          <p:spPr bwMode="auto">
            <a:xfrm>
              <a:off x="3109339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iśļiḋe">
              <a:extLst>
                <a:ext uri="{FF2B5EF4-FFF2-40B4-BE49-F238E27FC236}">
                  <a16:creationId xmlns:a16="http://schemas.microsoft.com/office/drawing/2014/main" id="{25565D75-AE72-4CF6-8E10-8C98F3FADE4B}"/>
                </a:ext>
              </a:extLst>
            </p:cNvPr>
            <p:cNvSpPr/>
            <p:nvPr/>
          </p:nvSpPr>
          <p:spPr bwMode="auto">
            <a:xfrm>
              <a:off x="2793036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2 w 36"/>
                <a:gd name="T3" fmla="*/ 0 h 22"/>
                <a:gd name="T4" fmla="*/ 2 w 36"/>
                <a:gd name="T5" fmla="*/ 11 h 22"/>
                <a:gd name="T6" fmla="*/ 13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2" y="0"/>
                  </a:cubicBezTo>
                  <a:cubicBezTo>
                    <a:pt x="14" y="0"/>
                    <a:pt x="4" y="5"/>
                    <a:pt x="2" y="11"/>
                  </a:cubicBezTo>
                  <a:cubicBezTo>
                    <a:pt x="0" y="17"/>
                    <a:pt x="5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ïśḷiḋé">
              <a:extLst>
                <a:ext uri="{FF2B5EF4-FFF2-40B4-BE49-F238E27FC236}">
                  <a16:creationId xmlns:a16="http://schemas.microsoft.com/office/drawing/2014/main" id="{6D84AD2A-7B6C-435A-8B09-607231BF9430}"/>
                </a:ext>
              </a:extLst>
            </p:cNvPr>
            <p:cNvSpPr/>
            <p:nvPr/>
          </p:nvSpPr>
          <p:spPr bwMode="auto">
            <a:xfrm>
              <a:off x="2930358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23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1" y="0"/>
                    <a:pt x="23" y="0"/>
                  </a:cubicBezTo>
                  <a:cubicBezTo>
                    <a:pt x="14" y="0"/>
                    <a:pt x="5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îşḻïḍe">
              <a:extLst>
                <a:ext uri="{FF2B5EF4-FFF2-40B4-BE49-F238E27FC236}">
                  <a16:creationId xmlns:a16="http://schemas.microsoft.com/office/drawing/2014/main" id="{05DF8531-EB3C-4BC0-8B7A-B5ACEE1C339B}"/>
                </a:ext>
              </a:extLst>
            </p:cNvPr>
            <p:cNvSpPr/>
            <p:nvPr/>
          </p:nvSpPr>
          <p:spPr bwMode="auto">
            <a:xfrm>
              <a:off x="2894870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2 w 36"/>
                <a:gd name="T3" fmla="*/ 0 h 22"/>
                <a:gd name="T4" fmla="*/ 2 w 36"/>
                <a:gd name="T5" fmla="*/ 11 h 22"/>
                <a:gd name="T6" fmla="*/ 14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2" y="0"/>
                  </a:cubicBezTo>
                  <a:cubicBezTo>
                    <a:pt x="14" y="0"/>
                    <a:pt x="4" y="5"/>
                    <a:pt x="2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iṩḷîḋé">
              <a:extLst>
                <a:ext uri="{FF2B5EF4-FFF2-40B4-BE49-F238E27FC236}">
                  <a16:creationId xmlns:a16="http://schemas.microsoft.com/office/drawing/2014/main" id="{20990DD1-2CB3-4F83-BB5B-516E63EF16C6}"/>
                </a:ext>
              </a:extLst>
            </p:cNvPr>
            <p:cNvSpPr/>
            <p:nvPr/>
          </p:nvSpPr>
          <p:spPr bwMode="auto">
            <a:xfrm>
              <a:off x="2978189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2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ïşḷîḑè">
              <a:extLst>
                <a:ext uri="{FF2B5EF4-FFF2-40B4-BE49-F238E27FC236}">
                  <a16:creationId xmlns:a16="http://schemas.microsoft.com/office/drawing/2014/main" id="{DAC2452A-FA90-41D3-B72C-DF3C7EB54B20}"/>
                </a:ext>
              </a:extLst>
            </p:cNvPr>
            <p:cNvSpPr/>
            <p:nvPr/>
          </p:nvSpPr>
          <p:spPr bwMode="auto">
            <a:xfrm>
              <a:off x="3113969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îṩľïdê">
              <a:extLst>
                <a:ext uri="{FF2B5EF4-FFF2-40B4-BE49-F238E27FC236}">
                  <a16:creationId xmlns:a16="http://schemas.microsoft.com/office/drawing/2014/main" id="{69F7AA7C-9960-408C-8D79-8B4E29BE5468}"/>
                </a:ext>
              </a:extLst>
            </p:cNvPr>
            <p:cNvSpPr/>
            <p:nvPr/>
          </p:nvSpPr>
          <p:spPr bwMode="auto">
            <a:xfrm>
              <a:off x="3245119" y="2271702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îšľiḓê">
              <a:extLst>
                <a:ext uri="{FF2B5EF4-FFF2-40B4-BE49-F238E27FC236}">
                  <a16:creationId xmlns:a16="http://schemas.microsoft.com/office/drawing/2014/main" id="{FC556C42-6EC2-49FC-B678-2391A3A41BDC}"/>
                </a:ext>
              </a:extLst>
            </p:cNvPr>
            <p:cNvSpPr/>
            <p:nvPr/>
          </p:nvSpPr>
          <p:spPr bwMode="auto">
            <a:xfrm>
              <a:off x="3376270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0 w 34"/>
                <a:gd name="T3" fmla="*/ 0 h 19"/>
                <a:gd name="T4" fmla="*/ 2 w 34"/>
                <a:gd name="T5" fmla="*/ 9 h 19"/>
                <a:gd name="T6" fmla="*/ 14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ïṣḻíde">
              <a:extLst>
                <a:ext uri="{FF2B5EF4-FFF2-40B4-BE49-F238E27FC236}">
                  <a16:creationId xmlns:a16="http://schemas.microsoft.com/office/drawing/2014/main" id="{8DE95739-B0DC-4BD2-9649-A002B1CBF241}"/>
                </a:ext>
              </a:extLst>
            </p:cNvPr>
            <p:cNvSpPr/>
            <p:nvPr/>
          </p:nvSpPr>
          <p:spPr bwMode="auto">
            <a:xfrm>
              <a:off x="333615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0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ïṡļïḓê">
              <a:extLst>
                <a:ext uri="{FF2B5EF4-FFF2-40B4-BE49-F238E27FC236}">
                  <a16:creationId xmlns:a16="http://schemas.microsoft.com/office/drawing/2014/main" id="{3C409054-0542-4251-8EFC-5CE34A540215}"/>
                </a:ext>
              </a:extLst>
            </p:cNvPr>
            <p:cNvSpPr/>
            <p:nvPr/>
          </p:nvSpPr>
          <p:spPr bwMode="auto">
            <a:xfrm>
              <a:off x="3467303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9 w 31"/>
                <a:gd name="T3" fmla="*/ 0 h 17"/>
                <a:gd name="T4" fmla="*/ 1 w 31"/>
                <a:gd name="T5" fmla="*/ 9 h 17"/>
                <a:gd name="T6" fmla="*/ 12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îṣ1ïḋè">
              <a:extLst>
                <a:ext uri="{FF2B5EF4-FFF2-40B4-BE49-F238E27FC236}">
                  <a16:creationId xmlns:a16="http://schemas.microsoft.com/office/drawing/2014/main" id="{747AA38F-BE37-47C2-9C44-B3CB3F49F7C0}"/>
                </a:ext>
              </a:extLst>
            </p:cNvPr>
            <p:cNvSpPr/>
            <p:nvPr/>
          </p:nvSpPr>
          <p:spPr bwMode="auto">
            <a:xfrm>
              <a:off x="3306837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20 w 33"/>
                <a:gd name="T3" fmla="*/ 0 h 18"/>
                <a:gd name="T4" fmla="*/ 2 w 33"/>
                <a:gd name="T5" fmla="*/ 9 h 18"/>
                <a:gd name="T6" fmla="*/ 13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íṩḷíḑê">
              <a:extLst>
                <a:ext uri="{FF2B5EF4-FFF2-40B4-BE49-F238E27FC236}">
                  <a16:creationId xmlns:a16="http://schemas.microsoft.com/office/drawing/2014/main" id="{91417D9F-0BF1-4BF5-9EF5-EEBA1D5CB188}"/>
                </a:ext>
              </a:extLst>
            </p:cNvPr>
            <p:cNvSpPr/>
            <p:nvPr/>
          </p:nvSpPr>
          <p:spPr bwMode="auto">
            <a:xfrm>
              <a:off x="3437988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9 w 32"/>
                <a:gd name="T3" fmla="*/ 0 h 18"/>
                <a:gd name="T4" fmla="*/ 1 w 32"/>
                <a:gd name="T5" fmla="*/ 9 h 18"/>
                <a:gd name="T6" fmla="*/ 13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iŝḻidé">
              <a:extLst>
                <a:ext uri="{FF2B5EF4-FFF2-40B4-BE49-F238E27FC236}">
                  <a16:creationId xmlns:a16="http://schemas.microsoft.com/office/drawing/2014/main" id="{8FCBA7C3-4A9E-474F-8B4A-A547638E7950}"/>
                </a:ext>
              </a:extLst>
            </p:cNvPr>
            <p:cNvSpPr/>
            <p:nvPr/>
          </p:nvSpPr>
          <p:spPr bwMode="auto">
            <a:xfrm>
              <a:off x="3566052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9 w 32"/>
                <a:gd name="T3" fmla="*/ 0 h 18"/>
                <a:gd name="T4" fmla="*/ 2 w 32"/>
                <a:gd name="T5" fmla="*/ 9 h 18"/>
                <a:gd name="T6" fmla="*/ 13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ïSḷïḓé">
              <a:extLst>
                <a:ext uri="{FF2B5EF4-FFF2-40B4-BE49-F238E27FC236}">
                  <a16:creationId xmlns:a16="http://schemas.microsoft.com/office/drawing/2014/main" id="{0E768A7C-F6DC-426B-8479-EE3BBAD3D4B5}"/>
                </a:ext>
              </a:extLst>
            </p:cNvPr>
            <p:cNvSpPr/>
            <p:nvPr/>
          </p:nvSpPr>
          <p:spPr bwMode="auto">
            <a:xfrm>
              <a:off x="3697203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8 w 32"/>
                <a:gd name="T3" fmla="*/ 0 h 18"/>
                <a:gd name="T4" fmla="*/ 1 w 32"/>
                <a:gd name="T5" fmla="*/ 9 h 18"/>
                <a:gd name="T6" fmla="*/ 13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32" y="4"/>
                    <a:pt x="26" y="0"/>
                    <a:pt x="18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îṥḻîḓe">
              <a:extLst>
                <a:ext uri="{FF2B5EF4-FFF2-40B4-BE49-F238E27FC236}">
                  <a16:creationId xmlns:a16="http://schemas.microsoft.com/office/drawing/2014/main" id="{EE62FC40-7192-4D0E-8DEE-DAC04B232E3B}"/>
                </a:ext>
              </a:extLst>
            </p:cNvPr>
            <p:cNvSpPr/>
            <p:nvPr/>
          </p:nvSpPr>
          <p:spPr bwMode="auto">
            <a:xfrm>
              <a:off x="3015220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îṥļîḋé">
              <a:extLst>
                <a:ext uri="{FF2B5EF4-FFF2-40B4-BE49-F238E27FC236}">
                  <a16:creationId xmlns:a16="http://schemas.microsoft.com/office/drawing/2014/main" id="{6FE806CE-3830-4F5C-89AC-E45241E4CC5E}"/>
                </a:ext>
              </a:extLst>
            </p:cNvPr>
            <p:cNvSpPr/>
            <p:nvPr/>
          </p:nvSpPr>
          <p:spPr bwMode="auto">
            <a:xfrm>
              <a:off x="3277521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ïṧļiḑè">
              <a:extLst>
                <a:ext uri="{FF2B5EF4-FFF2-40B4-BE49-F238E27FC236}">
                  <a16:creationId xmlns:a16="http://schemas.microsoft.com/office/drawing/2014/main" id="{554FDFDD-49AE-4DC5-9DD7-8F0DA77FB715}"/>
                </a:ext>
              </a:extLst>
            </p:cNvPr>
            <p:cNvSpPr/>
            <p:nvPr/>
          </p:nvSpPr>
          <p:spPr bwMode="auto">
            <a:xfrm>
              <a:off x="3408671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9 w 32"/>
                <a:gd name="T3" fmla="*/ 0 h 19"/>
                <a:gd name="T4" fmla="*/ 1 w 32"/>
                <a:gd name="T5" fmla="*/ 9 h 19"/>
                <a:gd name="T6" fmla="*/ 13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iṩḻidè">
              <a:extLst>
                <a:ext uri="{FF2B5EF4-FFF2-40B4-BE49-F238E27FC236}">
                  <a16:creationId xmlns:a16="http://schemas.microsoft.com/office/drawing/2014/main" id="{384299EF-70C7-4F55-AAE9-33CECB4F5F3F}"/>
                </a:ext>
              </a:extLst>
            </p:cNvPr>
            <p:cNvSpPr/>
            <p:nvPr/>
          </p:nvSpPr>
          <p:spPr bwMode="auto">
            <a:xfrm>
              <a:off x="3539822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9 w 32"/>
                <a:gd name="T3" fmla="*/ 0 h 19"/>
                <a:gd name="T4" fmla="*/ 1 w 32"/>
                <a:gd name="T5" fmla="*/ 9 h 19"/>
                <a:gd name="T6" fmla="*/ 13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1" name="išliḋé">
              <a:extLst>
                <a:ext uri="{FF2B5EF4-FFF2-40B4-BE49-F238E27FC236}">
                  <a16:creationId xmlns:a16="http://schemas.microsoft.com/office/drawing/2014/main" id="{ADC6B652-BE27-4B71-8D57-30B6E05337D4}"/>
                </a:ext>
              </a:extLst>
            </p:cNvPr>
            <p:cNvSpPr/>
            <p:nvPr/>
          </p:nvSpPr>
          <p:spPr bwMode="auto">
            <a:xfrm>
              <a:off x="366788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4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2" name="iṧḷîdé">
              <a:extLst>
                <a:ext uri="{FF2B5EF4-FFF2-40B4-BE49-F238E27FC236}">
                  <a16:creationId xmlns:a16="http://schemas.microsoft.com/office/drawing/2014/main" id="{7A02A901-67B5-4D58-AD3D-6A16ABD664E2}"/>
                </a:ext>
              </a:extLst>
            </p:cNvPr>
            <p:cNvSpPr/>
            <p:nvPr/>
          </p:nvSpPr>
          <p:spPr bwMode="auto">
            <a:xfrm>
              <a:off x="3799037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2 w 33"/>
                <a:gd name="T5" fmla="*/ 9 h 19"/>
                <a:gd name="T6" fmla="*/ 14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7" y="0"/>
                    <a:pt x="19" y="0"/>
                  </a:cubicBezTo>
                  <a:cubicBezTo>
                    <a:pt x="11" y="0"/>
                    <a:pt x="3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3" name="íṧḷîḓe">
              <a:extLst>
                <a:ext uri="{FF2B5EF4-FFF2-40B4-BE49-F238E27FC236}">
                  <a16:creationId xmlns:a16="http://schemas.microsoft.com/office/drawing/2014/main" id="{674CCBA5-83A9-4AAC-BB61-0CB10EFC94DE}"/>
                </a:ext>
              </a:extLst>
            </p:cNvPr>
            <p:cNvSpPr/>
            <p:nvPr/>
          </p:nvSpPr>
          <p:spPr bwMode="auto">
            <a:xfrm>
              <a:off x="3424101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3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4" name="iŝľíḋè">
              <a:extLst>
                <a:ext uri="{FF2B5EF4-FFF2-40B4-BE49-F238E27FC236}">
                  <a16:creationId xmlns:a16="http://schemas.microsoft.com/office/drawing/2014/main" id="{62C3D176-5D69-40C5-A552-935573BF40DA}"/>
                </a:ext>
              </a:extLst>
            </p:cNvPr>
            <p:cNvSpPr/>
            <p:nvPr/>
          </p:nvSpPr>
          <p:spPr bwMode="auto">
            <a:xfrm>
              <a:off x="3394785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5" name="ïṥľíḓè">
              <a:extLst>
                <a:ext uri="{FF2B5EF4-FFF2-40B4-BE49-F238E27FC236}">
                  <a16:creationId xmlns:a16="http://schemas.microsoft.com/office/drawing/2014/main" id="{9ADF4D9D-C0E8-447E-940E-BB25A2403295}"/>
                </a:ext>
              </a:extLst>
            </p:cNvPr>
            <p:cNvSpPr/>
            <p:nvPr/>
          </p:nvSpPr>
          <p:spPr bwMode="auto">
            <a:xfrm>
              <a:off x="3522849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8 w 31"/>
                <a:gd name="T3" fmla="*/ 0 h 17"/>
                <a:gd name="T4" fmla="*/ 1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6" name="îṥľîḍê">
              <a:extLst>
                <a:ext uri="{FF2B5EF4-FFF2-40B4-BE49-F238E27FC236}">
                  <a16:creationId xmlns:a16="http://schemas.microsoft.com/office/drawing/2014/main" id="{CF8D2918-62AF-4D32-B362-6B05298FC893}"/>
                </a:ext>
              </a:extLst>
            </p:cNvPr>
            <p:cNvSpPr/>
            <p:nvPr/>
          </p:nvSpPr>
          <p:spPr bwMode="auto">
            <a:xfrm>
              <a:off x="3368554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9 w 31"/>
                <a:gd name="T3" fmla="*/ 0 h 17"/>
                <a:gd name="T4" fmla="*/ 1 w 31"/>
                <a:gd name="T5" fmla="*/ 8 h 17"/>
                <a:gd name="T6" fmla="*/ 12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3" y="4"/>
                    <a:pt x="1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7" name="ïŝľïḍé">
              <a:extLst>
                <a:ext uri="{FF2B5EF4-FFF2-40B4-BE49-F238E27FC236}">
                  <a16:creationId xmlns:a16="http://schemas.microsoft.com/office/drawing/2014/main" id="{F7E58357-1646-42A0-A4D1-3BBF0A4E1D33}"/>
                </a:ext>
              </a:extLst>
            </p:cNvPr>
            <p:cNvSpPr/>
            <p:nvPr/>
          </p:nvSpPr>
          <p:spPr bwMode="auto">
            <a:xfrm>
              <a:off x="3493534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8" name="î$ļïďê">
              <a:extLst>
                <a:ext uri="{FF2B5EF4-FFF2-40B4-BE49-F238E27FC236}">
                  <a16:creationId xmlns:a16="http://schemas.microsoft.com/office/drawing/2014/main" id="{E14194CA-B669-440E-939D-0017D367786E}"/>
                </a:ext>
              </a:extLst>
            </p:cNvPr>
            <p:cNvSpPr/>
            <p:nvPr/>
          </p:nvSpPr>
          <p:spPr bwMode="auto">
            <a:xfrm>
              <a:off x="3620055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8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1" y="0"/>
                    <a:pt x="3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9" name="îṩḷïdè">
              <a:extLst>
                <a:ext uri="{FF2B5EF4-FFF2-40B4-BE49-F238E27FC236}">
                  <a16:creationId xmlns:a16="http://schemas.microsoft.com/office/drawing/2014/main" id="{A290573E-ADC8-4772-85E6-73237873CC05}"/>
                </a:ext>
              </a:extLst>
            </p:cNvPr>
            <p:cNvSpPr/>
            <p:nvPr/>
          </p:nvSpPr>
          <p:spPr bwMode="auto">
            <a:xfrm>
              <a:off x="3745033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6" y="17"/>
                    <a:pt x="13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0" name="ïşļïdé">
              <a:extLst>
                <a:ext uri="{FF2B5EF4-FFF2-40B4-BE49-F238E27FC236}">
                  <a16:creationId xmlns:a16="http://schemas.microsoft.com/office/drawing/2014/main" id="{E12A5744-6B58-45C2-8D62-695FF185A91C}"/>
                </a:ext>
              </a:extLst>
            </p:cNvPr>
            <p:cNvSpPr/>
            <p:nvPr/>
          </p:nvSpPr>
          <p:spPr bwMode="auto">
            <a:xfrm>
              <a:off x="3175687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1" name="íŝḻídé">
              <a:extLst>
                <a:ext uri="{FF2B5EF4-FFF2-40B4-BE49-F238E27FC236}">
                  <a16:creationId xmlns:a16="http://schemas.microsoft.com/office/drawing/2014/main" id="{F9AB41F2-9C53-4BA3-9446-95BAACFF3AED}"/>
                </a:ext>
              </a:extLst>
            </p:cNvPr>
            <p:cNvSpPr/>
            <p:nvPr/>
          </p:nvSpPr>
          <p:spPr bwMode="auto">
            <a:xfrm>
              <a:off x="3299122" y="1804190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3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7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2" name="iṣľïḑê">
              <a:extLst>
                <a:ext uri="{FF2B5EF4-FFF2-40B4-BE49-F238E27FC236}">
                  <a16:creationId xmlns:a16="http://schemas.microsoft.com/office/drawing/2014/main" id="{DC3784C3-DAF9-4881-BEAC-5087932403C7}"/>
                </a:ext>
              </a:extLst>
            </p:cNvPr>
            <p:cNvSpPr/>
            <p:nvPr/>
          </p:nvSpPr>
          <p:spPr bwMode="auto">
            <a:xfrm>
              <a:off x="3146370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3" name="î$ľïḑê">
              <a:extLst>
                <a:ext uri="{FF2B5EF4-FFF2-40B4-BE49-F238E27FC236}">
                  <a16:creationId xmlns:a16="http://schemas.microsoft.com/office/drawing/2014/main" id="{D1614DC7-0EC7-4801-884F-35AC742A7F3E}"/>
                </a:ext>
              </a:extLst>
            </p:cNvPr>
            <p:cNvSpPr/>
            <p:nvPr/>
          </p:nvSpPr>
          <p:spPr bwMode="auto">
            <a:xfrm>
              <a:off x="3269806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4" name="îSḷîďè">
              <a:extLst>
                <a:ext uri="{FF2B5EF4-FFF2-40B4-BE49-F238E27FC236}">
                  <a16:creationId xmlns:a16="http://schemas.microsoft.com/office/drawing/2014/main" id="{BF52BF3D-E372-4FE3-BB8A-6CAA25F49843}"/>
                </a:ext>
              </a:extLst>
            </p:cNvPr>
            <p:cNvSpPr/>
            <p:nvPr/>
          </p:nvSpPr>
          <p:spPr bwMode="auto">
            <a:xfrm>
              <a:off x="3113969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5" name="îṣľiḓè">
              <a:extLst>
                <a:ext uri="{FF2B5EF4-FFF2-40B4-BE49-F238E27FC236}">
                  <a16:creationId xmlns:a16="http://schemas.microsoft.com/office/drawing/2014/main" id="{9FB793E9-8885-4C21-A2F8-AF1ABCD29921}"/>
                </a:ext>
              </a:extLst>
            </p:cNvPr>
            <p:cNvSpPr/>
            <p:nvPr/>
          </p:nvSpPr>
          <p:spPr bwMode="auto">
            <a:xfrm>
              <a:off x="3240490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6" name="işļïḑé">
              <a:extLst>
                <a:ext uri="{FF2B5EF4-FFF2-40B4-BE49-F238E27FC236}">
                  <a16:creationId xmlns:a16="http://schemas.microsoft.com/office/drawing/2014/main" id="{16514750-8516-41CD-A93B-181E09B98C68}"/>
                </a:ext>
              </a:extLst>
            </p:cNvPr>
            <p:cNvSpPr/>
            <p:nvPr/>
          </p:nvSpPr>
          <p:spPr bwMode="auto">
            <a:xfrm>
              <a:off x="2884069" y="2188383"/>
              <a:ext cx="123436" cy="69433"/>
            </a:xfrm>
            <a:custGeom>
              <a:avLst/>
              <a:gdLst>
                <a:gd name="T0" fmla="*/ 31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7" name="îśliḓe">
              <a:extLst>
                <a:ext uri="{FF2B5EF4-FFF2-40B4-BE49-F238E27FC236}">
                  <a16:creationId xmlns:a16="http://schemas.microsoft.com/office/drawing/2014/main" id="{84281EDD-830A-4CC5-AE4E-49C01739CFC3}"/>
                </a:ext>
              </a:extLst>
            </p:cNvPr>
            <p:cNvSpPr/>
            <p:nvPr/>
          </p:nvSpPr>
          <p:spPr bwMode="auto">
            <a:xfrm>
              <a:off x="2847039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8" name="íṥḷîḋê">
              <a:extLst>
                <a:ext uri="{FF2B5EF4-FFF2-40B4-BE49-F238E27FC236}">
                  <a16:creationId xmlns:a16="http://schemas.microsoft.com/office/drawing/2014/main" id="{3EEF92FA-AA8C-4EA0-8203-0CC66733AD66}"/>
                </a:ext>
              </a:extLst>
            </p:cNvPr>
            <p:cNvSpPr/>
            <p:nvPr/>
          </p:nvSpPr>
          <p:spPr bwMode="auto">
            <a:xfrm>
              <a:off x="2810008" y="2356565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5"/>
                    <a:pt x="4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9" name="ïşľîḋe">
              <a:extLst>
                <a:ext uri="{FF2B5EF4-FFF2-40B4-BE49-F238E27FC236}">
                  <a16:creationId xmlns:a16="http://schemas.microsoft.com/office/drawing/2014/main" id="{6722EAF5-4535-4C2A-8D9C-A2299BF64456}"/>
                </a:ext>
              </a:extLst>
            </p:cNvPr>
            <p:cNvSpPr/>
            <p:nvPr/>
          </p:nvSpPr>
          <p:spPr bwMode="auto">
            <a:xfrm>
              <a:off x="2769891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0" name="ïŝḷîḓè">
              <a:extLst>
                <a:ext uri="{FF2B5EF4-FFF2-40B4-BE49-F238E27FC236}">
                  <a16:creationId xmlns:a16="http://schemas.microsoft.com/office/drawing/2014/main" id="{9C0E4BBB-3C1F-46F6-8F21-A1550035CD16}"/>
                </a:ext>
              </a:extLst>
            </p:cNvPr>
            <p:cNvSpPr/>
            <p:nvPr/>
          </p:nvSpPr>
          <p:spPr bwMode="auto">
            <a:xfrm>
              <a:off x="2729775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2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2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1" name="iSḷïḓé">
              <a:extLst>
                <a:ext uri="{FF2B5EF4-FFF2-40B4-BE49-F238E27FC236}">
                  <a16:creationId xmlns:a16="http://schemas.microsoft.com/office/drawing/2014/main" id="{FBE15AF3-AA72-4CB2-B916-CA413436C55B}"/>
                </a:ext>
              </a:extLst>
            </p:cNvPr>
            <p:cNvSpPr/>
            <p:nvPr/>
          </p:nvSpPr>
          <p:spPr bwMode="auto">
            <a:xfrm>
              <a:off x="2689658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2" name="íšļîḍe">
              <a:extLst>
                <a:ext uri="{FF2B5EF4-FFF2-40B4-BE49-F238E27FC236}">
                  <a16:creationId xmlns:a16="http://schemas.microsoft.com/office/drawing/2014/main" id="{23560A2B-7F84-4375-BA58-BCC5D2BB76C1}"/>
                </a:ext>
              </a:extLst>
            </p:cNvPr>
            <p:cNvSpPr/>
            <p:nvPr/>
          </p:nvSpPr>
          <p:spPr bwMode="auto">
            <a:xfrm>
              <a:off x="264954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3 w 36"/>
                <a:gd name="T3" fmla="*/ 0 h 22"/>
                <a:gd name="T4" fmla="*/ 2 w 36"/>
                <a:gd name="T5" fmla="*/ 11 h 22"/>
                <a:gd name="T6" fmla="*/ 13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4" y="0"/>
                    <a:pt x="5" y="5"/>
                    <a:pt x="2" y="11"/>
                  </a:cubicBezTo>
                  <a:cubicBezTo>
                    <a:pt x="0" y="17"/>
                    <a:pt x="5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3" name="ïṣlîḋè">
              <a:extLst>
                <a:ext uri="{FF2B5EF4-FFF2-40B4-BE49-F238E27FC236}">
                  <a16:creationId xmlns:a16="http://schemas.microsoft.com/office/drawing/2014/main" id="{1773415C-AF37-4B21-8195-D373EA26E09E}"/>
                </a:ext>
              </a:extLst>
            </p:cNvPr>
            <p:cNvSpPr/>
            <p:nvPr/>
          </p:nvSpPr>
          <p:spPr bwMode="auto">
            <a:xfrm>
              <a:off x="3055337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7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4" name="îšlîdê">
              <a:extLst>
                <a:ext uri="{FF2B5EF4-FFF2-40B4-BE49-F238E27FC236}">
                  <a16:creationId xmlns:a16="http://schemas.microsoft.com/office/drawing/2014/main" id="{652055D8-20A3-4CCD-930B-95B457EBAAB8}"/>
                </a:ext>
              </a:extLst>
            </p:cNvPr>
            <p:cNvSpPr/>
            <p:nvPr/>
          </p:nvSpPr>
          <p:spPr bwMode="auto">
            <a:xfrm>
              <a:off x="3022934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5" name="iṩḷîďê">
              <a:extLst>
                <a:ext uri="{FF2B5EF4-FFF2-40B4-BE49-F238E27FC236}">
                  <a16:creationId xmlns:a16="http://schemas.microsoft.com/office/drawing/2014/main" id="{F39E80DC-5A8C-4786-AB7A-E8850647AF09}"/>
                </a:ext>
              </a:extLst>
            </p:cNvPr>
            <p:cNvSpPr/>
            <p:nvPr/>
          </p:nvSpPr>
          <p:spPr bwMode="auto">
            <a:xfrm>
              <a:off x="2988990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6" name="ïşļïďé">
              <a:extLst>
                <a:ext uri="{FF2B5EF4-FFF2-40B4-BE49-F238E27FC236}">
                  <a16:creationId xmlns:a16="http://schemas.microsoft.com/office/drawing/2014/main" id="{570C2B33-7A18-4EEF-B514-296E49CD6335}"/>
                </a:ext>
              </a:extLst>
            </p:cNvPr>
            <p:cNvSpPr/>
            <p:nvPr/>
          </p:nvSpPr>
          <p:spPr bwMode="auto">
            <a:xfrm>
              <a:off x="2964302" y="1734757"/>
              <a:ext cx="112636" cy="58632"/>
            </a:xfrm>
            <a:custGeom>
              <a:avLst/>
              <a:gdLst>
                <a:gd name="T0" fmla="*/ 29 w 31"/>
                <a:gd name="T1" fmla="*/ 8 h 16"/>
                <a:gd name="T2" fmla="*/ 19 w 31"/>
                <a:gd name="T3" fmla="*/ 0 h 16"/>
                <a:gd name="T4" fmla="*/ 2 w 31"/>
                <a:gd name="T5" fmla="*/ 8 h 16"/>
                <a:gd name="T6" fmla="*/ 12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31" y="3"/>
                    <a:pt x="27" y="0"/>
                    <a:pt x="19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7" name="íṥḷiḍè">
              <a:extLst>
                <a:ext uri="{FF2B5EF4-FFF2-40B4-BE49-F238E27FC236}">
                  <a16:creationId xmlns:a16="http://schemas.microsoft.com/office/drawing/2014/main" id="{A4D5D112-7E7E-4C8E-BA5D-FCE036C8F563}"/>
                </a:ext>
              </a:extLst>
            </p:cNvPr>
            <p:cNvSpPr/>
            <p:nvPr/>
          </p:nvSpPr>
          <p:spPr bwMode="auto">
            <a:xfrm>
              <a:off x="2930358" y="1804190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7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8" name="íśļiďé">
              <a:extLst>
                <a:ext uri="{FF2B5EF4-FFF2-40B4-BE49-F238E27FC236}">
                  <a16:creationId xmlns:a16="http://schemas.microsoft.com/office/drawing/2014/main" id="{F6A51699-E0D8-4038-9633-8992E459D0BC}"/>
                </a:ext>
              </a:extLst>
            </p:cNvPr>
            <p:cNvSpPr/>
            <p:nvPr/>
          </p:nvSpPr>
          <p:spPr bwMode="auto">
            <a:xfrm>
              <a:off x="2860926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9" name="ïṡļidê">
              <a:extLst>
                <a:ext uri="{FF2B5EF4-FFF2-40B4-BE49-F238E27FC236}">
                  <a16:creationId xmlns:a16="http://schemas.microsoft.com/office/drawing/2014/main" id="{248BF5E7-A0CB-40BA-AE08-3F1E3B221BD3}"/>
                </a:ext>
              </a:extLst>
            </p:cNvPr>
            <p:cNvSpPr/>
            <p:nvPr/>
          </p:nvSpPr>
          <p:spPr bwMode="auto">
            <a:xfrm>
              <a:off x="2825437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0" name="iṣḻïḓè">
              <a:extLst>
                <a:ext uri="{FF2B5EF4-FFF2-40B4-BE49-F238E27FC236}">
                  <a16:creationId xmlns:a16="http://schemas.microsoft.com/office/drawing/2014/main" id="{B1DB21D8-CDAE-4F88-AF43-9606320DB823}"/>
                </a:ext>
              </a:extLst>
            </p:cNvPr>
            <p:cNvSpPr/>
            <p:nvPr/>
          </p:nvSpPr>
          <p:spPr bwMode="auto">
            <a:xfrm>
              <a:off x="2788407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21 w 34"/>
                <a:gd name="T3" fmla="*/ 0 h 18"/>
                <a:gd name="T4" fmla="*/ 2 w 34"/>
                <a:gd name="T5" fmla="*/ 9 h 18"/>
                <a:gd name="T6" fmla="*/ 13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1" name="ïṧḻîḓè">
              <a:extLst>
                <a:ext uri="{FF2B5EF4-FFF2-40B4-BE49-F238E27FC236}">
                  <a16:creationId xmlns:a16="http://schemas.microsoft.com/office/drawing/2014/main" id="{A776FE7F-E173-447E-BAAF-59040E2B974D}"/>
                </a:ext>
              </a:extLst>
            </p:cNvPr>
            <p:cNvSpPr/>
            <p:nvPr/>
          </p:nvSpPr>
          <p:spPr bwMode="auto">
            <a:xfrm>
              <a:off x="2752919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2" name="îSḷîdé">
              <a:extLst>
                <a:ext uri="{FF2B5EF4-FFF2-40B4-BE49-F238E27FC236}">
                  <a16:creationId xmlns:a16="http://schemas.microsoft.com/office/drawing/2014/main" id="{718DB4A2-9B1A-4BEE-852D-841904BF0F46}"/>
                </a:ext>
              </a:extLst>
            </p:cNvPr>
            <p:cNvSpPr/>
            <p:nvPr/>
          </p:nvSpPr>
          <p:spPr bwMode="auto">
            <a:xfrm>
              <a:off x="2715889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2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3" name="îṡļïdê">
              <a:extLst>
                <a:ext uri="{FF2B5EF4-FFF2-40B4-BE49-F238E27FC236}">
                  <a16:creationId xmlns:a16="http://schemas.microsoft.com/office/drawing/2014/main" id="{44D801B7-EE7A-4738-9F8B-0F398F00F342}"/>
                </a:ext>
              </a:extLst>
            </p:cNvPr>
            <p:cNvSpPr/>
            <p:nvPr/>
          </p:nvSpPr>
          <p:spPr bwMode="auto">
            <a:xfrm>
              <a:off x="2675772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2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4" name="íşļïďé">
              <a:extLst>
                <a:ext uri="{FF2B5EF4-FFF2-40B4-BE49-F238E27FC236}">
                  <a16:creationId xmlns:a16="http://schemas.microsoft.com/office/drawing/2014/main" id="{20E76C36-CDF3-4299-B429-4E78B4274090}"/>
                </a:ext>
              </a:extLst>
            </p:cNvPr>
            <p:cNvSpPr/>
            <p:nvPr/>
          </p:nvSpPr>
          <p:spPr bwMode="auto">
            <a:xfrm>
              <a:off x="2635655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5" name="íṧḻîḓe">
              <a:extLst>
                <a:ext uri="{FF2B5EF4-FFF2-40B4-BE49-F238E27FC236}">
                  <a16:creationId xmlns:a16="http://schemas.microsoft.com/office/drawing/2014/main" id="{2D58AE35-42D8-4F50-9E79-D82FF7773009}"/>
                </a:ext>
              </a:extLst>
            </p:cNvPr>
            <p:cNvSpPr/>
            <p:nvPr/>
          </p:nvSpPr>
          <p:spPr bwMode="auto">
            <a:xfrm>
              <a:off x="2590909" y="2532461"/>
              <a:ext cx="132693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6" name="ïṥḷíḋé">
              <a:extLst>
                <a:ext uri="{FF2B5EF4-FFF2-40B4-BE49-F238E27FC236}">
                  <a16:creationId xmlns:a16="http://schemas.microsoft.com/office/drawing/2014/main" id="{C66E8FAB-3B8B-4254-8B0F-EE5321584489}"/>
                </a:ext>
              </a:extLst>
            </p:cNvPr>
            <p:cNvSpPr/>
            <p:nvPr/>
          </p:nvSpPr>
          <p:spPr bwMode="auto">
            <a:xfrm>
              <a:off x="2550793" y="2623494"/>
              <a:ext cx="132693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7" name="îṧļiḍê">
              <a:extLst>
                <a:ext uri="{FF2B5EF4-FFF2-40B4-BE49-F238E27FC236}">
                  <a16:creationId xmlns:a16="http://schemas.microsoft.com/office/drawing/2014/main" id="{C1DC5361-A5B2-42A2-9676-54ACC5D3D0B2}"/>
                </a:ext>
              </a:extLst>
            </p:cNvPr>
            <p:cNvSpPr/>
            <p:nvPr/>
          </p:nvSpPr>
          <p:spPr bwMode="auto">
            <a:xfrm>
              <a:off x="2507590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23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2" y="0"/>
                    <a:pt x="23" y="0"/>
                  </a:cubicBezTo>
                  <a:cubicBezTo>
                    <a:pt x="15" y="0"/>
                    <a:pt x="5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2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8" name="ï$lïḑê">
              <a:extLst>
                <a:ext uri="{FF2B5EF4-FFF2-40B4-BE49-F238E27FC236}">
                  <a16:creationId xmlns:a16="http://schemas.microsoft.com/office/drawing/2014/main" id="{B07E8BA7-63CD-498E-BE0D-04A45C3F815C}"/>
                </a:ext>
              </a:extLst>
            </p:cNvPr>
            <p:cNvSpPr/>
            <p:nvPr/>
          </p:nvSpPr>
          <p:spPr bwMode="auto">
            <a:xfrm>
              <a:off x="2839324" y="1734757"/>
              <a:ext cx="117264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7" y="0"/>
                    <a:pt x="20" y="0"/>
                  </a:cubicBezTo>
                  <a:cubicBezTo>
                    <a:pt x="12" y="0"/>
                    <a:pt x="5" y="3"/>
                    <a:pt x="2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8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9" name="í$ľïḑê">
              <a:extLst>
                <a:ext uri="{FF2B5EF4-FFF2-40B4-BE49-F238E27FC236}">
                  <a16:creationId xmlns:a16="http://schemas.microsoft.com/office/drawing/2014/main" id="{11C8BBCA-644C-4671-999B-B94C6C5A60B4}"/>
                </a:ext>
              </a:extLst>
            </p:cNvPr>
            <p:cNvSpPr/>
            <p:nvPr/>
          </p:nvSpPr>
          <p:spPr bwMode="auto">
            <a:xfrm>
              <a:off x="2806922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0" name="îşḻídê">
              <a:extLst>
                <a:ext uri="{FF2B5EF4-FFF2-40B4-BE49-F238E27FC236}">
                  <a16:creationId xmlns:a16="http://schemas.microsoft.com/office/drawing/2014/main" id="{67BF4D32-07B5-4A95-9158-6571173DCAAB}"/>
                </a:ext>
              </a:extLst>
            </p:cNvPr>
            <p:cNvSpPr/>
            <p:nvPr/>
          </p:nvSpPr>
          <p:spPr bwMode="auto">
            <a:xfrm>
              <a:off x="2769891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1" name="îsľîḓé">
              <a:extLst>
                <a:ext uri="{FF2B5EF4-FFF2-40B4-BE49-F238E27FC236}">
                  <a16:creationId xmlns:a16="http://schemas.microsoft.com/office/drawing/2014/main" id="{EFD2CE2E-86A9-47EF-B660-8606C4CF3324}"/>
                </a:ext>
              </a:extLst>
            </p:cNvPr>
            <p:cNvSpPr/>
            <p:nvPr/>
          </p:nvSpPr>
          <p:spPr bwMode="auto">
            <a:xfrm>
              <a:off x="2734404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3 w 33"/>
                <a:gd name="T5" fmla="*/ 8 h 17"/>
                <a:gd name="T6" fmla="*/ 13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3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2" name="ïs1ïḍè">
              <a:extLst>
                <a:ext uri="{FF2B5EF4-FFF2-40B4-BE49-F238E27FC236}">
                  <a16:creationId xmlns:a16="http://schemas.microsoft.com/office/drawing/2014/main" id="{D7971A07-948D-4AC7-A09C-F6074F9FB7E2}"/>
                </a:ext>
              </a:extLst>
            </p:cNvPr>
            <p:cNvSpPr/>
            <p:nvPr/>
          </p:nvSpPr>
          <p:spPr bwMode="auto">
            <a:xfrm>
              <a:off x="269737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3" name="íSļïdé">
              <a:extLst>
                <a:ext uri="{FF2B5EF4-FFF2-40B4-BE49-F238E27FC236}">
                  <a16:creationId xmlns:a16="http://schemas.microsoft.com/office/drawing/2014/main" id="{915B3DA4-B78F-446E-94E3-39C9AB59D64F}"/>
                </a:ext>
              </a:extLst>
            </p:cNvPr>
            <p:cNvSpPr/>
            <p:nvPr/>
          </p:nvSpPr>
          <p:spPr bwMode="auto">
            <a:xfrm>
              <a:off x="2660342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21 w 33"/>
                <a:gd name="T3" fmla="*/ 0 h 18"/>
                <a:gd name="T4" fmla="*/ 2 w 33"/>
                <a:gd name="T5" fmla="*/ 9 h 18"/>
                <a:gd name="T6" fmla="*/ 12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4" name="iṥ1iḋè">
              <a:extLst>
                <a:ext uri="{FF2B5EF4-FFF2-40B4-BE49-F238E27FC236}">
                  <a16:creationId xmlns:a16="http://schemas.microsoft.com/office/drawing/2014/main" id="{F0BC89C6-947D-42D9-8AE2-90101462CC42}"/>
                </a:ext>
              </a:extLst>
            </p:cNvPr>
            <p:cNvSpPr/>
            <p:nvPr/>
          </p:nvSpPr>
          <p:spPr bwMode="auto">
            <a:xfrm>
              <a:off x="2620226" y="2188383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5" name="îšḻïďe">
              <a:extLst>
                <a:ext uri="{FF2B5EF4-FFF2-40B4-BE49-F238E27FC236}">
                  <a16:creationId xmlns:a16="http://schemas.microsoft.com/office/drawing/2014/main" id="{01273AC4-D632-4F98-A8B1-805C9ECF8A3E}"/>
                </a:ext>
              </a:extLst>
            </p:cNvPr>
            <p:cNvSpPr/>
            <p:nvPr/>
          </p:nvSpPr>
          <p:spPr bwMode="auto">
            <a:xfrm>
              <a:off x="2580109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6" name="îsḷîḓè">
              <a:extLst>
                <a:ext uri="{FF2B5EF4-FFF2-40B4-BE49-F238E27FC236}">
                  <a16:creationId xmlns:a16="http://schemas.microsoft.com/office/drawing/2014/main" id="{E2C85D90-91EA-4F3E-A2D0-FC3EB42515EF}"/>
                </a:ext>
              </a:extLst>
            </p:cNvPr>
            <p:cNvSpPr/>
            <p:nvPr/>
          </p:nvSpPr>
          <p:spPr bwMode="auto">
            <a:xfrm>
              <a:off x="2539993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2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7" name="íṡľîďè">
              <a:extLst>
                <a:ext uri="{FF2B5EF4-FFF2-40B4-BE49-F238E27FC236}">
                  <a16:creationId xmlns:a16="http://schemas.microsoft.com/office/drawing/2014/main" id="{77C5BDE7-C273-4F2C-A1CE-CFC42E397CBE}"/>
                </a:ext>
              </a:extLst>
            </p:cNvPr>
            <p:cNvSpPr/>
            <p:nvPr/>
          </p:nvSpPr>
          <p:spPr bwMode="auto">
            <a:xfrm>
              <a:off x="2496790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8" name="îṡḷiḓé">
              <a:extLst>
                <a:ext uri="{FF2B5EF4-FFF2-40B4-BE49-F238E27FC236}">
                  <a16:creationId xmlns:a16="http://schemas.microsoft.com/office/drawing/2014/main" id="{6609694F-40E9-4C4F-94E6-8AC3675E0F3A}"/>
                </a:ext>
              </a:extLst>
            </p:cNvPr>
            <p:cNvSpPr/>
            <p:nvPr/>
          </p:nvSpPr>
          <p:spPr bwMode="auto">
            <a:xfrm>
              <a:off x="2456674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2 w 36"/>
                <a:gd name="T3" fmla="*/ 0 h 20"/>
                <a:gd name="T4" fmla="*/ 2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2" y="0"/>
                  </a:cubicBezTo>
                  <a:cubicBezTo>
                    <a:pt x="14" y="0"/>
                    <a:pt x="5" y="4"/>
                    <a:pt x="2" y="10"/>
                  </a:cubicBezTo>
                  <a:cubicBezTo>
                    <a:pt x="0" y="15"/>
                    <a:pt x="4" y="20"/>
                    <a:pt x="13" y="20"/>
                  </a:cubicBezTo>
                  <a:cubicBezTo>
                    <a:pt x="21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9" name="iṧḻíḋé">
              <a:extLst>
                <a:ext uri="{FF2B5EF4-FFF2-40B4-BE49-F238E27FC236}">
                  <a16:creationId xmlns:a16="http://schemas.microsoft.com/office/drawing/2014/main" id="{1E3120E7-67C0-4227-B1C7-5A7ECE0EF34C}"/>
                </a:ext>
              </a:extLst>
            </p:cNvPr>
            <p:cNvSpPr/>
            <p:nvPr/>
          </p:nvSpPr>
          <p:spPr bwMode="auto">
            <a:xfrm>
              <a:off x="2413471" y="2623494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2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2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0" name="ïṩḷïḓê">
              <a:extLst>
                <a:ext uri="{FF2B5EF4-FFF2-40B4-BE49-F238E27FC236}">
                  <a16:creationId xmlns:a16="http://schemas.microsoft.com/office/drawing/2014/main" id="{0145FF38-CBE2-40D9-B44A-E7F9937BFFA0}"/>
                </a:ext>
              </a:extLst>
            </p:cNvPr>
            <p:cNvSpPr/>
            <p:nvPr/>
          </p:nvSpPr>
          <p:spPr bwMode="auto">
            <a:xfrm>
              <a:off x="2365639" y="2714528"/>
              <a:ext cx="134237" cy="80233"/>
            </a:xfrm>
            <a:custGeom>
              <a:avLst/>
              <a:gdLst>
                <a:gd name="T0" fmla="*/ 35 w 37"/>
                <a:gd name="T1" fmla="*/ 11 h 22"/>
                <a:gd name="T2" fmla="*/ 24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5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2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1" name="îşlïḋè">
              <a:extLst>
                <a:ext uri="{FF2B5EF4-FFF2-40B4-BE49-F238E27FC236}">
                  <a16:creationId xmlns:a16="http://schemas.microsoft.com/office/drawing/2014/main" id="{F82E6152-B082-485A-B693-7A328525FD81}"/>
                </a:ext>
              </a:extLst>
            </p:cNvPr>
            <p:cNvSpPr/>
            <p:nvPr/>
          </p:nvSpPr>
          <p:spPr bwMode="auto">
            <a:xfrm>
              <a:off x="2317808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3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2" name="îṣľíḍé">
              <a:extLst>
                <a:ext uri="{FF2B5EF4-FFF2-40B4-BE49-F238E27FC236}">
                  <a16:creationId xmlns:a16="http://schemas.microsoft.com/office/drawing/2014/main" id="{784A5596-B44F-4FCB-9E8E-551EC6D4CC23}"/>
                </a:ext>
              </a:extLst>
            </p:cNvPr>
            <p:cNvSpPr/>
            <p:nvPr/>
          </p:nvSpPr>
          <p:spPr bwMode="auto">
            <a:xfrm>
              <a:off x="2269977" y="2907396"/>
              <a:ext cx="143495" cy="84863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3" name="iṥļîḍê">
              <a:extLst>
                <a:ext uri="{FF2B5EF4-FFF2-40B4-BE49-F238E27FC236}">
                  <a16:creationId xmlns:a16="http://schemas.microsoft.com/office/drawing/2014/main" id="{51C49E63-DDF8-4A56-AE53-A1283E0D4E6F}"/>
                </a:ext>
              </a:extLst>
            </p:cNvPr>
            <p:cNvSpPr/>
            <p:nvPr/>
          </p:nvSpPr>
          <p:spPr bwMode="auto">
            <a:xfrm>
              <a:off x="2354839" y="1734757"/>
              <a:ext cx="115721" cy="58632"/>
            </a:xfrm>
            <a:custGeom>
              <a:avLst/>
              <a:gdLst>
                <a:gd name="T0" fmla="*/ 29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1 w 32"/>
                <a:gd name="T7" fmla="*/ 16 h 16"/>
                <a:gd name="T8" fmla="*/ 29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29" y="8"/>
                  </a:moveTo>
                  <a:cubicBezTo>
                    <a:pt x="32" y="3"/>
                    <a:pt x="27" y="0"/>
                    <a:pt x="20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1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4" name="îṣ1íḓe">
              <a:extLst>
                <a:ext uri="{FF2B5EF4-FFF2-40B4-BE49-F238E27FC236}">
                  <a16:creationId xmlns:a16="http://schemas.microsoft.com/office/drawing/2014/main" id="{FE43D403-9AB9-4C06-BF41-AFBAF35D41E4}"/>
                </a:ext>
              </a:extLst>
            </p:cNvPr>
            <p:cNvSpPr/>
            <p:nvPr/>
          </p:nvSpPr>
          <p:spPr bwMode="auto">
            <a:xfrm>
              <a:off x="2475189" y="1734757"/>
              <a:ext cx="115721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8" y="0"/>
                    <a:pt x="20" y="0"/>
                  </a:cubicBezTo>
                  <a:cubicBezTo>
                    <a:pt x="13" y="0"/>
                    <a:pt x="5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5" name="íṡḻiďe">
              <a:extLst>
                <a:ext uri="{FF2B5EF4-FFF2-40B4-BE49-F238E27FC236}">
                  <a16:creationId xmlns:a16="http://schemas.microsoft.com/office/drawing/2014/main" id="{CF8CD751-EFB2-48DD-A7A8-EDF3C1845F6A}"/>
                </a:ext>
              </a:extLst>
            </p:cNvPr>
            <p:cNvSpPr/>
            <p:nvPr/>
          </p:nvSpPr>
          <p:spPr bwMode="auto">
            <a:xfrm>
              <a:off x="2595539" y="1734757"/>
              <a:ext cx="117264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3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8" y="0"/>
                    <a:pt x="20" y="0"/>
                  </a:cubicBezTo>
                  <a:cubicBezTo>
                    <a:pt x="13" y="0"/>
                    <a:pt x="5" y="3"/>
                    <a:pt x="3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8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6" name="îṥļîdê">
              <a:extLst>
                <a:ext uri="{FF2B5EF4-FFF2-40B4-BE49-F238E27FC236}">
                  <a16:creationId xmlns:a16="http://schemas.microsoft.com/office/drawing/2014/main" id="{3D50A73C-8BA2-4C27-B6B0-790CD0FC8D3F}"/>
                </a:ext>
              </a:extLst>
            </p:cNvPr>
            <p:cNvSpPr/>
            <p:nvPr/>
          </p:nvSpPr>
          <p:spPr bwMode="auto">
            <a:xfrm>
              <a:off x="2558508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3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7" name="iṣ1îḍe">
              <a:extLst>
                <a:ext uri="{FF2B5EF4-FFF2-40B4-BE49-F238E27FC236}">
                  <a16:creationId xmlns:a16="http://schemas.microsoft.com/office/drawing/2014/main" id="{D65F181C-8777-4838-90D0-73EFB300EAFD}"/>
                </a:ext>
              </a:extLst>
            </p:cNvPr>
            <p:cNvSpPr/>
            <p:nvPr/>
          </p:nvSpPr>
          <p:spPr bwMode="auto">
            <a:xfrm>
              <a:off x="2523020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8" name="íşlidé">
              <a:extLst>
                <a:ext uri="{FF2B5EF4-FFF2-40B4-BE49-F238E27FC236}">
                  <a16:creationId xmlns:a16="http://schemas.microsoft.com/office/drawing/2014/main" id="{4F84C7FC-9E86-4238-80B3-AB43623EFF29}"/>
                </a:ext>
              </a:extLst>
            </p:cNvPr>
            <p:cNvSpPr/>
            <p:nvPr/>
          </p:nvSpPr>
          <p:spPr bwMode="auto">
            <a:xfrm>
              <a:off x="248290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2 w 33"/>
                <a:gd name="T5" fmla="*/ 8 h 17"/>
                <a:gd name="T6" fmla="*/ 12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9" name="ïs1ïḋe">
              <a:extLst>
                <a:ext uri="{FF2B5EF4-FFF2-40B4-BE49-F238E27FC236}">
                  <a16:creationId xmlns:a16="http://schemas.microsoft.com/office/drawing/2014/main" id="{38EFCFDC-D1F0-4E7A-BB3F-90F7534D7A06}"/>
                </a:ext>
              </a:extLst>
            </p:cNvPr>
            <p:cNvSpPr/>
            <p:nvPr/>
          </p:nvSpPr>
          <p:spPr bwMode="auto">
            <a:xfrm>
              <a:off x="2442787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0" name="ïṩliḓê">
              <a:extLst>
                <a:ext uri="{FF2B5EF4-FFF2-40B4-BE49-F238E27FC236}">
                  <a16:creationId xmlns:a16="http://schemas.microsoft.com/office/drawing/2014/main" id="{3F2873C8-DEB3-4CDA-B10E-E6F52447A9E6}"/>
                </a:ext>
              </a:extLst>
            </p:cNvPr>
            <p:cNvSpPr/>
            <p:nvPr/>
          </p:nvSpPr>
          <p:spPr bwMode="auto">
            <a:xfrm>
              <a:off x="2401127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21 w 34"/>
                <a:gd name="T3" fmla="*/ 0 h 18"/>
                <a:gd name="T4" fmla="*/ 2 w 34"/>
                <a:gd name="T5" fmla="*/ 9 h 18"/>
                <a:gd name="T6" fmla="*/ 1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1" name="íṥḷiḓê">
              <a:extLst>
                <a:ext uri="{FF2B5EF4-FFF2-40B4-BE49-F238E27FC236}">
                  <a16:creationId xmlns:a16="http://schemas.microsoft.com/office/drawing/2014/main" id="{26EE3BA2-69CB-4911-9743-C76C4E32ABAA}"/>
                </a:ext>
              </a:extLst>
            </p:cNvPr>
            <p:cNvSpPr/>
            <p:nvPr/>
          </p:nvSpPr>
          <p:spPr bwMode="auto">
            <a:xfrm>
              <a:off x="2357925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2" name="iŝļîḑê">
              <a:extLst>
                <a:ext uri="{FF2B5EF4-FFF2-40B4-BE49-F238E27FC236}">
                  <a16:creationId xmlns:a16="http://schemas.microsoft.com/office/drawing/2014/main" id="{FACD5187-A965-48CD-AC41-E406477E20DA}"/>
                </a:ext>
              </a:extLst>
            </p:cNvPr>
            <p:cNvSpPr/>
            <p:nvPr/>
          </p:nvSpPr>
          <p:spPr bwMode="auto">
            <a:xfrm>
              <a:off x="2314722" y="2271702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3" name="ï$1idê">
              <a:extLst>
                <a:ext uri="{FF2B5EF4-FFF2-40B4-BE49-F238E27FC236}">
                  <a16:creationId xmlns:a16="http://schemas.microsoft.com/office/drawing/2014/main" id="{FD73BB40-3BA6-4FE2-98B0-C0CC971B0422}"/>
                </a:ext>
              </a:extLst>
            </p:cNvPr>
            <p:cNvSpPr/>
            <p:nvPr/>
          </p:nvSpPr>
          <p:spPr bwMode="auto">
            <a:xfrm>
              <a:off x="2269977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4" name="ïslíḋê">
              <a:extLst>
                <a:ext uri="{FF2B5EF4-FFF2-40B4-BE49-F238E27FC236}">
                  <a16:creationId xmlns:a16="http://schemas.microsoft.com/office/drawing/2014/main" id="{950781F0-9835-473A-8103-30D4B0E29BA3}"/>
                </a:ext>
              </a:extLst>
            </p:cNvPr>
            <p:cNvSpPr/>
            <p:nvPr/>
          </p:nvSpPr>
          <p:spPr bwMode="auto">
            <a:xfrm>
              <a:off x="2226774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5" name="iṣľíḓé">
              <a:extLst>
                <a:ext uri="{FF2B5EF4-FFF2-40B4-BE49-F238E27FC236}">
                  <a16:creationId xmlns:a16="http://schemas.microsoft.com/office/drawing/2014/main" id="{BF36E4F1-C9D2-4896-956A-5B07B31610E4}"/>
                </a:ext>
              </a:extLst>
            </p:cNvPr>
            <p:cNvSpPr/>
            <p:nvPr/>
          </p:nvSpPr>
          <p:spPr bwMode="auto">
            <a:xfrm>
              <a:off x="2178943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6" name="îşḻidê">
              <a:extLst>
                <a:ext uri="{FF2B5EF4-FFF2-40B4-BE49-F238E27FC236}">
                  <a16:creationId xmlns:a16="http://schemas.microsoft.com/office/drawing/2014/main" id="{25896380-B6D7-4528-857D-D7A50D49DC78}"/>
                </a:ext>
              </a:extLst>
            </p:cNvPr>
            <p:cNvSpPr/>
            <p:nvPr/>
          </p:nvSpPr>
          <p:spPr bwMode="auto">
            <a:xfrm>
              <a:off x="2131111" y="2623494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7" name="íslídè">
              <a:extLst>
                <a:ext uri="{FF2B5EF4-FFF2-40B4-BE49-F238E27FC236}">
                  <a16:creationId xmlns:a16="http://schemas.microsoft.com/office/drawing/2014/main" id="{C0DC68F3-EDD0-452A-9C7D-93CD6AEBA011}"/>
                </a:ext>
              </a:extLst>
            </p:cNvPr>
            <p:cNvSpPr/>
            <p:nvPr/>
          </p:nvSpPr>
          <p:spPr bwMode="auto">
            <a:xfrm>
              <a:off x="2189743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1 w 32"/>
                <a:gd name="T3" fmla="*/ 0 h 17"/>
                <a:gd name="T4" fmla="*/ 2 w 32"/>
                <a:gd name="T5" fmla="*/ 9 h 17"/>
                <a:gd name="T6" fmla="*/ 1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7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8" name="iśļidê">
              <a:extLst>
                <a:ext uri="{FF2B5EF4-FFF2-40B4-BE49-F238E27FC236}">
                  <a16:creationId xmlns:a16="http://schemas.microsoft.com/office/drawing/2014/main" id="{CE15BC7D-E306-4465-B44D-7E92707C7070}"/>
                </a:ext>
              </a:extLst>
            </p:cNvPr>
            <p:cNvSpPr/>
            <p:nvPr/>
          </p:nvSpPr>
          <p:spPr bwMode="auto">
            <a:xfrm>
              <a:off x="2314722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7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9" name="iŝľíḍé">
              <a:extLst>
                <a:ext uri="{FF2B5EF4-FFF2-40B4-BE49-F238E27FC236}">
                  <a16:creationId xmlns:a16="http://schemas.microsoft.com/office/drawing/2014/main" id="{3137C10B-C49A-4D78-8072-2D221337EAA6}"/>
                </a:ext>
              </a:extLst>
            </p:cNvPr>
            <p:cNvSpPr/>
            <p:nvPr/>
          </p:nvSpPr>
          <p:spPr bwMode="auto">
            <a:xfrm>
              <a:off x="2435072" y="1804190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0" name="îSliďe">
              <a:extLst>
                <a:ext uri="{FF2B5EF4-FFF2-40B4-BE49-F238E27FC236}">
                  <a16:creationId xmlns:a16="http://schemas.microsoft.com/office/drawing/2014/main" id="{02FB1DAE-AAC4-43A1-8354-AD1E2AC17610}"/>
                </a:ext>
              </a:extLst>
            </p:cNvPr>
            <p:cNvSpPr/>
            <p:nvPr/>
          </p:nvSpPr>
          <p:spPr bwMode="auto">
            <a:xfrm>
              <a:off x="1895041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1" name="îšḻïďé">
              <a:extLst>
                <a:ext uri="{FF2B5EF4-FFF2-40B4-BE49-F238E27FC236}">
                  <a16:creationId xmlns:a16="http://schemas.microsoft.com/office/drawing/2014/main" id="{90D39373-F3F1-4212-99E2-4B15F2BA0989}"/>
                </a:ext>
              </a:extLst>
            </p:cNvPr>
            <p:cNvSpPr/>
            <p:nvPr/>
          </p:nvSpPr>
          <p:spPr bwMode="auto">
            <a:xfrm>
              <a:off x="2023105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2" name="ïṣ1iḓê">
              <a:extLst>
                <a:ext uri="{FF2B5EF4-FFF2-40B4-BE49-F238E27FC236}">
                  <a16:creationId xmlns:a16="http://schemas.microsoft.com/office/drawing/2014/main" id="{31B70212-3F81-4904-B088-9E83A30E5B92}"/>
                </a:ext>
              </a:extLst>
            </p:cNvPr>
            <p:cNvSpPr/>
            <p:nvPr/>
          </p:nvSpPr>
          <p:spPr bwMode="auto">
            <a:xfrm>
              <a:off x="2146541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3" name="îṩ1ïdê">
              <a:extLst>
                <a:ext uri="{FF2B5EF4-FFF2-40B4-BE49-F238E27FC236}">
                  <a16:creationId xmlns:a16="http://schemas.microsoft.com/office/drawing/2014/main" id="{528F53BA-A4CC-4348-AB44-B741AB9BCBCF}"/>
                </a:ext>
              </a:extLst>
            </p:cNvPr>
            <p:cNvSpPr/>
            <p:nvPr/>
          </p:nvSpPr>
          <p:spPr bwMode="auto">
            <a:xfrm>
              <a:off x="2269977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4" name="iSļíḋe">
              <a:extLst>
                <a:ext uri="{FF2B5EF4-FFF2-40B4-BE49-F238E27FC236}">
                  <a16:creationId xmlns:a16="http://schemas.microsoft.com/office/drawing/2014/main" id="{4044D694-8AE6-428E-8605-6F9F242F64C6}"/>
                </a:ext>
              </a:extLst>
            </p:cNvPr>
            <p:cNvSpPr/>
            <p:nvPr/>
          </p:nvSpPr>
          <p:spPr bwMode="auto">
            <a:xfrm>
              <a:off x="2394956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5" name="iśļíḑe">
              <a:extLst>
                <a:ext uri="{FF2B5EF4-FFF2-40B4-BE49-F238E27FC236}">
                  <a16:creationId xmlns:a16="http://schemas.microsoft.com/office/drawing/2014/main" id="{8525E924-0C24-4862-B9F5-29D50C44EE9D}"/>
                </a:ext>
              </a:extLst>
            </p:cNvPr>
            <p:cNvSpPr/>
            <p:nvPr/>
          </p:nvSpPr>
          <p:spPr bwMode="auto">
            <a:xfrm>
              <a:off x="1850295" y="1953855"/>
              <a:ext cx="124979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6" name="î$liḓe">
              <a:extLst>
                <a:ext uri="{FF2B5EF4-FFF2-40B4-BE49-F238E27FC236}">
                  <a16:creationId xmlns:a16="http://schemas.microsoft.com/office/drawing/2014/main" id="{C35AECED-9A25-4D86-B97B-2B4921202CAB}"/>
                </a:ext>
              </a:extLst>
            </p:cNvPr>
            <p:cNvSpPr/>
            <p:nvPr/>
          </p:nvSpPr>
          <p:spPr bwMode="auto">
            <a:xfrm>
              <a:off x="1975274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7" name="ísľiḋè">
              <a:extLst>
                <a:ext uri="{FF2B5EF4-FFF2-40B4-BE49-F238E27FC236}">
                  <a16:creationId xmlns:a16="http://schemas.microsoft.com/office/drawing/2014/main" id="{09B1552C-69AC-42A1-9A6A-0393F737AC25}"/>
                </a:ext>
              </a:extLst>
            </p:cNvPr>
            <p:cNvSpPr/>
            <p:nvPr/>
          </p:nvSpPr>
          <p:spPr bwMode="auto">
            <a:xfrm>
              <a:off x="2103338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8" name="ïSḻîďê">
              <a:extLst>
                <a:ext uri="{FF2B5EF4-FFF2-40B4-BE49-F238E27FC236}">
                  <a16:creationId xmlns:a16="http://schemas.microsoft.com/office/drawing/2014/main" id="{3E841326-FAF4-4754-B15B-6582DAD0BC88}"/>
                </a:ext>
              </a:extLst>
            </p:cNvPr>
            <p:cNvSpPr/>
            <p:nvPr/>
          </p:nvSpPr>
          <p:spPr bwMode="auto">
            <a:xfrm>
              <a:off x="2229860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2 w 33"/>
                <a:gd name="T5" fmla="*/ 8 h 17"/>
                <a:gd name="T6" fmla="*/ 12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9" name="îṣḻíḓê">
              <a:extLst>
                <a:ext uri="{FF2B5EF4-FFF2-40B4-BE49-F238E27FC236}">
                  <a16:creationId xmlns:a16="http://schemas.microsoft.com/office/drawing/2014/main" id="{14B273E3-EC88-4040-B66B-A78CF73CE0BE}"/>
                </a:ext>
              </a:extLst>
            </p:cNvPr>
            <p:cNvSpPr/>
            <p:nvPr/>
          </p:nvSpPr>
          <p:spPr bwMode="auto">
            <a:xfrm>
              <a:off x="2354839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1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4" y="0"/>
                    <a:pt x="5" y="4"/>
                    <a:pt x="3" y="8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0" name="í$ļïďé">
              <a:extLst>
                <a:ext uri="{FF2B5EF4-FFF2-40B4-BE49-F238E27FC236}">
                  <a16:creationId xmlns:a16="http://schemas.microsoft.com/office/drawing/2014/main" id="{9FC6F561-E9C8-40DD-8BBC-5B88F0E20241}"/>
                </a:ext>
              </a:extLst>
            </p:cNvPr>
            <p:cNvSpPr/>
            <p:nvPr/>
          </p:nvSpPr>
          <p:spPr bwMode="auto">
            <a:xfrm>
              <a:off x="1804007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1" name="ïṥ1ïḍé">
              <a:extLst>
                <a:ext uri="{FF2B5EF4-FFF2-40B4-BE49-F238E27FC236}">
                  <a16:creationId xmlns:a16="http://schemas.microsoft.com/office/drawing/2014/main" id="{E4F7EBD9-ED8F-4A67-8155-17228173AF58}"/>
                </a:ext>
              </a:extLst>
            </p:cNvPr>
            <p:cNvSpPr/>
            <p:nvPr/>
          </p:nvSpPr>
          <p:spPr bwMode="auto">
            <a:xfrm>
              <a:off x="1930528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2" name="îṡļïḑê">
              <a:extLst>
                <a:ext uri="{FF2B5EF4-FFF2-40B4-BE49-F238E27FC236}">
                  <a16:creationId xmlns:a16="http://schemas.microsoft.com/office/drawing/2014/main" id="{1A67332D-C1F0-42D2-AD3D-0626F6C385D7}"/>
                </a:ext>
              </a:extLst>
            </p:cNvPr>
            <p:cNvSpPr/>
            <p:nvPr/>
          </p:nvSpPr>
          <p:spPr bwMode="auto">
            <a:xfrm>
              <a:off x="2058593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3" name="í$ḷiḍe">
              <a:extLst>
                <a:ext uri="{FF2B5EF4-FFF2-40B4-BE49-F238E27FC236}">
                  <a16:creationId xmlns:a16="http://schemas.microsoft.com/office/drawing/2014/main" id="{51EA7577-4B1D-4DA8-A211-810028A36F75}"/>
                </a:ext>
              </a:extLst>
            </p:cNvPr>
            <p:cNvSpPr/>
            <p:nvPr/>
          </p:nvSpPr>
          <p:spPr bwMode="auto">
            <a:xfrm>
              <a:off x="2186657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4" name="iṥlîďê">
              <a:extLst>
                <a:ext uri="{FF2B5EF4-FFF2-40B4-BE49-F238E27FC236}">
                  <a16:creationId xmlns:a16="http://schemas.microsoft.com/office/drawing/2014/main" id="{3614C075-097E-41C0-B5BD-A89C2D83BDF9}"/>
                </a:ext>
              </a:extLst>
            </p:cNvPr>
            <p:cNvSpPr/>
            <p:nvPr/>
          </p:nvSpPr>
          <p:spPr bwMode="auto">
            <a:xfrm>
              <a:off x="2314722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1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5" name="iśľíḓé">
              <a:extLst>
                <a:ext uri="{FF2B5EF4-FFF2-40B4-BE49-F238E27FC236}">
                  <a16:creationId xmlns:a16="http://schemas.microsoft.com/office/drawing/2014/main" id="{D2D1F448-7B11-4F5F-A263-6BFDC11D67B3}"/>
                </a:ext>
              </a:extLst>
            </p:cNvPr>
            <p:cNvSpPr/>
            <p:nvPr/>
          </p:nvSpPr>
          <p:spPr bwMode="auto">
            <a:xfrm>
              <a:off x="1625025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6" name="îṩlïdé">
              <a:extLst>
                <a:ext uri="{FF2B5EF4-FFF2-40B4-BE49-F238E27FC236}">
                  <a16:creationId xmlns:a16="http://schemas.microsoft.com/office/drawing/2014/main" id="{727E457C-4670-4303-AEA9-0F483DC890F3}"/>
                </a:ext>
              </a:extLst>
            </p:cNvPr>
            <p:cNvSpPr/>
            <p:nvPr/>
          </p:nvSpPr>
          <p:spPr bwMode="auto">
            <a:xfrm>
              <a:off x="1753090" y="2108150"/>
              <a:ext cx="126522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7" name="íSļíďé">
              <a:extLst>
                <a:ext uri="{FF2B5EF4-FFF2-40B4-BE49-F238E27FC236}">
                  <a16:creationId xmlns:a16="http://schemas.microsoft.com/office/drawing/2014/main" id="{5888063B-6FB1-4F9B-BC36-7A974D41F044}"/>
                </a:ext>
              </a:extLst>
            </p:cNvPr>
            <p:cNvSpPr/>
            <p:nvPr/>
          </p:nvSpPr>
          <p:spPr bwMode="auto">
            <a:xfrm>
              <a:off x="1884240" y="2108150"/>
              <a:ext cx="123436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2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8" name="íṥ1ïďé">
              <a:extLst>
                <a:ext uri="{FF2B5EF4-FFF2-40B4-BE49-F238E27FC236}">
                  <a16:creationId xmlns:a16="http://schemas.microsoft.com/office/drawing/2014/main" id="{6E67147E-505C-453D-A9B9-C55307D823A0}"/>
                </a:ext>
              </a:extLst>
            </p:cNvPr>
            <p:cNvSpPr/>
            <p:nvPr/>
          </p:nvSpPr>
          <p:spPr bwMode="auto">
            <a:xfrm>
              <a:off x="2010761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9" name="iṡḷíḓè">
              <a:extLst>
                <a:ext uri="{FF2B5EF4-FFF2-40B4-BE49-F238E27FC236}">
                  <a16:creationId xmlns:a16="http://schemas.microsoft.com/office/drawing/2014/main" id="{4656A8B0-021A-4560-B343-CFA93AC4971D}"/>
                </a:ext>
              </a:extLst>
            </p:cNvPr>
            <p:cNvSpPr/>
            <p:nvPr/>
          </p:nvSpPr>
          <p:spPr bwMode="auto">
            <a:xfrm>
              <a:off x="2143455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0" name="í$ḷiḓe">
              <a:extLst>
                <a:ext uri="{FF2B5EF4-FFF2-40B4-BE49-F238E27FC236}">
                  <a16:creationId xmlns:a16="http://schemas.microsoft.com/office/drawing/2014/main" id="{A8D8FAE2-0CAB-4700-A6E4-C1FEAD3254DA}"/>
                </a:ext>
              </a:extLst>
            </p:cNvPr>
            <p:cNvSpPr/>
            <p:nvPr/>
          </p:nvSpPr>
          <p:spPr bwMode="auto">
            <a:xfrm>
              <a:off x="2269977" y="2108150"/>
              <a:ext cx="124979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3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1" name="iṡļïḍe">
              <a:extLst>
                <a:ext uri="{FF2B5EF4-FFF2-40B4-BE49-F238E27FC236}">
                  <a16:creationId xmlns:a16="http://schemas.microsoft.com/office/drawing/2014/main" id="{A7F131AB-0970-425A-81F7-3236417610F9}"/>
                </a:ext>
              </a:extLst>
            </p:cNvPr>
            <p:cNvSpPr/>
            <p:nvPr/>
          </p:nvSpPr>
          <p:spPr bwMode="auto">
            <a:xfrm>
              <a:off x="1023276" y="1878251"/>
              <a:ext cx="126522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3 w 35"/>
                <a:gd name="T5" fmla="*/ 9 h 17"/>
                <a:gd name="T6" fmla="*/ 11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2" name="îṣ1ïḓè">
              <a:extLst>
                <a:ext uri="{FF2B5EF4-FFF2-40B4-BE49-F238E27FC236}">
                  <a16:creationId xmlns:a16="http://schemas.microsoft.com/office/drawing/2014/main" id="{F3CEF7B1-0352-4A0E-951A-4BB813CEE741}"/>
                </a:ext>
              </a:extLst>
            </p:cNvPr>
            <p:cNvSpPr/>
            <p:nvPr/>
          </p:nvSpPr>
          <p:spPr bwMode="auto">
            <a:xfrm>
              <a:off x="1146711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3 w 35"/>
                <a:gd name="T5" fmla="*/ 9 h 17"/>
                <a:gd name="T6" fmla="*/ 11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3" name="îṧļîḍè">
              <a:extLst>
                <a:ext uri="{FF2B5EF4-FFF2-40B4-BE49-F238E27FC236}">
                  <a16:creationId xmlns:a16="http://schemas.microsoft.com/office/drawing/2014/main" id="{36E12C85-B6FF-49E6-BDC6-32B6BD951061}"/>
                </a:ext>
              </a:extLst>
            </p:cNvPr>
            <p:cNvSpPr/>
            <p:nvPr/>
          </p:nvSpPr>
          <p:spPr bwMode="auto">
            <a:xfrm>
              <a:off x="1270147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4 w 35"/>
                <a:gd name="T5" fmla="*/ 9 h 17"/>
                <a:gd name="T6" fmla="*/ 12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4" name="ïślïḋè">
              <a:extLst>
                <a:ext uri="{FF2B5EF4-FFF2-40B4-BE49-F238E27FC236}">
                  <a16:creationId xmlns:a16="http://schemas.microsoft.com/office/drawing/2014/main" id="{550DF4B7-FEB1-426D-B0FA-0FF042FD4DF6}"/>
                </a:ext>
              </a:extLst>
            </p:cNvPr>
            <p:cNvSpPr/>
            <p:nvPr/>
          </p:nvSpPr>
          <p:spPr bwMode="auto">
            <a:xfrm>
              <a:off x="1398211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7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5" name="ïSļïḑê">
              <a:extLst>
                <a:ext uri="{FF2B5EF4-FFF2-40B4-BE49-F238E27FC236}">
                  <a16:creationId xmlns:a16="http://schemas.microsoft.com/office/drawing/2014/main" id="{2B9C0382-7974-401F-9D35-6976647CBBA4}"/>
                </a:ext>
              </a:extLst>
            </p:cNvPr>
            <p:cNvSpPr/>
            <p:nvPr/>
          </p:nvSpPr>
          <p:spPr bwMode="auto">
            <a:xfrm>
              <a:off x="152319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6" name="iślíḋé">
              <a:extLst>
                <a:ext uri="{FF2B5EF4-FFF2-40B4-BE49-F238E27FC236}">
                  <a16:creationId xmlns:a16="http://schemas.microsoft.com/office/drawing/2014/main" id="{83BC3874-C8FC-4C62-91C4-D6DEAC607FF0}"/>
                </a:ext>
              </a:extLst>
            </p:cNvPr>
            <p:cNvSpPr/>
            <p:nvPr/>
          </p:nvSpPr>
          <p:spPr bwMode="auto">
            <a:xfrm>
              <a:off x="1646626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7" name="ïś1ïḋè">
              <a:extLst>
                <a:ext uri="{FF2B5EF4-FFF2-40B4-BE49-F238E27FC236}">
                  <a16:creationId xmlns:a16="http://schemas.microsoft.com/office/drawing/2014/main" id="{A6BCE1E7-6007-42DD-96A2-6CD1DA843199}"/>
                </a:ext>
              </a:extLst>
            </p:cNvPr>
            <p:cNvSpPr/>
            <p:nvPr/>
          </p:nvSpPr>
          <p:spPr bwMode="auto">
            <a:xfrm>
              <a:off x="1770062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8" name="ísļíďê">
              <a:extLst>
                <a:ext uri="{FF2B5EF4-FFF2-40B4-BE49-F238E27FC236}">
                  <a16:creationId xmlns:a16="http://schemas.microsoft.com/office/drawing/2014/main" id="{C3D16C80-A9FF-4805-8B71-739537B71291}"/>
                </a:ext>
              </a:extLst>
            </p:cNvPr>
            <p:cNvSpPr/>
            <p:nvPr/>
          </p:nvSpPr>
          <p:spPr bwMode="auto">
            <a:xfrm>
              <a:off x="839665" y="1953855"/>
              <a:ext cx="128065" cy="63261"/>
            </a:xfrm>
            <a:custGeom>
              <a:avLst/>
              <a:gdLst>
                <a:gd name="T0" fmla="*/ 31 w 35"/>
                <a:gd name="T1" fmla="*/ 8 h 17"/>
                <a:gd name="T2" fmla="*/ 24 w 35"/>
                <a:gd name="T3" fmla="*/ 0 h 17"/>
                <a:gd name="T4" fmla="*/ 3 w 35"/>
                <a:gd name="T5" fmla="*/ 8 h 17"/>
                <a:gd name="T6" fmla="*/ 11 w 35"/>
                <a:gd name="T7" fmla="*/ 17 h 17"/>
                <a:gd name="T8" fmla="*/ 31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9" name="ïṣḷíḋè">
              <a:extLst>
                <a:ext uri="{FF2B5EF4-FFF2-40B4-BE49-F238E27FC236}">
                  <a16:creationId xmlns:a16="http://schemas.microsoft.com/office/drawing/2014/main" id="{7A710192-9655-4C22-BCCA-A54BEA00F21F}"/>
                </a:ext>
              </a:extLst>
            </p:cNvPr>
            <p:cNvSpPr/>
            <p:nvPr/>
          </p:nvSpPr>
          <p:spPr bwMode="auto">
            <a:xfrm>
              <a:off x="964644" y="1953855"/>
              <a:ext cx="126522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4 w 35"/>
                <a:gd name="T5" fmla="*/ 8 h 17"/>
                <a:gd name="T6" fmla="*/ 11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8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0" name="ï$lídè">
              <a:extLst>
                <a:ext uri="{FF2B5EF4-FFF2-40B4-BE49-F238E27FC236}">
                  <a16:creationId xmlns:a16="http://schemas.microsoft.com/office/drawing/2014/main" id="{13BD4369-C9C7-4541-9C06-24F5F609A45C}"/>
                </a:ext>
              </a:extLst>
            </p:cNvPr>
            <p:cNvSpPr/>
            <p:nvPr/>
          </p:nvSpPr>
          <p:spPr bwMode="auto">
            <a:xfrm>
              <a:off x="1091165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3 w 35"/>
                <a:gd name="T5" fmla="*/ 8 h 17"/>
                <a:gd name="T6" fmla="*/ 11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4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1" name="íš1iďè">
              <a:extLst>
                <a:ext uri="{FF2B5EF4-FFF2-40B4-BE49-F238E27FC236}">
                  <a16:creationId xmlns:a16="http://schemas.microsoft.com/office/drawing/2014/main" id="{B5BB93A7-794F-41C5-A9A6-FEA2882EBAC0}"/>
                </a:ext>
              </a:extLst>
            </p:cNvPr>
            <p:cNvSpPr/>
            <p:nvPr/>
          </p:nvSpPr>
          <p:spPr bwMode="auto">
            <a:xfrm>
              <a:off x="1216144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4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2" name="iSļiḓe">
              <a:extLst>
                <a:ext uri="{FF2B5EF4-FFF2-40B4-BE49-F238E27FC236}">
                  <a16:creationId xmlns:a16="http://schemas.microsoft.com/office/drawing/2014/main" id="{61E4A37D-7ADE-479E-B464-2E5D46FC4FBB}"/>
                </a:ext>
              </a:extLst>
            </p:cNvPr>
            <p:cNvSpPr/>
            <p:nvPr/>
          </p:nvSpPr>
          <p:spPr bwMode="auto">
            <a:xfrm>
              <a:off x="1344209" y="1953855"/>
              <a:ext cx="126522" cy="63261"/>
            </a:xfrm>
            <a:custGeom>
              <a:avLst/>
              <a:gdLst>
                <a:gd name="T0" fmla="*/ 32 w 35"/>
                <a:gd name="T1" fmla="*/ 8 h 17"/>
                <a:gd name="T2" fmla="*/ 23 w 35"/>
                <a:gd name="T3" fmla="*/ 0 h 17"/>
                <a:gd name="T4" fmla="*/ 3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3" name="iş1ïḍe">
              <a:extLst>
                <a:ext uri="{FF2B5EF4-FFF2-40B4-BE49-F238E27FC236}">
                  <a16:creationId xmlns:a16="http://schemas.microsoft.com/office/drawing/2014/main" id="{3C3C1141-5128-4B8C-93F5-E220171B47AE}"/>
                </a:ext>
              </a:extLst>
            </p:cNvPr>
            <p:cNvSpPr/>
            <p:nvPr/>
          </p:nvSpPr>
          <p:spPr bwMode="auto">
            <a:xfrm>
              <a:off x="1470730" y="1953855"/>
              <a:ext cx="124979" cy="63261"/>
            </a:xfrm>
            <a:custGeom>
              <a:avLst/>
              <a:gdLst>
                <a:gd name="T0" fmla="*/ 31 w 34"/>
                <a:gd name="T1" fmla="*/ 8 h 17"/>
                <a:gd name="T2" fmla="*/ 23 w 34"/>
                <a:gd name="T3" fmla="*/ 0 h 17"/>
                <a:gd name="T4" fmla="*/ 3 w 34"/>
                <a:gd name="T5" fmla="*/ 8 h 17"/>
                <a:gd name="T6" fmla="*/ 11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4" name="îṡlîdê">
              <a:extLst>
                <a:ext uri="{FF2B5EF4-FFF2-40B4-BE49-F238E27FC236}">
                  <a16:creationId xmlns:a16="http://schemas.microsoft.com/office/drawing/2014/main" id="{27C19483-27F8-4125-9EF4-C09DC1FB7BD3}"/>
                </a:ext>
              </a:extLst>
            </p:cNvPr>
            <p:cNvSpPr/>
            <p:nvPr/>
          </p:nvSpPr>
          <p:spPr bwMode="auto">
            <a:xfrm>
              <a:off x="1595708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3 w 35"/>
                <a:gd name="T3" fmla="*/ 0 h 17"/>
                <a:gd name="T4" fmla="*/ 4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7" y="4"/>
                    <a:pt x="4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5" name="iṣ1ïḑê">
              <a:extLst>
                <a:ext uri="{FF2B5EF4-FFF2-40B4-BE49-F238E27FC236}">
                  <a16:creationId xmlns:a16="http://schemas.microsoft.com/office/drawing/2014/main" id="{35D1929A-57FF-4248-9084-09EEC47D2277}"/>
                </a:ext>
              </a:extLst>
            </p:cNvPr>
            <p:cNvSpPr/>
            <p:nvPr/>
          </p:nvSpPr>
          <p:spPr bwMode="auto">
            <a:xfrm>
              <a:off x="1723773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3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6" name="íṣlïḍè">
              <a:extLst>
                <a:ext uri="{FF2B5EF4-FFF2-40B4-BE49-F238E27FC236}">
                  <a16:creationId xmlns:a16="http://schemas.microsoft.com/office/drawing/2014/main" id="{AA1E177B-83FC-4087-9795-03AD24522689}"/>
                </a:ext>
              </a:extLst>
            </p:cNvPr>
            <p:cNvSpPr/>
            <p:nvPr/>
          </p:nvSpPr>
          <p:spPr bwMode="auto">
            <a:xfrm>
              <a:off x="906012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5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5" y="0"/>
                  </a:cubicBezTo>
                  <a:cubicBezTo>
                    <a:pt x="17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7" name="í$liḍê">
              <a:extLst>
                <a:ext uri="{FF2B5EF4-FFF2-40B4-BE49-F238E27FC236}">
                  <a16:creationId xmlns:a16="http://schemas.microsoft.com/office/drawing/2014/main" id="{1FAC2BCB-7647-4490-B4BC-A84816BC1F53}"/>
                </a:ext>
              </a:extLst>
            </p:cNvPr>
            <p:cNvSpPr/>
            <p:nvPr/>
          </p:nvSpPr>
          <p:spPr bwMode="auto">
            <a:xfrm>
              <a:off x="1034076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7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8" name="íŝḻîḋe">
              <a:extLst>
                <a:ext uri="{FF2B5EF4-FFF2-40B4-BE49-F238E27FC236}">
                  <a16:creationId xmlns:a16="http://schemas.microsoft.com/office/drawing/2014/main" id="{9C54B11D-303B-4017-A9BE-B7F79CA2CE4C}"/>
                </a:ext>
              </a:extLst>
            </p:cNvPr>
            <p:cNvSpPr/>
            <p:nvPr/>
          </p:nvSpPr>
          <p:spPr bwMode="auto">
            <a:xfrm>
              <a:off x="1160597" y="2031003"/>
              <a:ext cx="132693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9" name="íšḷiḑê">
              <a:extLst>
                <a:ext uri="{FF2B5EF4-FFF2-40B4-BE49-F238E27FC236}">
                  <a16:creationId xmlns:a16="http://schemas.microsoft.com/office/drawing/2014/main" id="{5852C8CD-493F-4D4F-946E-45D5875A514E}"/>
                </a:ext>
              </a:extLst>
            </p:cNvPr>
            <p:cNvSpPr/>
            <p:nvPr/>
          </p:nvSpPr>
          <p:spPr bwMode="auto">
            <a:xfrm>
              <a:off x="1288663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0" name="iṧḷídè">
              <a:extLst>
                <a:ext uri="{FF2B5EF4-FFF2-40B4-BE49-F238E27FC236}">
                  <a16:creationId xmlns:a16="http://schemas.microsoft.com/office/drawing/2014/main" id="{C89E1315-0FFC-4027-9726-2C00D19DFFE0}"/>
                </a:ext>
              </a:extLst>
            </p:cNvPr>
            <p:cNvSpPr/>
            <p:nvPr/>
          </p:nvSpPr>
          <p:spPr bwMode="auto">
            <a:xfrm>
              <a:off x="1416727" y="2031003"/>
              <a:ext cx="128065" cy="61718"/>
            </a:xfrm>
            <a:custGeom>
              <a:avLst/>
              <a:gdLst>
                <a:gd name="T0" fmla="*/ 32 w 35"/>
                <a:gd name="T1" fmla="*/ 9 h 17"/>
                <a:gd name="T2" fmla="*/ 24 w 35"/>
                <a:gd name="T3" fmla="*/ 0 h 17"/>
                <a:gd name="T4" fmla="*/ 4 w 35"/>
                <a:gd name="T5" fmla="*/ 9 h 17"/>
                <a:gd name="T6" fmla="*/ 12 w 35"/>
                <a:gd name="T7" fmla="*/ 17 h 17"/>
                <a:gd name="T8" fmla="*/ 32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9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1" name="í$ľîḑe">
              <a:extLst>
                <a:ext uri="{FF2B5EF4-FFF2-40B4-BE49-F238E27FC236}">
                  <a16:creationId xmlns:a16="http://schemas.microsoft.com/office/drawing/2014/main" id="{4CB0EE71-0D94-42D4-ACCB-44F27C20DA55}"/>
                </a:ext>
              </a:extLst>
            </p:cNvPr>
            <p:cNvSpPr/>
            <p:nvPr/>
          </p:nvSpPr>
          <p:spPr bwMode="auto">
            <a:xfrm>
              <a:off x="1547878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3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2" name="ïśļîḓe">
              <a:extLst>
                <a:ext uri="{FF2B5EF4-FFF2-40B4-BE49-F238E27FC236}">
                  <a16:creationId xmlns:a16="http://schemas.microsoft.com/office/drawing/2014/main" id="{0A77A4C6-7441-480A-A1E9-5B197ECCAF7C}"/>
                </a:ext>
              </a:extLst>
            </p:cNvPr>
            <p:cNvSpPr/>
            <p:nvPr/>
          </p:nvSpPr>
          <p:spPr bwMode="auto">
            <a:xfrm>
              <a:off x="1675942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3" name="ïṣḻíḍè">
              <a:extLst>
                <a:ext uri="{FF2B5EF4-FFF2-40B4-BE49-F238E27FC236}">
                  <a16:creationId xmlns:a16="http://schemas.microsoft.com/office/drawing/2014/main" id="{5BAE76A4-63ED-4699-9D35-96A6E3A6A9A1}"/>
                </a:ext>
              </a:extLst>
            </p:cNvPr>
            <p:cNvSpPr/>
            <p:nvPr/>
          </p:nvSpPr>
          <p:spPr bwMode="auto">
            <a:xfrm>
              <a:off x="975444" y="2108150"/>
              <a:ext cx="131151" cy="64804"/>
            </a:xfrm>
            <a:custGeom>
              <a:avLst/>
              <a:gdLst>
                <a:gd name="T0" fmla="*/ 33 w 36"/>
                <a:gd name="T1" fmla="*/ 9 h 18"/>
                <a:gd name="T2" fmla="*/ 25 w 36"/>
                <a:gd name="T3" fmla="*/ 0 h 18"/>
                <a:gd name="T4" fmla="*/ 4 w 36"/>
                <a:gd name="T5" fmla="*/ 9 h 18"/>
                <a:gd name="T6" fmla="*/ 12 w 36"/>
                <a:gd name="T7" fmla="*/ 18 h 18"/>
                <a:gd name="T8" fmla="*/ 33 w 36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33" y="9"/>
                  </a:moveTo>
                  <a:cubicBezTo>
                    <a:pt x="36" y="4"/>
                    <a:pt x="33" y="0"/>
                    <a:pt x="25" y="0"/>
                  </a:cubicBezTo>
                  <a:cubicBezTo>
                    <a:pt x="17" y="0"/>
                    <a:pt x="8" y="4"/>
                    <a:pt x="4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4" name="ïṡľïḍê">
              <a:extLst>
                <a:ext uri="{FF2B5EF4-FFF2-40B4-BE49-F238E27FC236}">
                  <a16:creationId xmlns:a16="http://schemas.microsoft.com/office/drawing/2014/main" id="{EA73835D-BDAE-40C8-B06F-D702021121E7}"/>
                </a:ext>
              </a:extLst>
            </p:cNvPr>
            <p:cNvSpPr/>
            <p:nvPr/>
          </p:nvSpPr>
          <p:spPr bwMode="auto">
            <a:xfrm>
              <a:off x="1106595" y="2108150"/>
              <a:ext cx="131151" cy="64804"/>
            </a:xfrm>
            <a:custGeom>
              <a:avLst/>
              <a:gdLst>
                <a:gd name="T0" fmla="*/ 32 w 36"/>
                <a:gd name="T1" fmla="*/ 9 h 18"/>
                <a:gd name="T2" fmla="*/ 24 w 36"/>
                <a:gd name="T3" fmla="*/ 0 h 18"/>
                <a:gd name="T4" fmla="*/ 3 w 36"/>
                <a:gd name="T5" fmla="*/ 9 h 18"/>
                <a:gd name="T6" fmla="*/ 11 w 36"/>
                <a:gd name="T7" fmla="*/ 18 h 18"/>
                <a:gd name="T8" fmla="*/ 32 w 36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4"/>
                    <a:pt x="3" y="18"/>
                    <a:pt x="11" y="18"/>
                  </a:cubicBezTo>
                  <a:cubicBezTo>
                    <a:pt x="19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5" name="i$1íḑé">
              <a:extLst>
                <a:ext uri="{FF2B5EF4-FFF2-40B4-BE49-F238E27FC236}">
                  <a16:creationId xmlns:a16="http://schemas.microsoft.com/office/drawing/2014/main" id="{B7CE3375-436C-49EE-A6E6-47889F0C27FE}"/>
                </a:ext>
              </a:extLst>
            </p:cNvPr>
            <p:cNvSpPr/>
            <p:nvPr/>
          </p:nvSpPr>
          <p:spPr bwMode="auto">
            <a:xfrm>
              <a:off x="654511" y="2188383"/>
              <a:ext cx="134237" cy="69433"/>
            </a:xfrm>
            <a:custGeom>
              <a:avLst/>
              <a:gdLst>
                <a:gd name="T0" fmla="*/ 33 w 37"/>
                <a:gd name="T1" fmla="*/ 9 h 19"/>
                <a:gd name="T2" fmla="*/ 26 w 37"/>
                <a:gd name="T3" fmla="*/ 0 h 19"/>
                <a:gd name="T4" fmla="*/ 4 w 37"/>
                <a:gd name="T5" fmla="*/ 9 h 19"/>
                <a:gd name="T6" fmla="*/ 12 w 37"/>
                <a:gd name="T7" fmla="*/ 19 h 19"/>
                <a:gd name="T8" fmla="*/ 33 w 37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9">
                  <a:moveTo>
                    <a:pt x="33" y="9"/>
                  </a:moveTo>
                  <a:cubicBezTo>
                    <a:pt x="37" y="4"/>
                    <a:pt x="34" y="0"/>
                    <a:pt x="26" y="0"/>
                  </a:cubicBezTo>
                  <a:cubicBezTo>
                    <a:pt x="18" y="0"/>
                    <a:pt x="8" y="4"/>
                    <a:pt x="4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6" name="îS1ïḓe">
              <a:extLst>
                <a:ext uri="{FF2B5EF4-FFF2-40B4-BE49-F238E27FC236}">
                  <a16:creationId xmlns:a16="http://schemas.microsoft.com/office/drawing/2014/main" id="{3BF7F4DE-CF49-4C8B-AE2A-047C1B4690D6}"/>
                </a:ext>
              </a:extLst>
            </p:cNvPr>
            <p:cNvSpPr/>
            <p:nvPr/>
          </p:nvSpPr>
          <p:spPr bwMode="auto">
            <a:xfrm>
              <a:off x="785662" y="2188383"/>
              <a:ext cx="134237" cy="69433"/>
            </a:xfrm>
            <a:custGeom>
              <a:avLst/>
              <a:gdLst>
                <a:gd name="T0" fmla="*/ 33 w 37"/>
                <a:gd name="T1" fmla="*/ 9 h 19"/>
                <a:gd name="T2" fmla="*/ 25 w 37"/>
                <a:gd name="T3" fmla="*/ 0 h 19"/>
                <a:gd name="T4" fmla="*/ 4 w 37"/>
                <a:gd name="T5" fmla="*/ 9 h 19"/>
                <a:gd name="T6" fmla="*/ 12 w 37"/>
                <a:gd name="T7" fmla="*/ 19 h 19"/>
                <a:gd name="T8" fmla="*/ 33 w 37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9">
                  <a:moveTo>
                    <a:pt x="33" y="9"/>
                  </a:moveTo>
                  <a:cubicBezTo>
                    <a:pt x="37" y="4"/>
                    <a:pt x="33" y="0"/>
                    <a:pt x="25" y="0"/>
                  </a:cubicBezTo>
                  <a:cubicBezTo>
                    <a:pt x="17" y="0"/>
                    <a:pt x="8" y="4"/>
                    <a:pt x="4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7" name="íŝ1ïďê">
              <a:extLst>
                <a:ext uri="{FF2B5EF4-FFF2-40B4-BE49-F238E27FC236}">
                  <a16:creationId xmlns:a16="http://schemas.microsoft.com/office/drawing/2014/main" id="{71770B46-82B2-4181-9B83-058D0463D4AE}"/>
                </a:ext>
              </a:extLst>
            </p:cNvPr>
            <p:cNvSpPr/>
            <p:nvPr/>
          </p:nvSpPr>
          <p:spPr bwMode="auto">
            <a:xfrm>
              <a:off x="1836408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8" name="îŝlîḍê">
              <a:extLst>
                <a:ext uri="{FF2B5EF4-FFF2-40B4-BE49-F238E27FC236}">
                  <a16:creationId xmlns:a16="http://schemas.microsoft.com/office/drawing/2014/main" id="{9AC4FAA6-3BC5-4E0C-804A-8D9746BFE545}"/>
                </a:ext>
              </a:extLst>
            </p:cNvPr>
            <p:cNvSpPr/>
            <p:nvPr/>
          </p:nvSpPr>
          <p:spPr bwMode="auto">
            <a:xfrm>
              <a:off x="1964473" y="2188383"/>
              <a:ext cx="126522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9" name="ïṧľíḍê">
              <a:extLst>
                <a:ext uri="{FF2B5EF4-FFF2-40B4-BE49-F238E27FC236}">
                  <a16:creationId xmlns:a16="http://schemas.microsoft.com/office/drawing/2014/main" id="{EF4660B6-5759-4920-8BEF-439010F5AE2D}"/>
                </a:ext>
              </a:extLst>
            </p:cNvPr>
            <p:cNvSpPr/>
            <p:nvPr/>
          </p:nvSpPr>
          <p:spPr bwMode="auto">
            <a:xfrm>
              <a:off x="2095623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0" name="ïṩḷîḑè">
              <a:extLst>
                <a:ext uri="{FF2B5EF4-FFF2-40B4-BE49-F238E27FC236}">
                  <a16:creationId xmlns:a16="http://schemas.microsoft.com/office/drawing/2014/main" id="{D2FE3A3A-9074-4BA9-813A-6E0208C9A9B4}"/>
                </a:ext>
              </a:extLst>
            </p:cNvPr>
            <p:cNvSpPr/>
            <p:nvPr/>
          </p:nvSpPr>
          <p:spPr bwMode="auto">
            <a:xfrm>
              <a:off x="2226774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1" name="iṩḷïdé">
              <a:extLst>
                <a:ext uri="{FF2B5EF4-FFF2-40B4-BE49-F238E27FC236}">
                  <a16:creationId xmlns:a16="http://schemas.microsoft.com/office/drawing/2014/main" id="{B500C27C-BA83-4655-BE7A-2EA6B1DACFB7}"/>
                </a:ext>
              </a:extLst>
            </p:cNvPr>
            <p:cNvSpPr/>
            <p:nvPr/>
          </p:nvSpPr>
          <p:spPr bwMode="auto">
            <a:xfrm>
              <a:off x="1785491" y="2271702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2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2" name="išḷîďé">
              <a:extLst>
                <a:ext uri="{FF2B5EF4-FFF2-40B4-BE49-F238E27FC236}">
                  <a16:creationId xmlns:a16="http://schemas.microsoft.com/office/drawing/2014/main" id="{B1F96B4A-02E7-4751-9875-932F190A6BB5}"/>
                </a:ext>
              </a:extLst>
            </p:cNvPr>
            <p:cNvSpPr/>
            <p:nvPr/>
          </p:nvSpPr>
          <p:spPr bwMode="auto">
            <a:xfrm>
              <a:off x="1916641" y="2271702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3" name="iSļíḋé">
              <a:extLst>
                <a:ext uri="{FF2B5EF4-FFF2-40B4-BE49-F238E27FC236}">
                  <a16:creationId xmlns:a16="http://schemas.microsoft.com/office/drawing/2014/main" id="{6D612D36-312D-4A26-8446-3CF5832196B7}"/>
                </a:ext>
              </a:extLst>
            </p:cNvPr>
            <p:cNvSpPr/>
            <p:nvPr/>
          </p:nvSpPr>
          <p:spPr bwMode="auto">
            <a:xfrm>
              <a:off x="2050878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4" name="îṥḻiḑê">
              <a:extLst>
                <a:ext uri="{FF2B5EF4-FFF2-40B4-BE49-F238E27FC236}">
                  <a16:creationId xmlns:a16="http://schemas.microsoft.com/office/drawing/2014/main" id="{01CC0D16-CE2E-456B-98AE-358A60E56C70}"/>
                </a:ext>
              </a:extLst>
            </p:cNvPr>
            <p:cNvSpPr/>
            <p:nvPr/>
          </p:nvSpPr>
          <p:spPr bwMode="auto">
            <a:xfrm>
              <a:off x="2183571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5" name="í$ļíďè">
              <a:extLst>
                <a:ext uri="{FF2B5EF4-FFF2-40B4-BE49-F238E27FC236}">
                  <a16:creationId xmlns:a16="http://schemas.microsoft.com/office/drawing/2014/main" id="{EBEFECF3-ABD0-4335-A47D-C0E75B20D219}"/>
                </a:ext>
              </a:extLst>
            </p:cNvPr>
            <p:cNvSpPr/>
            <p:nvPr/>
          </p:nvSpPr>
          <p:spPr bwMode="auto">
            <a:xfrm>
              <a:off x="1868810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2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4" y="19"/>
                    <a:pt x="12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6" name="íṧlîďè">
              <a:extLst>
                <a:ext uri="{FF2B5EF4-FFF2-40B4-BE49-F238E27FC236}">
                  <a16:creationId xmlns:a16="http://schemas.microsoft.com/office/drawing/2014/main" id="{7452D937-B6BC-4E31-AAC5-528ACE2AEBF6}"/>
                </a:ext>
              </a:extLst>
            </p:cNvPr>
            <p:cNvSpPr/>
            <p:nvPr/>
          </p:nvSpPr>
          <p:spPr bwMode="auto">
            <a:xfrm>
              <a:off x="2004590" y="2356565"/>
              <a:ext cx="126522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4" y="19"/>
                    <a:pt x="12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7" name="íšļîḍè">
              <a:extLst>
                <a:ext uri="{FF2B5EF4-FFF2-40B4-BE49-F238E27FC236}">
                  <a16:creationId xmlns:a16="http://schemas.microsoft.com/office/drawing/2014/main" id="{412562E8-F86C-471F-840B-D030DF7F3E73}"/>
                </a:ext>
              </a:extLst>
            </p:cNvPr>
            <p:cNvSpPr/>
            <p:nvPr/>
          </p:nvSpPr>
          <p:spPr bwMode="auto">
            <a:xfrm>
              <a:off x="2135740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1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8" name="isḻïdè">
              <a:extLst>
                <a:ext uri="{FF2B5EF4-FFF2-40B4-BE49-F238E27FC236}">
                  <a16:creationId xmlns:a16="http://schemas.microsoft.com/office/drawing/2014/main" id="{DFE01E65-4C13-460B-8EDB-32982F4B032B}"/>
                </a:ext>
              </a:extLst>
            </p:cNvPr>
            <p:cNvSpPr/>
            <p:nvPr/>
          </p:nvSpPr>
          <p:spPr bwMode="auto">
            <a:xfrm>
              <a:off x="1817893" y="2439884"/>
              <a:ext cx="135779" cy="74061"/>
            </a:xfrm>
            <a:custGeom>
              <a:avLst/>
              <a:gdLst>
                <a:gd name="T0" fmla="*/ 33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3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3" y="10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6" y="0"/>
                    <a:pt x="6" y="5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9" name="íṣlidê">
              <a:extLst>
                <a:ext uri="{FF2B5EF4-FFF2-40B4-BE49-F238E27FC236}">
                  <a16:creationId xmlns:a16="http://schemas.microsoft.com/office/drawing/2014/main" id="{E10F666F-630D-475F-A1D8-A4C50225B645}"/>
                </a:ext>
              </a:extLst>
            </p:cNvPr>
            <p:cNvSpPr/>
            <p:nvPr/>
          </p:nvSpPr>
          <p:spPr bwMode="auto">
            <a:xfrm>
              <a:off x="1953672" y="2439884"/>
              <a:ext cx="134237" cy="74061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6" y="0"/>
                    <a:pt x="6" y="5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1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0" name="îşḻïḑê">
              <a:extLst>
                <a:ext uri="{FF2B5EF4-FFF2-40B4-BE49-F238E27FC236}">
                  <a16:creationId xmlns:a16="http://schemas.microsoft.com/office/drawing/2014/main" id="{746CB4F2-71D6-4856-B172-453F669E254E}"/>
                </a:ext>
              </a:extLst>
            </p:cNvPr>
            <p:cNvSpPr/>
            <p:nvPr/>
          </p:nvSpPr>
          <p:spPr bwMode="auto">
            <a:xfrm>
              <a:off x="2090995" y="2439884"/>
              <a:ext cx="132693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2 w 36"/>
                <a:gd name="T5" fmla="*/ 10 h 20"/>
                <a:gd name="T6" fmla="*/ 1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5" y="5"/>
                    <a:pt x="2" y="10"/>
                  </a:cubicBezTo>
                  <a:cubicBezTo>
                    <a:pt x="0" y="16"/>
                    <a:pt x="4" y="20"/>
                    <a:pt x="12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1" name="išḻîḋe">
              <a:extLst>
                <a:ext uri="{FF2B5EF4-FFF2-40B4-BE49-F238E27FC236}">
                  <a16:creationId xmlns:a16="http://schemas.microsoft.com/office/drawing/2014/main" id="{0300638F-370C-4215-ABE1-336E3DC9C3A3}"/>
                </a:ext>
              </a:extLst>
            </p:cNvPr>
            <p:cNvSpPr/>
            <p:nvPr/>
          </p:nvSpPr>
          <p:spPr bwMode="auto">
            <a:xfrm>
              <a:off x="1766976" y="2532461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3" y="0"/>
                    <a:pt x="24" y="0"/>
                  </a:cubicBezTo>
                  <a:cubicBezTo>
                    <a:pt x="16" y="0"/>
                    <a:pt x="6" y="4"/>
                    <a:pt x="3" y="10"/>
                  </a:cubicBezTo>
                  <a:cubicBezTo>
                    <a:pt x="0" y="15"/>
                    <a:pt x="4" y="20"/>
                    <a:pt x="13" y="20"/>
                  </a:cubicBezTo>
                  <a:cubicBezTo>
                    <a:pt x="21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2" name="íṥlidè">
              <a:extLst>
                <a:ext uri="{FF2B5EF4-FFF2-40B4-BE49-F238E27FC236}">
                  <a16:creationId xmlns:a16="http://schemas.microsoft.com/office/drawing/2014/main" id="{B54DA790-5D62-403B-8917-26BCBF31ABC7}"/>
                </a:ext>
              </a:extLst>
            </p:cNvPr>
            <p:cNvSpPr/>
            <p:nvPr/>
          </p:nvSpPr>
          <p:spPr bwMode="auto">
            <a:xfrm>
              <a:off x="1905841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4 w 36"/>
                <a:gd name="T3" fmla="*/ 0 h 20"/>
                <a:gd name="T4" fmla="*/ 3 w 36"/>
                <a:gd name="T5" fmla="*/ 10 h 20"/>
                <a:gd name="T6" fmla="*/ 1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4" y="20"/>
                    <a:pt x="12" y="20"/>
                  </a:cubicBezTo>
                  <a:cubicBezTo>
                    <a:pt x="21" y="20"/>
                    <a:pt x="30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3" name="iş1íďé">
              <a:extLst>
                <a:ext uri="{FF2B5EF4-FFF2-40B4-BE49-F238E27FC236}">
                  <a16:creationId xmlns:a16="http://schemas.microsoft.com/office/drawing/2014/main" id="{34AABF31-319C-4367-AA78-13C87594BD7E}"/>
                </a:ext>
              </a:extLst>
            </p:cNvPr>
            <p:cNvSpPr/>
            <p:nvPr/>
          </p:nvSpPr>
          <p:spPr bwMode="auto">
            <a:xfrm>
              <a:off x="2040077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3" y="0"/>
                    <a:pt x="24" y="0"/>
                  </a:cubicBezTo>
                  <a:cubicBezTo>
                    <a:pt x="16" y="0"/>
                    <a:pt x="6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4" name="ïṥ1ídè">
              <a:extLst>
                <a:ext uri="{FF2B5EF4-FFF2-40B4-BE49-F238E27FC236}">
                  <a16:creationId xmlns:a16="http://schemas.microsoft.com/office/drawing/2014/main" id="{6D1D9979-1521-4B27-B1B8-CA563E136696}"/>
                </a:ext>
              </a:extLst>
            </p:cNvPr>
            <p:cNvSpPr/>
            <p:nvPr/>
          </p:nvSpPr>
          <p:spPr bwMode="auto">
            <a:xfrm>
              <a:off x="1850295" y="2623494"/>
              <a:ext cx="138865" cy="72519"/>
            </a:xfrm>
            <a:custGeom>
              <a:avLst/>
              <a:gdLst>
                <a:gd name="T0" fmla="*/ 35 w 38"/>
                <a:gd name="T1" fmla="*/ 10 h 20"/>
                <a:gd name="T2" fmla="*/ 25 w 38"/>
                <a:gd name="T3" fmla="*/ 0 h 20"/>
                <a:gd name="T4" fmla="*/ 4 w 38"/>
                <a:gd name="T5" fmla="*/ 10 h 20"/>
                <a:gd name="T6" fmla="*/ 14 w 38"/>
                <a:gd name="T7" fmla="*/ 20 h 20"/>
                <a:gd name="T8" fmla="*/ 35 w 38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35" y="10"/>
                  </a:moveTo>
                  <a:cubicBezTo>
                    <a:pt x="38" y="4"/>
                    <a:pt x="34" y="0"/>
                    <a:pt x="25" y="0"/>
                  </a:cubicBezTo>
                  <a:cubicBezTo>
                    <a:pt x="16" y="0"/>
                    <a:pt x="7" y="4"/>
                    <a:pt x="4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2" y="16"/>
                    <a:pt x="35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5" name="ïṩļiḋê">
              <a:extLst>
                <a:ext uri="{FF2B5EF4-FFF2-40B4-BE49-F238E27FC236}">
                  <a16:creationId xmlns:a16="http://schemas.microsoft.com/office/drawing/2014/main" id="{A4DAECBB-7713-46A5-B66A-24381445A44E}"/>
                </a:ext>
              </a:extLst>
            </p:cNvPr>
            <p:cNvSpPr/>
            <p:nvPr/>
          </p:nvSpPr>
          <p:spPr bwMode="auto">
            <a:xfrm>
              <a:off x="1993789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6" name="îṩlîḑè">
              <a:extLst>
                <a:ext uri="{FF2B5EF4-FFF2-40B4-BE49-F238E27FC236}">
                  <a16:creationId xmlns:a16="http://schemas.microsoft.com/office/drawing/2014/main" id="{04E530F3-70EE-43C0-B90D-A11CC8336326}"/>
                </a:ext>
              </a:extLst>
            </p:cNvPr>
            <p:cNvSpPr/>
            <p:nvPr/>
          </p:nvSpPr>
          <p:spPr bwMode="auto">
            <a:xfrm>
              <a:off x="1942872" y="2714528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3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1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7" name="îṣḷîḋé">
              <a:extLst>
                <a:ext uri="{FF2B5EF4-FFF2-40B4-BE49-F238E27FC236}">
                  <a16:creationId xmlns:a16="http://schemas.microsoft.com/office/drawing/2014/main" id="{34695F53-3B72-4161-91F7-2B5A71284853}"/>
                </a:ext>
              </a:extLst>
            </p:cNvPr>
            <p:cNvSpPr/>
            <p:nvPr/>
          </p:nvSpPr>
          <p:spPr bwMode="auto">
            <a:xfrm>
              <a:off x="2084823" y="2714528"/>
              <a:ext cx="134237" cy="80233"/>
            </a:xfrm>
            <a:custGeom>
              <a:avLst/>
              <a:gdLst>
                <a:gd name="T0" fmla="*/ 34 w 37"/>
                <a:gd name="T1" fmla="*/ 11 h 22"/>
                <a:gd name="T2" fmla="*/ 24 w 37"/>
                <a:gd name="T3" fmla="*/ 0 h 22"/>
                <a:gd name="T4" fmla="*/ 3 w 37"/>
                <a:gd name="T5" fmla="*/ 11 h 22"/>
                <a:gd name="T6" fmla="*/ 1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3" y="0"/>
                    <a:pt x="24" y="0"/>
                  </a:cubicBezTo>
                  <a:cubicBezTo>
                    <a:pt x="15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8" name="isļiďe">
              <a:extLst>
                <a:ext uri="{FF2B5EF4-FFF2-40B4-BE49-F238E27FC236}">
                  <a16:creationId xmlns:a16="http://schemas.microsoft.com/office/drawing/2014/main" id="{CFDFD308-634F-483D-BC37-9386C4A17776}"/>
                </a:ext>
              </a:extLst>
            </p:cNvPr>
            <p:cNvSpPr/>
            <p:nvPr/>
          </p:nvSpPr>
          <p:spPr bwMode="auto">
            <a:xfrm>
              <a:off x="2033905" y="2810191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5 w 38"/>
                <a:gd name="T3" fmla="*/ 0 h 22"/>
                <a:gd name="T4" fmla="*/ 3 w 38"/>
                <a:gd name="T5" fmla="*/ 11 h 22"/>
                <a:gd name="T6" fmla="*/ 13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9" name="ïs1íďe">
              <a:extLst>
                <a:ext uri="{FF2B5EF4-FFF2-40B4-BE49-F238E27FC236}">
                  <a16:creationId xmlns:a16="http://schemas.microsoft.com/office/drawing/2014/main" id="{238B872F-8169-4BEA-A6E1-CDBF4232F9BB}"/>
                </a:ext>
              </a:extLst>
            </p:cNvPr>
            <p:cNvSpPr/>
            <p:nvPr/>
          </p:nvSpPr>
          <p:spPr bwMode="auto">
            <a:xfrm>
              <a:off x="2718973" y="1734757"/>
              <a:ext cx="114178" cy="58632"/>
            </a:xfrm>
            <a:custGeom>
              <a:avLst/>
              <a:gdLst>
                <a:gd name="T0" fmla="*/ 29 w 31"/>
                <a:gd name="T1" fmla="*/ 8 h 16"/>
                <a:gd name="T2" fmla="*/ 20 w 31"/>
                <a:gd name="T3" fmla="*/ 0 h 16"/>
                <a:gd name="T4" fmla="*/ 2 w 31"/>
                <a:gd name="T5" fmla="*/ 8 h 16"/>
                <a:gd name="T6" fmla="*/ 12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31" y="3"/>
                    <a:pt x="27" y="0"/>
                    <a:pt x="20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0" name="ïŝḻîḑê">
              <a:extLst>
                <a:ext uri="{FF2B5EF4-FFF2-40B4-BE49-F238E27FC236}">
                  <a16:creationId xmlns:a16="http://schemas.microsoft.com/office/drawing/2014/main" id="{8CA303EA-4B7E-460F-B4C5-8B44A01A1428}"/>
                </a:ext>
              </a:extLst>
            </p:cNvPr>
            <p:cNvSpPr/>
            <p:nvPr/>
          </p:nvSpPr>
          <p:spPr bwMode="auto">
            <a:xfrm>
              <a:off x="2683486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5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1" name="î$ľíḑé">
              <a:extLst>
                <a:ext uri="{FF2B5EF4-FFF2-40B4-BE49-F238E27FC236}">
                  <a16:creationId xmlns:a16="http://schemas.microsoft.com/office/drawing/2014/main" id="{4DAAF456-AF07-4526-9529-6E964D0225C9}"/>
                </a:ext>
              </a:extLst>
            </p:cNvPr>
            <p:cNvSpPr/>
            <p:nvPr/>
          </p:nvSpPr>
          <p:spPr bwMode="auto">
            <a:xfrm>
              <a:off x="2646455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2" name="ïṥľîḓè">
              <a:extLst>
                <a:ext uri="{FF2B5EF4-FFF2-40B4-BE49-F238E27FC236}">
                  <a16:creationId xmlns:a16="http://schemas.microsoft.com/office/drawing/2014/main" id="{99D699F9-3FCF-47B7-B70C-6441CBB882D5}"/>
                </a:ext>
              </a:extLst>
            </p:cNvPr>
            <p:cNvSpPr/>
            <p:nvPr/>
          </p:nvSpPr>
          <p:spPr bwMode="auto">
            <a:xfrm>
              <a:off x="2609425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4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3" name="î$líḋê">
              <a:extLst>
                <a:ext uri="{FF2B5EF4-FFF2-40B4-BE49-F238E27FC236}">
                  <a16:creationId xmlns:a16="http://schemas.microsoft.com/office/drawing/2014/main" id="{04783C64-0F3F-4C45-9D36-BC062CA1DAB7}"/>
                </a:ext>
              </a:extLst>
            </p:cNvPr>
            <p:cNvSpPr/>
            <p:nvPr/>
          </p:nvSpPr>
          <p:spPr bwMode="auto">
            <a:xfrm>
              <a:off x="2569308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4" name="ïşļíḍe">
              <a:extLst>
                <a:ext uri="{FF2B5EF4-FFF2-40B4-BE49-F238E27FC236}">
                  <a16:creationId xmlns:a16="http://schemas.microsoft.com/office/drawing/2014/main" id="{264F556B-BA37-4B07-B304-5E1B060BC9D3}"/>
                </a:ext>
              </a:extLst>
            </p:cNvPr>
            <p:cNvSpPr/>
            <p:nvPr/>
          </p:nvSpPr>
          <p:spPr bwMode="auto">
            <a:xfrm>
              <a:off x="2529192" y="2108150"/>
              <a:ext cx="124979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3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5" name="ïsļíḓê">
              <a:extLst>
                <a:ext uri="{FF2B5EF4-FFF2-40B4-BE49-F238E27FC236}">
                  <a16:creationId xmlns:a16="http://schemas.microsoft.com/office/drawing/2014/main" id="{3FBF3D0F-D7B7-42F8-BCF2-25440B2D5200}"/>
                </a:ext>
              </a:extLst>
            </p:cNvPr>
            <p:cNvSpPr/>
            <p:nvPr/>
          </p:nvSpPr>
          <p:spPr bwMode="auto">
            <a:xfrm>
              <a:off x="2489075" y="2188383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2 w 34"/>
                <a:gd name="T3" fmla="*/ 0 h 19"/>
                <a:gd name="T4" fmla="*/ 3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6" name="îS1ide">
              <a:extLst>
                <a:ext uri="{FF2B5EF4-FFF2-40B4-BE49-F238E27FC236}">
                  <a16:creationId xmlns:a16="http://schemas.microsoft.com/office/drawing/2014/main" id="{9E005465-9689-42C4-90E7-40578C3C8FB8}"/>
                </a:ext>
              </a:extLst>
            </p:cNvPr>
            <p:cNvSpPr/>
            <p:nvPr/>
          </p:nvSpPr>
          <p:spPr bwMode="auto">
            <a:xfrm>
              <a:off x="2448958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2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7" name="íšľïdè">
              <a:extLst>
                <a:ext uri="{FF2B5EF4-FFF2-40B4-BE49-F238E27FC236}">
                  <a16:creationId xmlns:a16="http://schemas.microsoft.com/office/drawing/2014/main" id="{85DBF176-ECF4-4B60-8AD2-7C614EC08AD7}"/>
                </a:ext>
              </a:extLst>
            </p:cNvPr>
            <p:cNvSpPr/>
            <p:nvPr/>
          </p:nvSpPr>
          <p:spPr bwMode="auto">
            <a:xfrm>
              <a:off x="2405756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8" name="ïslïḑé">
              <a:extLst>
                <a:ext uri="{FF2B5EF4-FFF2-40B4-BE49-F238E27FC236}">
                  <a16:creationId xmlns:a16="http://schemas.microsoft.com/office/drawing/2014/main" id="{F700CD08-0B0F-4307-8C08-51D20E6CEBA2}"/>
                </a:ext>
              </a:extLst>
            </p:cNvPr>
            <p:cNvSpPr/>
            <p:nvPr/>
          </p:nvSpPr>
          <p:spPr bwMode="auto">
            <a:xfrm>
              <a:off x="2361010" y="2439884"/>
              <a:ext cx="132693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9" name="ïṡľiḓé">
              <a:extLst>
                <a:ext uri="{FF2B5EF4-FFF2-40B4-BE49-F238E27FC236}">
                  <a16:creationId xmlns:a16="http://schemas.microsoft.com/office/drawing/2014/main" id="{7DDB7BFF-BD6C-403A-A841-02C3681BADCF}"/>
                </a:ext>
              </a:extLst>
            </p:cNvPr>
            <p:cNvSpPr/>
            <p:nvPr/>
          </p:nvSpPr>
          <p:spPr bwMode="auto">
            <a:xfrm>
              <a:off x="2317807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5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0" name="isḷíḑè">
              <a:extLst>
                <a:ext uri="{FF2B5EF4-FFF2-40B4-BE49-F238E27FC236}">
                  <a16:creationId xmlns:a16="http://schemas.microsoft.com/office/drawing/2014/main" id="{13B22DC1-C213-49EE-B0B3-AE0F4E737EB9}"/>
                </a:ext>
              </a:extLst>
            </p:cNvPr>
            <p:cNvSpPr/>
            <p:nvPr/>
          </p:nvSpPr>
          <p:spPr bwMode="auto">
            <a:xfrm>
              <a:off x="2269977" y="2623494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2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1" name="iṣḷîdê">
              <a:extLst>
                <a:ext uri="{FF2B5EF4-FFF2-40B4-BE49-F238E27FC236}">
                  <a16:creationId xmlns:a16="http://schemas.microsoft.com/office/drawing/2014/main" id="{76F00CD1-F867-4915-B4D5-8BA2AA7B08FA}"/>
                </a:ext>
              </a:extLst>
            </p:cNvPr>
            <p:cNvSpPr/>
            <p:nvPr/>
          </p:nvSpPr>
          <p:spPr bwMode="auto">
            <a:xfrm>
              <a:off x="2223688" y="2714528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2" name="iŝ1iḋè">
              <a:extLst>
                <a:ext uri="{FF2B5EF4-FFF2-40B4-BE49-F238E27FC236}">
                  <a16:creationId xmlns:a16="http://schemas.microsoft.com/office/drawing/2014/main" id="{68F900DE-8665-4539-B59B-13BE4558941A}"/>
                </a:ext>
              </a:extLst>
            </p:cNvPr>
            <p:cNvSpPr/>
            <p:nvPr/>
          </p:nvSpPr>
          <p:spPr bwMode="auto">
            <a:xfrm>
              <a:off x="2175856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25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3" name="íṧḻiḓè">
              <a:extLst>
                <a:ext uri="{FF2B5EF4-FFF2-40B4-BE49-F238E27FC236}">
                  <a16:creationId xmlns:a16="http://schemas.microsoft.com/office/drawing/2014/main" id="{4D321B1A-CEF6-4A51-95A3-BC618515457B}"/>
                </a:ext>
              </a:extLst>
            </p:cNvPr>
            <p:cNvSpPr/>
            <p:nvPr/>
          </p:nvSpPr>
          <p:spPr bwMode="auto">
            <a:xfrm>
              <a:off x="2124940" y="2907396"/>
              <a:ext cx="141951" cy="84863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4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7" y="5"/>
                    <a:pt x="4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4" name="ïşļïḑè">
              <a:extLst>
                <a:ext uri="{FF2B5EF4-FFF2-40B4-BE49-F238E27FC236}">
                  <a16:creationId xmlns:a16="http://schemas.microsoft.com/office/drawing/2014/main" id="{2CF8DF50-347C-4F48-9462-DE3E7FED194C}"/>
                </a:ext>
              </a:extLst>
            </p:cNvPr>
            <p:cNvSpPr/>
            <p:nvPr/>
          </p:nvSpPr>
          <p:spPr bwMode="auto">
            <a:xfrm>
              <a:off x="2074022" y="3010774"/>
              <a:ext cx="145037" cy="83319"/>
            </a:xfrm>
            <a:custGeom>
              <a:avLst/>
              <a:gdLst>
                <a:gd name="T0" fmla="*/ 37 w 40"/>
                <a:gd name="T1" fmla="*/ 11 h 23"/>
                <a:gd name="T2" fmla="*/ 26 w 40"/>
                <a:gd name="T3" fmla="*/ 0 h 23"/>
                <a:gd name="T4" fmla="*/ 4 w 40"/>
                <a:gd name="T5" fmla="*/ 11 h 23"/>
                <a:gd name="T6" fmla="*/ 14 w 40"/>
                <a:gd name="T7" fmla="*/ 23 h 23"/>
                <a:gd name="T8" fmla="*/ 37 w 40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37" y="11"/>
                  </a:moveTo>
                  <a:cubicBezTo>
                    <a:pt x="40" y="5"/>
                    <a:pt x="35" y="0"/>
                    <a:pt x="26" y="0"/>
                  </a:cubicBezTo>
                  <a:cubicBezTo>
                    <a:pt x="17" y="0"/>
                    <a:pt x="7" y="5"/>
                    <a:pt x="4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4" y="23"/>
                    <a:pt x="33" y="18"/>
                    <a:pt x="3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5" name="íṣlíḓe">
              <a:extLst>
                <a:ext uri="{FF2B5EF4-FFF2-40B4-BE49-F238E27FC236}">
                  <a16:creationId xmlns:a16="http://schemas.microsoft.com/office/drawing/2014/main" id="{30A09C84-E5F3-4372-A81B-38939E8A8E4F}"/>
                </a:ext>
              </a:extLst>
            </p:cNvPr>
            <p:cNvSpPr/>
            <p:nvPr/>
          </p:nvSpPr>
          <p:spPr bwMode="auto">
            <a:xfrm>
              <a:off x="2223688" y="3010774"/>
              <a:ext cx="141951" cy="83319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6" name="íşľïďè">
              <a:extLst>
                <a:ext uri="{FF2B5EF4-FFF2-40B4-BE49-F238E27FC236}">
                  <a16:creationId xmlns:a16="http://schemas.microsoft.com/office/drawing/2014/main" id="{EE4A8875-5B8B-486F-AD26-AEBABA76C206}"/>
                </a:ext>
              </a:extLst>
            </p:cNvPr>
            <p:cNvSpPr/>
            <p:nvPr/>
          </p:nvSpPr>
          <p:spPr bwMode="auto">
            <a:xfrm>
              <a:off x="2368725" y="3010774"/>
              <a:ext cx="141951" cy="83319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4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7" name="î$1íḑê">
              <a:extLst>
                <a:ext uri="{FF2B5EF4-FFF2-40B4-BE49-F238E27FC236}">
                  <a16:creationId xmlns:a16="http://schemas.microsoft.com/office/drawing/2014/main" id="{6A2D6BDB-6AF2-46C7-9E9D-9D406B9AA72B}"/>
                </a:ext>
              </a:extLst>
            </p:cNvPr>
            <p:cNvSpPr/>
            <p:nvPr/>
          </p:nvSpPr>
          <p:spPr bwMode="auto">
            <a:xfrm>
              <a:off x="2518390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24 w 38"/>
                <a:gd name="T3" fmla="*/ 0 h 23"/>
                <a:gd name="T4" fmla="*/ 2 w 38"/>
                <a:gd name="T5" fmla="*/ 11 h 23"/>
                <a:gd name="T6" fmla="*/ 1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5" y="0"/>
                    <a:pt x="5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8" name="îṣliḑê">
              <a:extLst>
                <a:ext uri="{FF2B5EF4-FFF2-40B4-BE49-F238E27FC236}">
                  <a16:creationId xmlns:a16="http://schemas.microsoft.com/office/drawing/2014/main" id="{A750C57C-ED52-49DB-8CB2-2770B74BC63C}"/>
                </a:ext>
              </a:extLst>
            </p:cNvPr>
            <p:cNvSpPr/>
            <p:nvPr/>
          </p:nvSpPr>
          <p:spPr bwMode="auto">
            <a:xfrm>
              <a:off x="2320893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5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4" y="0"/>
                    <a:pt x="25" y="0"/>
                  </a:cubicBezTo>
                  <a:cubicBezTo>
                    <a:pt x="16" y="0"/>
                    <a:pt x="6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9" name="ïSľíḍé">
              <a:extLst>
                <a:ext uri="{FF2B5EF4-FFF2-40B4-BE49-F238E27FC236}">
                  <a16:creationId xmlns:a16="http://schemas.microsoft.com/office/drawing/2014/main" id="{9229C271-70E7-47DE-8FF3-E81AFE8E83F4}"/>
                </a:ext>
              </a:extLst>
            </p:cNvPr>
            <p:cNvSpPr/>
            <p:nvPr/>
          </p:nvSpPr>
          <p:spPr bwMode="auto">
            <a:xfrm>
              <a:off x="2470560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5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4" y="0"/>
                    <a:pt x="25" y="0"/>
                  </a:cubicBezTo>
                  <a:cubicBezTo>
                    <a:pt x="15" y="0"/>
                    <a:pt x="6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0" name="ïś1íḋè">
              <a:extLst>
                <a:ext uri="{FF2B5EF4-FFF2-40B4-BE49-F238E27FC236}">
                  <a16:creationId xmlns:a16="http://schemas.microsoft.com/office/drawing/2014/main" id="{603F7C13-2930-48F6-85DC-16C79C1D743D}"/>
                </a:ext>
              </a:extLst>
            </p:cNvPr>
            <p:cNvSpPr/>
            <p:nvPr/>
          </p:nvSpPr>
          <p:spPr bwMode="auto">
            <a:xfrm>
              <a:off x="2620225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4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3" y="0"/>
                    <a:pt x="24" y="0"/>
                  </a:cubicBezTo>
                  <a:cubicBezTo>
                    <a:pt x="15" y="0"/>
                    <a:pt x="5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1" name="îšḻiďe">
              <a:extLst>
                <a:ext uri="{FF2B5EF4-FFF2-40B4-BE49-F238E27FC236}">
                  <a16:creationId xmlns:a16="http://schemas.microsoft.com/office/drawing/2014/main" id="{37FBFCA3-6E44-4B43-A8AC-A7F6455BF4AA}"/>
                </a:ext>
              </a:extLst>
            </p:cNvPr>
            <p:cNvSpPr/>
            <p:nvPr/>
          </p:nvSpPr>
          <p:spPr bwMode="auto">
            <a:xfrm>
              <a:off x="2573936" y="3222157"/>
              <a:ext cx="145037" cy="87948"/>
            </a:xfrm>
            <a:custGeom>
              <a:avLst/>
              <a:gdLst>
                <a:gd name="T0" fmla="*/ 37 w 40"/>
                <a:gd name="T1" fmla="*/ 12 h 24"/>
                <a:gd name="T2" fmla="*/ 25 w 40"/>
                <a:gd name="T3" fmla="*/ 0 h 24"/>
                <a:gd name="T4" fmla="*/ 3 w 40"/>
                <a:gd name="T5" fmla="*/ 12 h 24"/>
                <a:gd name="T6" fmla="*/ 15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6" y="0"/>
                    <a:pt x="6" y="5"/>
                    <a:pt x="3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4" y="24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2" name="iṩḻíḑè">
              <a:extLst>
                <a:ext uri="{FF2B5EF4-FFF2-40B4-BE49-F238E27FC236}">
                  <a16:creationId xmlns:a16="http://schemas.microsoft.com/office/drawing/2014/main" id="{576721BE-C48E-472C-8FE4-ADBE114FBB74}"/>
                </a:ext>
              </a:extLst>
            </p:cNvPr>
            <p:cNvSpPr/>
            <p:nvPr/>
          </p:nvSpPr>
          <p:spPr bwMode="auto">
            <a:xfrm>
              <a:off x="3029106" y="3222157"/>
              <a:ext cx="141951" cy="87948"/>
            </a:xfrm>
            <a:custGeom>
              <a:avLst/>
              <a:gdLst>
                <a:gd name="T0" fmla="*/ 36 w 39"/>
                <a:gd name="T1" fmla="*/ 12 h 24"/>
                <a:gd name="T2" fmla="*/ 24 w 39"/>
                <a:gd name="T3" fmla="*/ 0 h 24"/>
                <a:gd name="T4" fmla="*/ 3 w 39"/>
                <a:gd name="T5" fmla="*/ 12 h 24"/>
                <a:gd name="T6" fmla="*/ 15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4" y="24"/>
                    <a:pt x="34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3" name="íśľîḋê">
              <a:extLst>
                <a:ext uri="{FF2B5EF4-FFF2-40B4-BE49-F238E27FC236}">
                  <a16:creationId xmlns:a16="http://schemas.microsoft.com/office/drawing/2014/main" id="{422F4E0A-ECF7-4D1A-BE3D-A3A1C4EFA3F6}"/>
                </a:ext>
              </a:extLst>
            </p:cNvPr>
            <p:cNvSpPr/>
            <p:nvPr/>
          </p:nvSpPr>
          <p:spPr bwMode="auto">
            <a:xfrm>
              <a:off x="3183401" y="3222157"/>
              <a:ext cx="137323" cy="87948"/>
            </a:xfrm>
            <a:custGeom>
              <a:avLst/>
              <a:gdLst>
                <a:gd name="T0" fmla="*/ 36 w 38"/>
                <a:gd name="T1" fmla="*/ 12 h 24"/>
                <a:gd name="T2" fmla="*/ 23 w 38"/>
                <a:gd name="T3" fmla="*/ 0 h 24"/>
                <a:gd name="T4" fmla="*/ 2 w 38"/>
                <a:gd name="T5" fmla="*/ 12 h 24"/>
                <a:gd name="T6" fmla="*/ 15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19"/>
                    <a:pt x="5" y="24"/>
                    <a:pt x="15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4" name="i$1íḑê">
              <a:extLst>
                <a:ext uri="{FF2B5EF4-FFF2-40B4-BE49-F238E27FC236}">
                  <a16:creationId xmlns:a16="http://schemas.microsoft.com/office/drawing/2014/main" id="{88EEEA6D-C513-44BB-B914-7D5F7B194636}"/>
                </a:ext>
              </a:extLst>
            </p:cNvPr>
            <p:cNvSpPr/>
            <p:nvPr/>
          </p:nvSpPr>
          <p:spPr bwMode="auto">
            <a:xfrm>
              <a:off x="3333066" y="3222157"/>
              <a:ext cx="137323" cy="87948"/>
            </a:xfrm>
            <a:custGeom>
              <a:avLst/>
              <a:gdLst>
                <a:gd name="T0" fmla="*/ 36 w 38"/>
                <a:gd name="T1" fmla="*/ 12 h 24"/>
                <a:gd name="T2" fmla="*/ 23 w 38"/>
                <a:gd name="T3" fmla="*/ 0 h 24"/>
                <a:gd name="T4" fmla="*/ 2 w 38"/>
                <a:gd name="T5" fmla="*/ 12 h 24"/>
                <a:gd name="T6" fmla="*/ 15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5" y="24"/>
                    <a:pt x="34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5" name="îšļïdé">
              <a:extLst>
                <a:ext uri="{FF2B5EF4-FFF2-40B4-BE49-F238E27FC236}">
                  <a16:creationId xmlns:a16="http://schemas.microsoft.com/office/drawing/2014/main" id="{D5E9DC93-AED2-4615-8A35-08491F6232AE}"/>
                </a:ext>
              </a:extLst>
            </p:cNvPr>
            <p:cNvSpPr/>
            <p:nvPr/>
          </p:nvSpPr>
          <p:spPr bwMode="auto">
            <a:xfrm>
              <a:off x="2683486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5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5" y="25"/>
                    <a:pt x="15" y="25"/>
                  </a:cubicBezTo>
                  <a:cubicBezTo>
                    <a:pt x="24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6" name="íś1îďé">
              <a:extLst>
                <a:ext uri="{FF2B5EF4-FFF2-40B4-BE49-F238E27FC236}">
                  <a16:creationId xmlns:a16="http://schemas.microsoft.com/office/drawing/2014/main" id="{24E435E5-A504-47C5-9334-FE00A38FE72A}"/>
                </a:ext>
              </a:extLst>
            </p:cNvPr>
            <p:cNvSpPr/>
            <p:nvPr/>
          </p:nvSpPr>
          <p:spPr bwMode="auto">
            <a:xfrm>
              <a:off x="2836237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5" y="25"/>
                    <a:pt x="15" y="25"/>
                  </a:cubicBezTo>
                  <a:cubicBezTo>
                    <a:pt x="24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7" name="iṥḷïde">
              <a:extLst>
                <a:ext uri="{FF2B5EF4-FFF2-40B4-BE49-F238E27FC236}">
                  <a16:creationId xmlns:a16="http://schemas.microsoft.com/office/drawing/2014/main" id="{A4497DC9-190C-4908-96D6-27EB874DE930}"/>
                </a:ext>
              </a:extLst>
            </p:cNvPr>
            <p:cNvSpPr/>
            <p:nvPr/>
          </p:nvSpPr>
          <p:spPr bwMode="auto">
            <a:xfrm>
              <a:off x="2988990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6" y="25"/>
                    <a:pt x="15" y="25"/>
                  </a:cubicBezTo>
                  <a:cubicBezTo>
                    <a:pt x="25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8" name="ïśľïde">
              <a:extLst>
                <a:ext uri="{FF2B5EF4-FFF2-40B4-BE49-F238E27FC236}">
                  <a16:creationId xmlns:a16="http://schemas.microsoft.com/office/drawing/2014/main" id="{9D3A7627-6ECD-47FF-9FB9-A5889A239D05}"/>
                </a:ext>
              </a:extLst>
            </p:cNvPr>
            <p:cNvSpPr/>
            <p:nvPr/>
          </p:nvSpPr>
          <p:spPr bwMode="auto">
            <a:xfrm>
              <a:off x="3143284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5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9" name="iṩ1idê">
              <a:extLst>
                <a:ext uri="{FF2B5EF4-FFF2-40B4-BE49-F238E27FC236}">
                  <a16:creationId xmlns:a16="http://schemas.microsoft.com/office/drawing/2014/main" id="{B7FEDB24-4D9B-4979-A837-275E3FF7A23B}"/>
                </a:ext>
              </a:extLst>
            </p:cNvPr>
            <p:cNvSpPr/>
            <p:nvPr/>
          </p:nvSpPr>
          <p:spPr bwMode="auto">
            <a:xfrm>
              <a:off x="3296035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6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6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0" name="íśliḍe">
              <a:extLst>
                <a:ext uri="{FF2B5EF4-FFF2-40B4-BE49-F238E27FC236}">
                  <a16:creationId xmlns:a16="http://schemas.microsoft.com/office/drawing/2014/main" id="{1CD4C075-B1A8-4628-83AE-B2703E24657F}"/>
                </a:ext>
              </a:extLst>
            </p:cNvPr>
            <p:cNvSpPr/>
            <p:nvPr/>
          </p:nvSpPr>
          <p:spPr bwMode="auto">
            <a:xfrm>
              <a:off x="3448788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3 w 39"/>
                <a:gd name="T3" fmla="*/ 0 h 25"/>
                <a:gd name="T4" fmla="*/ 3 w 39"/>
                <a:gd name="T5" fmla="*/ 12 h 25"/>
                <a:gd name="T6" fmla="*/ 16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3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6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1" name="î$ľíḋè">
              <a:extLst>
                <a:ext uri="{FF2B5EF4-FFF2-40B4-BE49-F238E27FC236}">
                  <a16:creationId xmlns:a16="http://schemas.microsoft.com/office/drawing/2014/main" id="{939B0BCD-488F-4191-B0E5-D255428589F2}"/>
                </a:ext>
              </a:extLst>
            </p:cNvPr>
            <p:cNvSpPr/>
            <p:nvPr/>
          </p:nvSpPr>
          <p:spPr bwMode="auto">
            <a:xfrm>
              <a:off x="2793035" y="3445885"/>
              <a:ext cx="145037" cy="94120"/>
            </a:xfrm>
            <a:custGeom>
              <a:avLst/>
              <a:gdLst>
                <a:gd name="T0" fmla="*/ 37 w 40"/>
                <a:gd name="T1" fmla="*/ 12 h 26"/>
                <a:gd name="T2" fmla="*/ 25 w 40"/>
                <a:gd name="T3" fmla="*/ 0 h 26"/>
                <a:gd name="T4" fmla="*/ 3 w 40"/>
                <a:gd name="T5" fmla="*/ 12 h 26"/>
                <a:gd name="T6" fmla="*/ 15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20"/>
                    <a:pt x="5" y="26"/>
                    <a:pt x="15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2" name="íŝľîḍé">
              <a:extLst>
                <a:ext uri="{FF2B5EF4-FFF2-40B4-BE49-F238E27FC236}">
                  <a16:creationId xmlns:a16="http://schemas.microsoft.com/office/drawing/2014/main" id="{CDA47F20-30B7-404E-A057-D877E70EBEF8}"/>
                </a:ext>
              </a:extLst>
            </p:cNvPr>
            <p:cNvSpPr/>
            <p:nvPr/>
          </p:nvSpPr>
          <p:spPr bwMode="auto">
            <a:xfrm>
              <a:off x="2948873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4 w 39"/>
                <a:gd name="T3" fmla="*/ 0 h 26"/>
                <a:gd name="T4" fmla="*/ 2 w 39"/>
                <a:gd name="T5" fmla="*/ 12 h 26"/>
                <a:gd name="T6" fmla="*/ 15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2" y="12"/>
                  </a:cubicBezTo>
                  <a:cubicBezTo>
                    <a:pt x="0" y="20"/>
                    <a:pt x="5" y="26"/>
                    <a:pt x="15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3" name="i$1ïḋè">
              <a:extLst>
                <a:ext uri="{FF2B5EF4-FFF2-40B4-BE49-F238E27FC236}">
                  <a16:creationId xmlns:a16="http://schemas.microsoft.com/office/drawing/2014/main" id="{27C25C19-7E1D-4131-B259-2F4823F712BD}"/>
                </a:ext>
              </a:extLst>
            </p:cNvPr>
            <p:cNvSpPr/>
            <p:nvPr/>
          </p:nvSpPr>
          <p:spPr bwMode="auto">
            <a:xfrm>
              <a:off x="3103168" y="3445885"/>
              <a:ext cx="145037" cy="94120"/>
            </a:xfrm>
            <a:custGeom>
              <a:avLst/>
              <a:gdLst>
                <a:gd name="T0" fmla="*/ 38 w 40"/>
                <a:gd name="T1" fmla="*/ 12 h 26"/>
                <a:gd name="T2" fmla="*/ 25 w 40"/>
                <a:gd name="T3" fmla="*/ 0 h 26"/>
                <a:gd name="T4" fmla="*/ 3 w 40"/>
                <a:gd name="T5" fmla="*/ 12 h 26"/>
                <a:gd name="T6" fmla="*/ 16 w 40"/>
                <a:gd name="T7" fmla="*/ 26 h 26"/>
                <a:gd name="T8" fmla="*/ 38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8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6" y="26"/>
                    <a:pt x="35" y="20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4" name="íŝḷíḓé">
              <a:extLst>
                <a:ext uri="{FF2B5EF4-FFF2-40B4-BE49-F238E27FC236}">
                  <a16:creationId xmlns:a16="http://schemas.microsoft.com/office/drawing/2014/main" id="{2770387E-C3F1-4E5A-9125-E2D1C868974A}"/>
                </a:ext>
              </a:extLst>
            </p:cNvPr>
            <p:cNvSpPr/>
            <p:nvPr/>
          </p:nvSpPr>
          <p:spPr bwMode="auto">
            <a:xfrm>
              <a:off x="3259005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4 w 39"/>
                <a:gd name="T3" fmla="*/ 0 h 26"/>
                <a:gd name="T4" fmla="*/ 2 w 39"/>
                <a:gd name="T5" fmla="*/ 12 h 26"/>
                <a:gd name="T6" fmla="*/ 16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2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5" name="îSlidé">
              <a:extLst>
                <a:ext uri="{FF2B5EF4-FFF2-40B4-BE49-F238E27FC236}">
                  <a16:creationId xmlns:a16="http://schemas.microsoft.com/office/drawing/2014/main" id="{DDE144EB-E541-44BF-A576-A3D3E75BF7A3}"/>
                </a:ext>
              </a:extLst>
            </p:cNvPr>
            <p:cNvSpPr/>
            <p:nvPr/>
          </p:nvSpPr>
          <p:spPr bwMode="auto">
            <a:xfrm>
              <a:off x="3416385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3 w 39"/>
                <a:gd name="T3" fmla="*/ 0 h 26"/>
                <a:gd name="T4" fmla="*/ 2 w 39"/>
                <a:gd name="T5" fmla="*/ 12 h 26"/>
                <a:gd name="T6" fmla="*/ 16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3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6" name="íş1îḋê">
              <a:extLst>
                <a:ext uri="{FF2B5EF4-FFF2-40B4-BE49-F238E27FC236}">
                  <a16:creationId xmlns:a16="http://schemas.microsoft.com/office/drawing/2014/main" id="{61310DA6-C572-4F00-B92B-83A545B1BB1C}"/>
                </a:ext>
              </a:extLst>
            </p:cNvPr>
            <p:cNvSpPr/>
            <p:nvPr/>
          </p:nvSpPr>
          <p:spPr bwMode="auto">
            <a:xfrm>
              <a:off x="3573766" y="3445885"/>
              <a:ext cx="137323" cy="94120"/>
            </a:xfrm>
            <a:custGeom>
              <a:avLst/>
              <a:gdLst>
                <a:gd name="T0" fmla="*/ 36 w 38"/>
                <a:gd name="T1" fmla="*/ 12 h 26"/>
                <a:gd name="T2" fmla="*/ 23 w 38"/>
                <a:gd name="T3" fmla="*/ 0 h 26"/>
                <a:gd name="T4" fmla="*/ 2 w 38"/>
                <a:gd name="T5" fmla="*/ 12 h 26"/>
                <a:gd name="T6" fmla="*/ 15 w 38"/>
                <a:gd name="T7" fmla="*/ 26 h 26"/>
                <a:gd name="T8" fmla="*/ 36 w 38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6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3" y="0"/>
                    <a:pt x="4" y="5"/>
                    <a:pt x="2" y="12"/>
                  </a:cubicBezTo>
                  <a:cubicBezTo>
                    <a:pt x="0" y="20"/>
                    <a:pt x="6" y="26"/>
                    <a:pt x="15" y="26"/>
                  </a:cubicBezTo>
                  <a:cubicBezTo>
                    <a:pt x="25" y="26"/>
                    <a:pt x="35" y="20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7" name="îṣ1iḑè">
              <a:extLst>
                <a:ext uri="{FF2B5EF4-FFF2-40B4-BE49-F238E27FC236}">
                  <a16:creationId xmlns:a16="http://schemas.microsoft.com/office/drawing/2014/main" id="{44B07833-13FA-43DF-85CF-9CC5F7C7441D}"/>
                </a:ext>
              </a:extLst>
            </p:cNvPr>
            <p:cNvSpPr/>
            <p:nvPr/>
          </p:nvSpPr>
          <p:spPr bwMode="auto">
            <a:xfrm>
              <a:off x="2587823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26 w 41"/>
                <a:gd name="T3" fmla="*/ 0 h 27"/>
                <a:gd name="T4" fmla="*/ 3 w 41"/>
                <a:gd name="T5" fmla="*/ 14 h 27"/>
                <a:gd name="T6" fmla="*/ 1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41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5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8" name="îṩḻídê">
              <a:extLst>
                <a:ext uri="{FF2B5EF4-FFF2-40B4-BE49-F238E27FC236}">
                  <a16:creationId xmlns:a16="http://schemas.microsoft.com/office/drawing/2014/main" id="{D779876F-1256-495B-A4C7-3A45B7FF016D}"/>
                </a:ext>
              </a:extLst>
            </p:cNvPr>
            <p:cNvSpPr/>
            <p:nvPr/>
          </p:nvSpPr>
          <p:spPr bwMode="auto">
            <a:xfrm>
              <a:off x="2748290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5 w 40"/>
                <a:gd name="T3" fmla="*/ 0 h 27"/>
                <a:gd name="T4" fmla="*/ 2 w 40"/>
                <a:gd name="T5" fmla="*/ 14 h 27"/>
                <a:gd name="T6" fmla="*/ 15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1"/>
                    <a:pt x="5" y="27"/>
                    <a:pt x="15" y="27"/>
                  </a:cubicBezTo>
                  <a:cubicBezTo>
                    <a:pt x="25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9" name="ïṣḻiḓé">
              <a:extLst>
                <a:ext uri="{FF2B5EF4-FFF2-40B4-BE49-F238E27FC236}">
                  <a16:creationId xmlns:a16="http://schemas.microsoft.com/office/drawing/2014/main" id="{25C13D36-EB03-4BD0-8AB8-CEB377362B46}"/>
                </a:ext>
              </a:extLst>
            </p:cNvPr>
            <p:cNvSpPr/>
            <p:nvPr/>
          </p:nvSpPr>
          <p:spPr bwMode="auto">
            <a:xfrm>
              <a:off x="2905670" y="3558520"/>
              <a:ext cx="145037" cy="98749"/>
            </a:xfrm>
            <a:custGeom>
              <a:avLst/>
              <a:gdLst>
                <a:gd name="T0" fmla="*/ 38 w 40"/>
                <a:gd name="T1" fmla="*/ 14 h 27"/>
                <a:gd name="T2" fmla="*/ 25 w 40"/>
                <a:gd name="T3" fmla="*/ 0 h 27"/>
                <a:gd name="T4" fmla="*/ 3 w 40"/>
                <a:gd name="T5" fmla="*/ 14 h 27"/>
                <a:gd name="T6" fmla="*/ 16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5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0" name="iśļïďe">
              <a:extLst>
                <a:ext uri="{FF2B5EF4-FFF2-40B4-BE49-F238E27FC236}">
                  <a16:creationId xmlns:a16="http://schemas.microsoft.com/office/drawing/2014/main" id="{38362527-2F33-4110-BD45-2A53A96CD240}"/>
                </a:ext>
              </a:extLst>
            </p:cNvPr>
            <p:cNvSpPr/>
            <p:nvPr/>
          </p:nvSpPr>
          <p:spPr bwMode="auto">
            <a:xfrm>
              <a:off x="3063051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25 w 41"/>
                <a:gd name="T3" fmla="*/ 0 h 27"/>
                <a:gd name="T4" fmla="*/ 3 w 41"/>
                <a:gd name="T5" fmla="*/ 14 h 27"/>
                <a:gd name="T6" fmla="*/ 1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1" name="iśļïḋé">
              <a:extLst>
                <a:ext uri="{FF2B5EF4-FFF2-40B4-BE49-F238E27FC236}">
                  <a16:creationId xmlns:a16="http://schemas.microsoft.com/office/drawing/2014/main" id="{5601BDBE-45B2-498E-8426-35D346F7C4CF}"/>
                </a:ext>
              </a:extLst>
            </p:cNvPr>
            <p:cNvSpPr/>
            <p:nvPr/>
          </p:nvSpPr>
          <p:spPr bwMode="auto">
            <a:xfrm>
              <a:off x="3223517" y="3558520"/>
              <a:ext cx="145037" cy="98749"/>
            </a:xfrm>
            <a:custGeom>
              <a:avLst/>
              <a:gdLst>
                <a:gd name="T0" fmla="*/ 37 w 40"/>
                <a:gd name="T1" fmla="*/ 14 h 27"/>
                <a:gd name="T2" fmla="*/ 24 w 40"/>
                <a:gd name="T3" fmla="*/ 0 h 27"/>
                <a:gd name="T4" fmla="*/ 2 w 40"/>
                <a:gd name="T5" fmla="*/ 14 h 27"/>
                <a:gd name="T6" fmla="*/ 15 w 40"/>
                <a:gd name="T7" fmla="*/ 27 h 27"/>
                <a:gd name="T8" fmla="*/ 37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7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1"/>
                    <a:pt x="6" y="27"/>
                    <a:pt x="15" y="27"/>
                  </a:cubicBezTo>
                  <a:cubicBezTo>
                    <a:pt x="25" y="27"/>
                    <a:pt x="35" y="21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2" name="îṩḻiḋé">
              <a:extLst>
                <a:ext uri="{FF2B5EF4-FFF2-40B4-BE49-F238E27FC236}">
                  <a16:creationId xmlns:a16="http://schemas.microsoft.com/office/drawing/2014/main" id="{3BAB63DF-D226-420D-AB22-EAAEF73CD5BD}"/>
                </a:ext>
              </a:extLst>
            </p:cNvPr>
            <p:cNvSpPr/>
            <p:nvPr/>
          </p:nvSpPr>
          <p:spPr bwMode="auto">
            <a:xfrm>
              <a:off x="3379355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4 w 40"/>
                <a:gd name="T3" fmla="*/ 0 h 27"/>
                <a:gd name="T4" fmla="*/ 2 w 40"/>
                <a:gd name="T5" fmla="*/ 14 h 27"/>
                <a:gd name="T6" fmla="*/ 16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2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3" name="i$líḑe">
              <a:extLst>
                <a:ext uri="{FF2B5EF4-FFF2-40B4-BE49-F238E27FC236}">
                  <a16:creationId xmlns:a16="http://schemas.microsoft.com/office/drawing/2014/main" id="{897F2C39-890F-4926-BB0A-6775F44401C4}"/>
                </a:ext>
              </a:extLst>
            </p:cNvPr>
            <p:cNvSpPr/>
            <p:nvPr/>
          </p:nvSpPr>
          <p:spPr bwMode="auto">
            <a:xfrm>
              <a:off x="3536735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4 w 40"/>
                <a:gd name="T3" fmla="*/ 0 h 27"/>
                <a:gd name="T4" fmla="*/ 3 w 40"/>
                <a:gd name="T5" fmla="*/ 14 h 27"/>
                <a:gd name="T6" fmla="*/ 17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3" y="14"/>
                  </a:cubicBezTo>
                  <a:cubicBezTo>
                    <a:pt x="0" y="21"/>
                    <a:pt x="7" y="27"/>
                    <a:pt x="17" y="27"/>
                  </a:cubicBezTo>
                  <a:cubicBezTo>
                    <a:pt x="26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4" name="îsḻíḋé">
              <a:extLst>
                <a:ext uri="{FF2B5EF4-FFF2-40B4-BE49-F238E27FC236}">
                  <a16:creationId xmlns:a16="http://schemas.microsoft.com/office/drawing/2014/main" id="{E6531728-A837-4152-B5A3-1CD15A1A1E37}"/>
                </a:ext>
              </a:extLst>
            </p:cNvPr>
            <p:cNvSpPr/>
            <p:nvPr/>
          </p:nvSpPr>
          <p:spPr bwMode="auto">
            <a:xfrm>
              <a:off x="3697202" y="3558520"/>
              <a:ext cx="141951" cy="98749"/>
            </a:xfrm>
            <a:custGeom>
              <a:avLst/>
              <a:gdLst>
                <a:gd name="T0" fmla="*/ 37 w 39"/>
                <a:gd name="T1" fmla="*/ 14 h 27"/>
                <a:gd name="T2" fmla="*/ 23 w 39"/>
                <a:gd name="T3" fmla="*/ 0 h 27"/>
                <a:gd name="T4" fmla="*/ 2 w 39"/>
                <a:gd name="T5" fmla="*/ 14 h 27"/>
                <a:gd name="T6" fmla="*/ 16 w 39"/>
                <a:gd name="T7" fmla="*/ 27 h 27"/>
                <a:gd name="T8" fmla="*/ 37 w 39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7">
                  <a:moveTo>
                    <a:pt x="37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5" y="21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5" name="îṩlíḍê">
              <a:extLst>
                <a:ext uri="{FF2B5EF4-FFF2-40B4-BE49-F238E27FC236}">
                  <a16:creationId xmlns:a16="http://schemas.microsoft.com/office/drawing/2014/main" id="{9AE2F15F-C3C8-4991-9C4B-979B5C32725D}"/>
                </a:ext>
              </a:extLst>
            </p:cNvPr>
            <p:cNvSpPr/>
            <p:nvPr/>
          </p:nvSpPr>
          <p:spPr bwMode="auto">
            <a:xfrm>
              <a:off x="2539992" y="3678869"/>
              <a:ext cx="154295" cy="103378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5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5" y="28"/>
                    <a:pt x="15" y="28"/>
                  </a:cubicBezTo>
                  <a:cubicBezTo>
                    <a:pt x="25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6" name="íṧḷïde">
              <a:extLst>
                <a:ext uri="{FF2B5EF4-FFF2-40B4-BE49-F238E27FC236}">
                  <a16:creationId xmlns:a16="http://schemas.microsoft.com/office/drawing/2014/main" id="{5EA388AE-CEA3-4CF5-BA57-8C179EE30468}"/>
                </a:ext>
              </a:extLst>
            </p:cNvPr>
            <p:cNvSpPr/>
            <p:nvPr/>
          </p:nvSpPr>
          <p:spPr bwMode="auto">
            <a:xfrm>
              <a:off x="2700458" y="3678869"/>
              <a:ext cx="149666" cy="103378"/>
            </a:xfrm>
            <a:custGeom>
              <a:avLst/>
              <a:gdLst>
                <a:gd name="T0" fmla="*/ 39 w 41"/>
                <a:gd name="T1" fmla="*/ 14 h 28"/>
                <a:gd name="T2" fmla="*/ 26 w 41"/>
                <a:gd name="T3" fmla="*/ 0 h 28"/>
                <a:gd name="T4" fmla="*/ 3 w 41"/>
                <a:gd name="T5" fmla="*/ 14 h 28"/>
                <a:gd name="T6" fmla="*/ 15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8"/>
                    <a:pt x="15" y="28"/>
                  </a:cubicBezTo>
                  <a:cubicBezTo>
                    <a:pt x="25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7" name="îşlíḓé">
              <a:extLst>
                <a:ext uri="{FF2B5EF4-FFF2-40B4-BE49-F238E27FC236}">
                  <a16:creationId xmlns:a16="http://schemas.microsoft.com/office/drawing/2014/main" id="{1AB16EEF-55A5-45FE-B21B-D6CE1340DEDA}"/>
                </a:ext>
              </a:extLst>
            </p:cNvPr>
            <p:cNvSpPr/>
            <p:nvPr/>
          </p:nvSpPr>
          <p:spPr bwMode="auto">
            <a:xfrm>
              <a:off x="2860925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6" y="0"/>
                    <a:pt x="5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8" name="ïṧľíďé">
              <a:extLst>
                <a:ext uri="{FF2B5EF4-FFF2-40B4-BE49-F238E27FC236}">
                  <a16:creationId xmlns:a16="http://schemas.microsoft.com/office/drawing/2014/main" id="{C8158D1D-B30F-4400-9C54-A03B00B178F9}"/>
                </a:ext>
              </a:extLst>
            </p:cNvPr>
            <p:cNvSpPr/>
            <p:nvPr/>
          </p:nvSpPr>
          <p:spPr bwMode="auto">
            <a:xfrm>
              <a:off x="3022934" y="3678869"/>
              <a:ext cx="148123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9" name="îṧḷíḋê">
              <a:extLst>
                <a:ext uri="{FF2B5EF4-FFF2-40B4-BE49-F238E27FC236}">
                  <a16:creationId xmlns:a16="http://schemas.microsoft.com/office/drawing/2014/main" id="{A1DC78FE-24D0-4B63-8CB7-19E915F74187}"/>
                </a:ext>
              </a:extLst>
            </p:cNvPr>
            <p:cNvSpPr/>
            <p:nvPr/>
          </p:nvSpPr>
          <p:spPr bwMode="auto">
            <a:xfrm>
              <a:off x="3183401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4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0" name="iṣ1iḋê">
              <a:extLst>
                <a:ext uri="{FF2B5EF4-FFF2-40B4-BE49-F238E27FC236}">
                  <a16:creationId xmlns:a16="http://schemas.microsoft.com/office/drawing/2014/main" id="{F1747F61-0803-4431-B36A-A8DC570A7491}"/>
                </a:ext>
              </a:extLst>
            </p:cNvPr>
            <p:cNvSpPr/>
            <p:nvPr/>
          </p:nvSpPr>
          <p:spPr bwMode="auto">
            <a:xfrm>
              <a:off x="3343867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1" name="í$ḻïḓè">
              <a:extLst>
                <a:ext uri="{FF2B5EF4-FFF2-40B4-BE49-F238E27FC236}">
                  <a16:creationId xmlns:a16="http://schemas.microsoft.com/office/drawing/2014/main" id="{38397B83-DE7C-4E34-8428-3082605A9F5E}"/>
                </a:ext>
              </a:extLst>
            </p:cNvPr>
            <p:cNvSpPr/>
            <p:nvPr/>
          </p:nvSpPr>
          <p:spPr bwMode="auto">
            <a:xfrm>
              <a:off x="3504334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2" name="ïs1ïḓé">
              <a:extLst>
                <a:ext uri="{FF2B5EF4-FFF2-40B4-BE49-F238E27FC236}">
                  <a16:creationId xmlns:a16="http://schemas.microsoft.com/office/drawing/2014/main" id="{56AB8C60-8433-4D69-953E-E9B8A890CE07}"/>
                </a:ext>
              </a:extLst>
            </p:cNvPr>
            <p:cNvSpPr/>
            <p:nvPr/>
          </p:nvSpPr>
          <p:spPr bwMode="auto">
            <a:xfrm>
              <a:off x="3664800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3" name="ïslíḍè">
              <a:extLst>
                <a:ext uri="{FF2B5EF4-FFF2-40B4-BE49-F238E27FC236}">
                  <a16:creationId xmlns:a16="http://schemas.microsoft.com/office/drawing/2014/main" id="{761214F0-BAC3-4212-8CB8-77931B7B4E78}"/>
                </a:ext>
              </a:extLst>
            </p:cNvPr>
            <p:cNvSpPr/>
            <p:nvPr/>
          </p:nvSpPr>
          <p:spPr bwMode="auto">
            <a:xfrm>
              <a:off x="3825267" y="3678869"/>
              <a:ext cx="141951" cy="103378"/>
            </a:xfrm>
            <a:custGeom>
              <a:avLst/>
              <a:gdLst>
                <a:gd name="T0" fmla="*/ 38 w 39"/>
                <a:gd name="T1" fmla="*/ 14 h 28"/>
                <a:gd name="T2" fmla="*/ 23 w 39"/>
                <a:gd name="T3" fmla="*/ 0 h 28"/>
                <a:gd name="T4" fmla="*/ 2 w 39"/>
                <a:gd name="T5" fmla="*/ 14 h 28"/>
                <a:gd name="T6" fmla="*/ 17 w 39"/>
                <a:gd name="T7" fmla="*/ 28 h 28"/>
                <a:gd name="T8" fmla="*/ 38 w 3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8">
                  <a:moveTo>
                    <a:pt x="38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4" name="iṡļîďé">
              <a:extLst>
                <a:ext uri="{FF2B5EF4-FFF2-40B4-BE49-F238E27FC236}">
                  <a16:creationId xmlns:a16="http://schemas.microsoft.com/office/drawing/2014/main" id="{90ADC86D-95AD-4E1D-B6CC-B81680EABE17}"/>
                </a:ext>
              </a:extLst>
            </p:cNvPr>
            <p:cNvSpPr/>
            <p:nvPr/>
          </p:nvSpPr>
          <p:spPr bwMode="auto">
            <a:xfrm>
              <a:off x="3985733" y="3678869"/>
              <a:ext cx="141951" cy="103378"/>
            </a:xfrm>
            <a:custGeom>
              <a:avLst/>
              <a:gdLst>
                <a:gd name="T0" fmla="*/ 38 w 39"/>
                <a:gd name="T1" fmla="*/ 14 h 28"/>
                <a:gd name="T2" fmla="*/ 23 w 39"/>
                <a:gd name="T3" fmla="*/ 0 h 28"/>
                <a:gd name="T4" fmla="*/ 2 w 39"/>
                <a:gd name="T5" fmla="*/ 14 h 28"/>
                <a:gd name="T6" fmla="*/ 17 w 39"/>
                <a:gd name="T7" fmla="*/ 28 h 28"/>
                <a:gd name="T8" fmla="*/ 38 w 3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8">
                  <a:moveTo>
                    <a:pt x="38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5" name="ísļïḓè">
              <a:extLst>
                <a:ext uri="{FF2B5EF4-FFF2-40B4-BE49-F238E27FC236}">
                  <a16:creationId xmlns:a16="http://schemas.microsoft.com/office/drawing/2014/main" id="{93E5AD63-CADB-4B91-BFCB-41D3F29CEFAA}"/>
                </a:ext>
              </a:extLst>
            </p:cNvPr>
            <p:cNvSpPr/>
            <p:nvPr/>
          </p:nvSpPr>
          <p:spPr bwMode="auto">
            <a:xfrm>
              <a:off x="2654170" y="3803849"/>
              <a:ext cx="152752" cy="101834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5" y="28"/>
                    <a:pt x="16" y="28"/>
                  </a:cubicBezTo>
                  <a:cubicBezTo>
                    <a:pt x="26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6" name="iṣḷîḋé">
              <a:extLst>
                <a:ext uri="{FF2B5EF4-FFF2-40B4-BE49-F238E27FC236}">
                  <a16:creationId xmlns:a16="http://schemas.microsoft.com/office/drawing/2014/main" id="{D1E89875-8E2F-471B-B399-593241017B8A}"/>
                </a:ext>
              </a:extLst>
            </p:cNvPr>
            <p:cNvSpPr/>
            <p:nvPr/>
          </p:nvSpPr>
          <p:spPr bwMode="auto">
            <a:xfrm>
              <a:off x="2814636" y="3803849"/>
              <a:ext cx="152752" cy="101834"/>
            </a:xfrm>
            <a:custGeom>
              <a:avLst/>
              <a:gdLst>
                <a:gd name="T0" fmla="*/ 40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40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7" y="0"/>
                    <a:pt x="6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7" y="28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7" name="îS1ïḋé">
              <a:extLst>
                <a:ext uri="{FF2B5EF4-FFF2-40B4-BE49-F238E27FC236}">
                  <a16:creationId xmlns:a16="http://schemas.microsoft.com/office/drawing/2014/main" id="{E18ECBF3-8497-4D14-92F9-130688EC01F1}"/>
                </a:ext>
              </a:extLst>
            </p:cNvPr>
            <p:cNvSpPr/>
            <p:nvPr/>
          </p:nvSpPr>
          <p:spPr bwMode="auto">
            <a:xfrm>
              <a:off x="2978188" y="3803849"/>
              <a:ext cx="152752" cy="101834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8" name="íṥ1iḍe">
              <a:extLst>
                <a:ext uri="{FF2B5EF4-FFF2-40B4-BE49-F238E27FC236}">
                  <a16:creationId xmlns:a16="http://schemas.microsoft.com/office/drawing/2014/main" id="{879AD5BF-4405-41FF-A734-1DA11911AAEB}"/>
                </a:ext>
              </a:extLst>
            </p:cNvPr>
            <p:cNvSpPr/>
            <p:nvPr/>
          </p:nvSpPr>
          <p:spPr bwMode="auto">
            <a:xfrm>
              <a:off x="3143284" y="3803849"/>
              <a:ext cx="149666" cy="101834"/>
            </a:xfrm>
            <a:custGeom>
              <a:avLst/>
              <a:gdLst>
                <a:gd name="T0" fmla="*/ 39 w 41"/>
                <a:gd name="T1" fmla="*/ 14 h 28"/>
                <a:gd name="T2" fmla="*/ 25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9" name="íṧlîdê">
              <a:extLst>
                <a:ext uri="{FF2B5EF4-FFF2-40B4-BE49-F238E27FC236}">
                  <a16:creationId xmlns:a16="http://schemas.microsoft.com/office/drawing/2014/main" id="{1BC5801E-5706-4638-9CDD-B717AE0C6B08}"/>
                </a:ext>
              </a:extLst>
            </p:cNvPr>
            <p:cNvSpPr/>
            <p:nvPr/>
          </p:nvSpPr>
          <p:spPr bwMode="auto">
            <a:xfrm>
              <a:off x="3306837" y="3803849"/>
              <a:ext cx="149666" cy="101834"/>
            </a:xfrm>
            <a:custGeom>
              <a:avLst/>
              <a:gdLst>
                <a:gd name="T0" fmla="*/ 38 w 41"/>
                <a:gd name="T1" fmla="*/ 14 h 28"/>
                <a:gd name="T2" fmla="*/ 24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0" name="iṣlíḑé">
              <a:extLst>
                <a:ext uri="{FF2B5EF4-FFF2-40B4-BE49-F238E27FC236}">
                  <a16:creationId xmlns:a16="http://schemas.microsoft.com/office/drawing/2014/main" id="{D97571A7-8C9A-495A-8E8D-4C0968F1952F}"/>
                </a:ext>
              </a:extLst>
            </p:cNvPr>
            <p:cNvSpPr/>
            <p:nvPr/>
          </p:nvSpPr>
          <p:spPr bwMode="auto">
            <a:xfrm>
              <a:off x="3467303" y="3803849"/>
              <a:ext cx="149666" cy="101834"/>
            </a:xfrm>
            <a:custGeom>
              <a:avLst/>
              <a:gdLst>
                <a:gd name="T0" fmla="*/ 39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7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1" name="ïSľîḓe">
              <a:extLst>
                <a:ext uri="{FF2B5EF4-FFF2-40B4-BE49-F238E27FC236}">
                  <a16:creationId xmlns:a16="http://schemas.microsoft.com/office/drawing/2014/main" id="{874B32E4-7946-4D45-8DC0-27FF18255A3C}"/>
                </a:ext>
              </a:extLst>
            </p:cNvPr>
            <p:cNvSpPr/>
            <p:nvPr/>
          </p:nvSpPr>
          <p:spPr bwMode="auto">
            <a:xfrm>
              <a:off x="3630855" y="3803849"/>
              <a:ext cx="146580" cy="101834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2" name="ïṩḻîḓè">
              <a:extLst>
                <a:ext uri="{FF2B5EF4-FFF2-40B4-BE49-F238E27FC236}">
                  <a16:creationId xmlns:a16="http://schemas.microsoft.com/office/drawing/2014/main" id="{26F851A4-3198-4D02-A2A9-BCED4BD10940}"/>
                </a:ext>
              </a:extLst>
            </p:cNvPr>
            <p:cNvSpPr/>
            <p:nvPr/>
          </p:nvSpPr>
          <p:spPr bwMode="auto">
            <a:xfrm>
              <a:off x="3795950" y="3803849"/>
              <a:ext cx="145037" cy="101834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3" name="ís1ïḋè">
              <a:extLst>
                <a:ext uri="{FF2B5EF4-FFF2-40B4-BE49-F238E27FC236}">
                  <a16:creationId xmlns:a16="http://schemas.microsoft.com/office/drawing/2014/main" id="{9B6423AE-49FA-4DB4-83ED-72E3122105CA}"/>
                </a:ext>
              </a:extLst>
            </p:cNvPr>
            <p:cNvSpPr/>
            <p:nvPr/>
          </p:nvSpPr>
          <p:spPr bwMode="auto">
            <a:xfrm>
              <a:off x="3956417" y="3803849"/>
              <a:ext cx="146580" cy="101834"/>
            </a:xfrm>
            <a:custGeom>
              <a:avLst/>
              <a:gdLst>
                <a:gd name="T0" fmla="*/ 39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9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9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4" name="î$ḷíḍê">
              <a:extLst>
                <a:ext uri="{FF2B5EF4-FFF2-40B4-BE49-F238E27FC236}">
                  <a16:creationId xmlns:a16="http://schemas.microsoft.com/office/drawing/2014/main" id="{2D0E6A44-30BD-49E8-83FE-BE657FA75367}"/>
                </a:ext>
              </a:extLst>
            </p:cNvPr>
            <p:cNvSpPr/>
            <p:nvPr/>
          </p:nvSpPr>
          <p:spPr bwMode="auto">
            <a:xfrm>
              <a:off x="4119969" y="3803849"/>
              <a:ext cx="146580" cy="101834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3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5" name="iṥļïḋé">
              <a:extLst>
                <a:ext uri="{FF2B5EF4-FFF2-40B4-BE49-F238E27FC236}">
                  <a16:creationId xmlns:a16="http://schemas.microsoft.com/office/drawing/2014/main" id="{C33E377A-5A52-4925-8E42-746E4D362D28}"/>
                </a:ext>
              </a:extLst>
            </p:cNvPr>
            <p:cNvSpPr/>
            <p:nvPr/>
          </p:nvSpPr>
          <p:spPr bwMode="auto">
            <a:xfrm>
              <a:off x="2603253" y="3931913"/>
              <a:ext cx="155838" cy="104920"/>
            </a:xfrm>
            <a:custGeom>
              <a:avLst/>
              <a:gdLst>
                <a:gd name="T0" fmla="*/ 40 w 43"/>
                <a:gd name="T1" fmla="*/ 14 h 29"/>
                <a:gd name="T2" fmla="*/ 27 w 43"/>
                <a:gd name="T3" fmla="*/ 0 h 29"/>
                <a:gd name="T4" fmla="*/ 3 w 43"/>
                <a:gd name="T5" fmla="*/ 14 h 29"/>
                <a:gd name="T6" fmla="*/ 16 w 43"/>
                <a:gd name="T7" fmla="*/ 29 h 29"/>
                <a:gd name="T8" fmla="*/ 40 w 43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">
                  <a:moveTo>
                    <a:pt x="40" y="14"/>
                  </a:moveTo>
                  <a:cubicBezTo>
                    <a:pt x="43" y="6"/>
                    <a:pt x="37" y="0"/>
                    <a:pt x="27" y="0"/>
                  </a:cubicBezTo>
                  <a:cubicBezTo>
                    <a:pt x="17" y="0"/>
                    <a:pt x="6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6" name="íśľîde">
              <a:extLst>
                <a:ext uri="{FF2B5EF4-FFF2-40B4-BE49-F238E27FC236}">
                  <a16:creationId xmlns:a16="http://schemas.microsoft.com/office/drawing/2014/main" id="{0E0CFD89-6175-453B-B2E9-9D8D9D597461}"/>
                </a:ext>
              </a:extLst>
            </p:cNvPr>
            <p:cNvSpPr/>
            <p:nvPr/>
          </p:nvSpPr>
          <p:spPr bwMode="auto">
            <a:xfrm>
              <a:off x="2769891" y="3931913"/>
              <a:ext cx="154295" cy="104920"/>
            </a:xfrm>
            <a:custGeom>
              <a:avLst/>
              <a:gdLst>
                <a:gd name="T0" fmla="*/ 39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6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5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6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7" name="íŝḷidê">
              <a:extLst>
                <a:ext uri="{FF2B5EF4-FFF2-40B4-BE49-F238E27FC236}">
                  <a16:creationId xmlns:a16="http://schemas.microsoft.com/office/drawing/2014/main" id="{AD96845A-19E8-4EE2-9FD5-536EA9497627}"/>
                </a:ext>
              </a:extLst>
            </p:cNvPr>
            <p:cNvSpPr/>
            <p:nvPr/>
          </p:nvSpPr>
          <p:spPr bwMode="auto">
            <a:xfrm>
              <a:off x="2934986" y="3931913"/>
              <a:ext cx="152752" cy="104920"/>
            </a:xfrm>
            <a:custGeom>
              <a:avLst/>
              <a:gdLst>
                <a:gd name="T0" fmla="*/ 40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6 w 42"/>
                <a:gd name="T7" fmla="*/ 29 h 29"/>
                <a:gd name="T8" fmla="*/ 40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8" name="iṧ1ïḋê">
              <a:extLst>
                <a:ext uri="{FF2B5EF4-FFF2-40B4-BE49-F238E27FC236}">
                  <a16:creationId xmlns:a16="http://schemas.microsoft.com/office/drawing/2014/main" id="{D2E95282-AF07-4E29-A4F2-5DD5AE0CF31D}"/>
                </a:ext>
              </a:extLst>
            </p:cNvPr>
            <p:cNvSpPr/>
            <p:nvPr/>
          </p:nvSpPr>
          <p:spPr bwMode="auto">
            <a:xfrm>
              <a:off x="3098538" y="3931913"/>
              <a:ext cx="154295" cy="104920"/>
            </a:xfrm>
            <a:custGeom>
              <a:avLst/>
              <a:gdLst>
                <a:gd name="T0" fmla="*/ 40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7 w 42"/>
                <a:gd name="T7" fmla="*/ 29 h 29"/>
                <a:gd name="T8" fmla="*/ 40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9" name="ïṡlïḓè">
              <a:extLst>
                <a:ext uri="{FF2B5EF4-FFF2-40B4-BE49-F238E27FC236}">
                  <a16:creationId xmlns:a16="http://schemas.microsoft.com/office/drawing/2014/main" id="{7CE92F0A-9206-4F06-AA40-6C240E55CCAE}"/>
                </a:ext>
              </a:extLst>
            </p:cNvPr>
            <p:cNvSpPr/>
            <p:nvPr/>
          </p:nvSpPr>
          <p:spPr bwMode="auto">
            <a:xfrm>
              <a:off x="3266720" y="3931913"/>
              <a:ext cx="152752" cy="104920"/>
            </a:xfrm>
            <a:custGeom>
              <a:avLst/>
              <a:gdLst>
                <a:gd name="T0" fmla="*/ 39 w 42"/>
                <a:gd name="T1" fmla="*/ 14 h 29"/>
                <a:gd name="T2" fmla="*/ 25 w 42"/>
                <a:gd name="T3" fmla="*/ 0 h 29"/>
                <a:gd name="T4" fmla="*/ 2 w 42"/>
                <a:gd name="T5" fmla="*/ 14 h 29"/>
                <a:gd name="T6" fmla="*/ 16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0" name="ïṥļíḍè">
              <a:extLst>
                <a:ext uri="{FF2B5EF4-FFF2-40B4-BE49-F238E27FC236}">
                  <a16:creationId xmlns:a16="http://schemas.microsoft.com/office/drawing/2014/main" id="{5156D43A-671F-41F9-B91C-FB3FFC4D8176}"/>
                </a:ext>
              </a:extLst>
            </p:cNvPr>
            <p:cNvSpPr/>
            <p:nvPr/>
          </p:nvSpPr>
          <p:spPr bwMode="auto">
            <a:xfrm>
              <a:off x="3430272" y="3931913"/>
              <a:ext cx="154295" cy="104920"/>
            </a:xfrm>
            <a:custGeom>
              <a:avLst/>
              <a:gdLst>
                <a:gd name="T0" fmla="*/ 39 w 42"/>
                <a:gd name="T1" fmla="*/ 14 h 29"/>
                <a:gd name="T2" fmla="*/ 25 w 42"/>
                <a:gd name="T3" fmla="*/ 0 h 29"/>
                <a:gd name="T4" fmla="*/ 3 w 42"/>
                <a:gd name="T5" fmla="*/ 14 h 29"/>
                <a:gd name="T6" fmla="*/ 17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1" name="íS1íḋè">
              <a:extLst>
                <a:ext uri="{FF2B5EF4-FFF2-40B4-BE49-F238E27FC236}">
                  <a16:creationId xmlns:a16="http://schemas.microsoft.com/office/drawing/2014/main" id="{0D5AA658-1234-483F-B05D-11A41263EFB2}"/>
                </a:ext>
              </a:extLst>
            </p:cNvPr>
            <p:cNvSpPr/>
            <p:nvPr/>
          </p:nvSpPr>
          <p:spPr bwMode="auto">
            <a:xfrm>
              <a:off x="3598453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6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2" name="ïṧ1ïḍé">
              <a:extLst>
                <a:ext uri="{FF2B5EF4-FFF2-40B4-BE49-F238E27FC236}">
                  <a16:creationId xmlns:a16="http://schemas.microsoft.com/office/drawing/2014/main" id="{5260578F-9FA8-4DE9-8FFE-0C523701FF19}"/>
                </a:ext>
              </a:extLst>
            </p:cNvPr>
            <p:cNvSpPr/>
            <p:nvPr/>
          </p:nvSpPr>
          <p:spPr bwMode="auto">
            <a:xfrm>
              <a:off x="3763549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7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3" name="îṩlïdé">
              <a:extLst>
                <a:ext uri="{FF2B5EF4-FFF2-40B4-BE49-F238E27FC236}">
                  <a16:creationId xmlns:a16="http://schemas.microsoft.com/office/drawing/2014/main" id="{49674A70-681E-46C2-AD3B-DA460FEEB323}"/>
                </a:ext>
              </a:extLst>
            </p:cNvPr>
            <p:cNvSpPr/>
            <p:nvPr/>
          </p:nvSpPr>
          <p:spPr bwMode="auto">
            <a:xfrm>
              <a:off x="3927101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8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7" y="29"/>
                    <a:pt x="18" y="29"/>
                  </a:cubicBezTo>
                  <a:cubicBezTo>
                    <a:pt x="28" y="29"/>
                    <a:pt x="38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4" name="ïṡlîdê">
              <a:extLst>
                <a:ext uri="{FF2B5EF4-FFF2-40B4-BE49-F238E27FC236}">
                  <a16:creationId xmlns:a16="http://schemas.microsoft.com/office/drawing/2014/main" id="{2DA437AA-AFE3-420E-AFC8-8C65DB2D8129}"/>
                </a:ext>
              </a:extLst>
            </p:cNvPr>
            <p:cNvSpPr/>
            <p:nvPr/>
          </p:nvSpPr>
          <p:spPr bwMode="auto">
            <a:xfrm>
              <a:off x="2718973" y="4063064"/>
              <a:ext cx="160466" cy="109550"/>
            </a:xfrm>
            <a:custGeom>
              <a:avLst/>
              <a:gdLst>
                <a:gd name="T0" fmla="*/ 41 w 44"/>
                <a:gd name="T1" fmla="*/ 15 h 30"/>
                <a:gd name="T2" fmla="*/ 28 w 44"/>
                <a:gd name="T3" fmla="*/ 0 h 30"/>
                <a:gd name="T4" fmla="*/ 3 w 44"/>
                <a:gd name="T5" fmla="*/ 15 h 30"/>
                <a:gd name="T6" fmla="*/ 17 w 44"/>
                <a:gd name="T7" fmla="*/ 30 h 30"/>
                <a:gd name="T8" fmla="*/ 41 w 44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0">
                  <a:moveTo>
                    <a:pt x="41" y="15"/>
                  </a:moveTo>
                  <a:cubicBezTo>
                    <a:pt x="44" y="6"/>
                    <a:pt x="38" y="0"/>
                    <a:pt x="28" y="0"/>
                  </a:cubicBezTo>
                  <a:cubicBezTo>
                    <a:pt x="17" y="0"/>
                    <a:pt x="6" y="6"/>
                    <a:pt x="3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8" y="23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5" name="íṡļïḓè">
              <a:extLst>
                <a:ext uri="{FF2B5EF4-FFF2-40B4-BE49-F238E27FC236}">
                  <a16:creationId xmlns:a16="http://schemas.microsoft.com/office/drawing/2014/main" id="{07349C40-45A6-482F-A0E9-9F856437C3C0}"/>
                </a:ext>
              </a:extLst>
            </p:cNvPr>
            <p:cNvSpPr/>
            <p:nvPr/>
          </p:nvSpPr>
          <p:spPr bwMode="auto">
            <a:xfrm>
              <a:off x="2890241" y="4063064"/>
              <a:ext cx="157381" cy="109550"/>
            </a:xfrm>
            <a:custGeom>
              <a:avLst/>
              <a:gdLst>
                <a:gd name="T0" fmla="*/ 40 w 43"/>
                <a:gd name="T1" fmla="*/ 15 h 30"/>
                <a:gd name="T2" fmla="*/ 26 w 43"/>
                <a:gd name="T3" fmla="*/ 0 h 30"/>
                <a:gd name="T4" fmla="*/ 2 w 43"/>
                <a:gd name="T5" fmla="*/ 15 h 30"/>
                <a:gd name="T6" fmla="*/ 16 w 43"/>
                <a:gd name="T7" fmla="*/ 30 h 30"/>
                <a:gd name="T8" fmla="*/ 40 w 43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0">
                  <a:moveTo>
                    <a:pt x="40" y="15"/>
                  </a:moveTo>
                  <a:cubicBezTo>
                    <a:pt x="43" y="6"/>
                    <a:pt x="36" y="0"/>
                    <a:pt x="26" y="0"/>
                  </a:cubicBezTo>
                  <a:cubicBezTo>
                    <a:pt x="16" y="0"/>
                    <a:pt x="5" y="6"/>
                    <a:pt x="2" y="15"/>
                  </a:cubicBezTo>
                  <a:cubicBezTo>
                    <a:pt x="0" y="23"/>
                    <a:pt x="6" y="30"/>
                    <a:pt x="16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6" name="îšlíḑê">
              <a:extLst>
                <a:ext uri="{FF2B5EF4-FFF2-40B4-BE49-F238E27FC236}">
                  <a16:creationId xmlns:a16="http://schemas.microsoft.com/office/drawing/2014/main" id="{D7A54056-B86C-46FE-AB19-BBE96C85FD69}"/>
                </a:ext>
              </a:extLst>
            </p:cNvPr>
            <p:cNvSpPr/>
            <p:nvPr/>
          </p:nvSpPr>
          <p:spPr bwMode="auto">
            <a:xfrm>
              <a:off x="3058422" y="4063064"/>
              <a:ext cx="154295" cy="109550"/>
            </a:xfrm>
            <a:custGeom>
              <a:avLst/>
              <a:gdLst>
                <a:gd name="T0" fmla="*/ 40 w 42"/>
                <a:gd name="T1" fmla="*/ 15 h 30"/>
                <a:gd name="T2" fmla="*/ 26 w 42"/>
                <a:gd name="T3" fmla="*/ 0 h 30"/>
                <a:gd name="T4" fmla="*/ 2 w 42"/>
                <a:gd name="T5" fmla="*/ 15 h 30"/>
                <a:gd name="T6" fmla="*/ 16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5" y="6"/>
                    <a:pt x="2" y="15"/>
                  </a:cubicBezTo>
                  <a:cubicBezTo>
                    <a:pt x="0" y="23"/>
                    <a:pt x="6" y="30"/>
                    <a:pt x="16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7" name="ïšľîďè">
              <a:extLst>
                <a:ext uri="{FF2B5EF4-FFF2-40B4-BE49-F238E27FC236}">
                  <a16:creationId xmlns:a16="http://schemas.microsoft.com/office/drawing/2014/main" id="{49D8A2D3-1A89-4418-83A1-13AB0884C21F}"/>
                </a:ext>
              </a:extLst>
            </p:cNvPr>
            <p:cNvSpPr/>
            <p:nvPr/>
          </p:nvSpPr>
          <p:spPr bwMode="auto">
            <a:xfrm>
              <a:off x="3226603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6" y="0"/>
                    <a:pt x="25" y="0"/>
                  </a:cubicBezTo>
                  <a:cubicBezTo>
                    <a:pt x="15" y="0"/>
                    <a:pt x="5" y="6"/>
                    <a:pt x="2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8" name="ïSḻîḍè">
              <a:extLst>
                <a:ext uri="{FF2B5EF4-FFF2-40B4-BE49-F238E27FC236}">
                  <a16:creationId xmlns:a16="http://schemas.microsoft.com/office/drawing/2014/main" id="{03EDBD0A-40CD-484C-941F-667000F0C441}"/>
                </a:ext>
              </a:extLst>
            </p:cNvPr>
            <p:cNvSpPr/>
            <p:nvPr/>
          </p:nvSpPr>
          <p:spPr bwMode="auto">
            <a:xfrm>
              <a:off x="3394784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2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9" name="işľïḑe">
              <a:extLst>
                <a:ext uri="{FF2B5EF4-FFF2-40B4-BE49-F238E27FC236}">
                  <a16:creationId xmlns:a16="http://schemas.microsoft.com/office/drawing/2014/main" id="{8B06D384-BCB1-4A20-8288-E2AE98586165}"/>
                </a:ext>
              </a:extLst>
            </p:cNvPr>
            <p:cNvSpPr/>
            <p:nvPr/>
          </p:nvSpPr>
          <p:spPr bwMode="auto">
            <a:xfrm>
              <a:off x="3562966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4" y="6"/>
                    <a:pt x="2" y="15"/>
                  </a:cubicBezTo>
                  <a:cubicBezTo>
                    <a:pt x="0" y="23"/>
                    <a:pt x="7" y="30"/>
                    <a:pt x="17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0" name="iŝḻidê">
              <a:extLst>
                <a:ext uri="{FF2B5EF4-FFF2-40B4-BE49-F238E27FC236}">
                  <a16:creationId xmlns:a16="http://schemas.microsoft.com/office/drawing/2014/main" id="{49828AA1-66D4-49DE-94C9-BBB192B1BF3C}"/>
                </a:ext>
              </a:extLst>
            </p:cNvPr>
            <p:cNvSpPr/>
            <p:nvPr/>
          </p:nvSpPr>
          <p:spPr bwMode="auto">
            <a:xfrm>
              <a:off x="3729604" y="4063064"/>
              <a:ext cx="154295" cy="109550"/>
            </a:xfrm>
            <a:custGeom>
              <a:avLst/>
              <a:gdLst>
                <a:gd name="T0" fmla="*/ 40 w 42"/>
                <a:gd name="T1" fmla="*/ 15 h 30"/>
                <a:gd name="T2" fmla="*/ 24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4" y="0"/>
                  </a:cubicBezTo>
                  <a:cubicBezTo>
                    <a:pt x="14" y="0"/>
                    <a:pt x="4" y="6"/>
                    <a:pt x="2" y="15"/>
                  </a:cubicBezTo>
                  <a:cubicBezTo>
                    <a:pt x="0" y="23"/>
                    <a:pt x="7" y="30"/>
                    <a:pt x="17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1" name="ïS1îdé">
              <a:extLst>
                <a:ext uri="{FF2B5EF4-FFF2-40B4-BE49-F238E27FC236}">
                  <a16:creationId xmlns:a16="http://schemas.microsoft.com/office/drawing/2014/main" id="{83BE89D6-E1FC-4F62-BF17-AF0EA3C48BC9}"/>
                </a:ext>
              </a:extLst>
            </p:cNvPr>
            <p:cNvSpPr/>
            <p:nvPr/>
          </p:nvSpPr>
          <p:spPr bwMode="auto">
            <a:xfrm>
              <a:off x="3897785" y="4063064"/>
              <a:ext cx="149666" cy="109550"/>
            </a:xfrm>
            <a:custGeom>
              <a:avLst/>
              <a:gdLst>
                <a:gd name="T0" fmla="*/ 40 w 41"/>
                <a:gd name="T1" fmla="*/ 15 h 30"/>
                <a:gd name="T2" fmla="*/ 24 w 41"/>
                <a:gd name="T3" fmla="*/ 0 h 30"/>
                <a:gd name="T4" fmla="*/ 2 w 41"/>
                <a:gd name="T5" fmla="*/ 15 h 30"/>
                <a:gd name="T6" fmla="*/ 18 w 41"/>
                <a:gd name="T7" fmla="*/ 30 h 30"/>
                <a:gd name="T8" fmla="*/ 40 w 41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0">
                  <a:moveTo>
                    <a:pt x="40" y="15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5"/>
                  </a:cubicBezTo>
                  <a:cubicBezTo>
                    <a:pt x="0" y="23"/>
                    <a:pt x="7" y="30"/>
                    <a:pt x="18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2" name="íSḻide">
              <a:extLst>
                <a:ext uri="{FF2B5EF4-FFF2-40B4-BE49-F238E27FC236}">
                  <a16:creationId xmlns:a16="http://schemas.microsoft.com/office/drawing/2014/main" id="{CA6E2373-AB4C-4FCC-996D-DB167D3D4848}"/>
                </a:ext>
              </a:extLst>
            </p:cNvPr>
            <p:cNvSpPr/>
            <p:nvPr/>
          </p:nvSpPr>
          <p:spPr bwMode="auto">
            <a:xfrm>
              <a:off x="2843953" y="4198843"/>
              <a:ext cx="160466" cy="112636"/>
            </a:xfrm>
            <a:custGeom>
              <a:avLst/>
              <a:gdLst>
                <a:gd name="T0" fmla="*/ 41 w 44"/>
                <a:gd name="T1" fmla="*/ 15 h 31"/>
                <a:gd name="T2" fmla="*/ 27 w 44"/>
                <a:gd name="T3" fmla="*/ 0 h 31"/>
                <a:gd name="T4" fmla="*/ 3 w 44"/>
                <a:gd name="T5" fmla="*/ 15 h 31"/>
                <a:gd name="T6" fmla="*/ 16 w 44"/>
                <a:gd name="T7" fmla="*/ 31 h 31"/>
                <a:gd name="T8" fmla="*/ 41 w 44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1">
                  <a:moveTo>
                    <a:pt x="41" y="15"/>
                  </a:moveTo>
                  <a:cubicBezTo>
                    <a:pt x="44" y="7"/>
                    <a:pt x="37" y="0"/>
                    <a:pt x="27" y="0"/>
                  </a:cubicBezTo>
                  <a:cubicBezTo>
                    <a:pt x="16" y="0"/>
                    <a:pt x="6" y="7"/>
                    <a:pt x="3" y="15"/>
                  </a:cubicBezTo>
                  <a:cubicBezTo>
                    <a:pt x="0" y="24"/>
                    <a:pt x="6" y="31"/>
                    <a:pt x="16" y="31"/>
                  </a:cubicBezTo>
                  <a:cubicBezTo>
                    <a:pt x="27" y="31"/>
                    <a:pt x="38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3" name="iśľïďe">
              <a:extLst>
                <a:ext uri="{FF2B5EF4-FFF2-40B4-BE49-F238E27FC236}">
                  <a16:creationId xmlns:a16="http://schemas.microsoft.com/office/drawing/2014/main" id="{739415E4-403B-41A4-B521-E9BC22FBD1D8}"/>
                </a:ext>
              </a:extLst>
            </p:cNvPr>
            <p:cNvSpPr/>
            <p:nvPr/>
          </p:nvSpPr>
          <p:spPr bwMode="auto">
            <a:xfrm>
              <a:off x="3015219" y="4198843"/>
              <a:ext cx="155838" cy="112636"/>
            </a:xfrm>
            <a:custGeom>
              <a:avLst/>
              <a:gdLst>
                <a:gd name="T0" fmla="*/ 40 w 43"/>
                <a:gd name="T1" fmla="*/ 15 h 31"/>
                <a:gd name="T2" fmla="*/ 26 w 43"/>
                <a:gd name="T3" fmla="*/ 0 h 31"/>
                <a:gd name="T4" fmla="*/ 2 w 43"/>
                <a:gd name="T5" fmla="*/ 15 h 31"/>
                <a:gd name="T6" fmla="*/ 16 w 43"/>
                <a:gd name="T7" fmla="*/ 31 h 31"/>
                <a:gd name="T8" fmla="*/ 40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0" y="15"/>
                  </a:moveTo>
                  <a:cubicBezTo>
                    <a:pt x="43" y="7"/>
                    <a:pt x="37" y="0"/>
                    <a:pt x="26" y="0"/>
                  </a:cubicBezTo>
                  <a:cubicBezTo>
                    <a:pt x="16" y="0"/>
                    <a:pt x="5" y="7"/>
                    <a:pt x="2" y="15"/>
                  </a:cubicBezTo>
                  <a:cubicBezTo>
                    <a:pt x="0" y="24"/>
                    <a:pt x="6" y="31"/>
                    <a:pt x="16" y="31"/>
                  </a:cubicBezTo>
                  <a:cubicBezTo>
                    <a:pt x="27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4" name="iŝḻiḓê">
              <a:extLst>
                <a:ext uri="{FF2B5EF4-FFF2-40B4-BE49-F238E27FC236}">
                  <a16:creationId xmlns:a16="http://schemas.microsoft.com/office/drawing/2014/main" id="{30914501-24F9-47DD-AC71-97FC7E18FDC5}"/>
                </a:ext>
              </a:extLst>
            </p:cNvPr>
            <p:cNvSpPr/>
            <p:nvPr/>
          </p:nvSpPr>
          <p:spPr bwMode="auto">
            <a:xfrm>
              <a:off x="3183401" y="4198843"/>
              <a:ext cx="160466" cy="112636"/>
            </a:xfrm>
            <a:custGeom>
              <a:avLst/>
              <a:gdLst>
                <a:gd name="T0" fmla="*/ 41 w 44"/>
                <a:gd name="T1" fmla="*/ 15 h 31"/>
                <a:gd name="T2" fmla="*/ 27 w 44"/>
                <a:gd name="T3" fmla="*/ 0 h 31"/>
                <a:gd name="T4" fmla="*/ 3 w 44"/>
                <a:gd name="T5" fmla="*/ 15 h 31"/>
                <a:gd name="T6" fmla="*/ 17 w 44"/>
                <a:gd name="T7" fmla="*/ 31 h 31"/>
                <a:gd name="T8" fmla="*/ 41 w 44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1">
                  <a:moveTo>
                    <a:pt x="41" y="15"/>
                  </a:moveTo>
                  <a:cubicBezTo>
                    <a:pt x="44" y="7"/>
                    <a:pt x="37" y="0"/>
                    <a:pt x="27" y="0"/>
                  </a:cubicBezTo>
                  <a:cubicBezTo>
                    <a:pt x="16" y="0"/>
                    <a:pt x="6" y="7"/>
                    <a:pt x="3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9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5" name="iṧliḍê">
              <a:extLst>
                <a:ext uri="{FF2B5EF4-FFF2-40B4-BE49-F238E27FC236}">
                  <a16:creationId xmlns:a16="http://schemas.microsoft.com/office/drawing/2014/main" id="{2427B89E-CEAE-465F-B6A1-B7ED86FDD363}"/>
                </a:ext>
              </a:extLst>
            </p:cNvPr>
            <p:cNvSpPr/>
            <p:nvPr/>
          </p:nvSpPr>
          <p:spPr bwMode="auto">
            <a:xfrm>
              <a:off x="3354667" y="4198843"/>
              <a:ext cx="155838" cy="112636"/>
            </a:xfrm>
            <a:custGeom>
              <a:avLst/>
              <a:gdLst>
                <a:gd name="T0" fmla="*/ 41 w 43"/>
                <a:gd name="T1" fmla="*/ 15 h 31"/>
                <a:gd name="T2" fmla="*/ 26 w 43"/>
                <a:gd name="T3" fmla="*/ 0 h 31"/>
                <a:gd name="T4" fmla="*/ 3 w 43"/>
                <a:gd name="T5" fmla="*/ 15 h 31"/>
                <a:gd name="T6" fmla="*/ 17 w 43"/>
                <a:gd name="T7" fmla="*/ 31 h 31"/>
                <a:gd name="T8" fmla="*/ 41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1" y="15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6" y="0"/>
                    <a:pt x="5" y="7"/>
                    <a:pt x="3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6" name="ïṥḷîḓê">
              <a:extLst>
                <a:ext uri="{FF2B5EF4-FFF2-40B4-BE49-F238E27FC236}">
                  <a16:creationId xmlns:a16="http://schemas.microsoft.com/office/drawing/2014/main" id="{AC674DCA-D7E3-4259-941A-885E050F3B86}"/>
                </a:ext>
              </a:extLst>
            </p:cNvPr>
            <p:cNvSpPr/>
            <p:nvPr/>
          </p:nvSpPr>
          <p:spPr bwMode="auto">
            <a:xfrm>
              <a:off x="3525935" y="4198843"/>
              <a:ext cx="157381" cy="112636"/>
            </a:xfrm>
            <a:custGeom>
              <a:avLst/>
              <a:gdLst>
                <a:gd name="T0" fmla="*/ 40 w 43"/>
                <a:gd name="T1" fmla="*/ 15 h 31"/>
                <a:gd name="T2" fmla="*/ 25 w 43"/>
                <a:gd name="T3" fmla="*/ 0 h 31"/>
                <a:gd name="T4" fmla="*/ 2 w 43"/>
                <a:gd name="T5" fmla="*/ 15 h 31"/>
                <a:gd name="T6" fmla="*/ 17 w 43"/>
                <a:gd name="T7" fmla="*/ 31 h 31"/>
                <a:gd name="T8" fmla="*/ 40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0" y="15"/>
                  </a:moveTo>
                  <a:cubicBezTo>
                    <a:pt x="43" y="7"/>
                    <a:pt x="36" y="0"/>
                    <a:pt x="25" y="0"/>
                  </a:cubicBezTo>
                  <a:cubicBezTo>
                    <a:pt x="15" y="0"/>
                    <a:pt x="5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7" name="í$ḻidè">
              <a:extLst>
                <a:ext uri="{FF2B5EF4-FFF2-40B4-BE49-F238E27FC236}">
                  <a16:creationId xmlns:a16="http://schemas.microsoft.com/office/drawing/2014/main" id="{FF3D75ED-CF94-4700-8F8B-C8C01016543D}"/>
                </a:ext>
              </a:extLst>
            </p:cNvPr>
            <p:cNvSpPr/>
            <p:nvPr/>
          </p:nvSpPr>
          <p:spPr bwMode="auto">
            <a:xfrm>
              <a:off x="3697202" y="4198843"/>
              <a:ext cx="152752" cy="112636"/>
            </a:xfrm>
            <a:custGeom>
              <a:avLst/>
              <a:gdLst>
                <a:gd name="T0" fmla="*/ 40 w 42"/>
                <a:gd name="T1" fmla="*/ 15 h 31"/>
                <a:gd name="T2" fmla="*/ 25 w 42"/>
                <a:gd name="T3" fmla="*/ 0 h 31"/>
                <a:gd name="T4" fmla="*/ 2 w 42"/>
                <a:gd name="T5" fmla="*/ 15 h 31"/>
                <a:gd name="T6" fmla="*/ 17 w 42"/>
                <a:gd name="T7" fmla="*/ 31 h 31"/>
                <a:gd name="T8" fmla="*/ 40 w 42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1">
                  <a:moveTo>
                    <a:pt x="40" y="15"/>
                  </a:moveTo>
                  <a:cubicBezTo>
                    <a:pt x="42" y="7"/>
                    <a:pt x="35" y="0"/>
                    <a:pt x="25" y="0"/>
                  </a:cubicBezTo>
                  <a:cubicBezTo>
                    <a:pt x="14" y="0"/>
                    <a:pt x="4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8" name="íSḻiḓè">
              <a:extLst>
                <a:ext uri="{FF2B5EF4-FFF2-40B4-BE49-F238E27FC236}">
                  <a16:creationId xmlns:a16="http://schemas.microsoft.com/office/drawing/2014/main" id="{9BEBDAC4-DF50-436C-94E7-603A996CEB0D}"/>
                </a:ext>
              </a:extLst>
            </p:cNvPr>
            <p:cNvSpPr/>
            <p:nvPr/>
          </p:nvSpPr>
          <p:spPr bwMode="auto">
            <a:xfrm>
              <a:off x="3868469" y="4198843"/>
              <a:ext cx="154295" cy="112636"/>
            </a:xfrm>
            <a:custGeom>
              <a:avLst/>
              <a:gdLst>
                <a:gd name="T0" fmla="*/ 40 w 42"/>
                <a:gd name="T1" fmla="*/ 15 h 31"/>
                <a:gd name="T2" fmla="*/ 24 w 42"/>
                <a:gd name="T3" fmla="*/ 0 h 31"/>
                <a:gd name="T4" fmla="*/ 2 w 42"/>
                <a:gd name="T5" fmla="*/ 15 h 31"/>
                <a:gd name="T6" fmla="*/ 17 w 42"/>
                <a:gd name="T7" fmla="*/ 31 h 31"/>
                <a:gd name="T8" fmla="*/ 40 w 42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1">
                  <a:moveTo>
                    <a:pt x="40" y="15"/>
                  </a:moveTo>
                  <a:cubicBezTo>
                    <a:pt x="42" y="7"/>
                    <a:pt x="35" y="0"/>
                    <a:pt x="24" y="0"/>
                  </a:cubicBezTo>
                  <a:cubicBezTo>
                    <a:pt x="14" y="0"/>
                    <a:pt x="4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9" name="î$ḷïdè">
              <a:extLst>
                <a:ext uri="{FF2B5EF4-FFF2-40B4-BE49-F238E27FC236}">
                  <a16:creationId xmlns:a16="http://schemas.microsoft.com/office/drawing/2014/main" id="{6E923667-4602-430A-B32A-1F58B16E29F7}"/>
                </a:ext>
              </a:extLst>
            </p:cNvPr>
            <p:cNvSpPr/>
            <p:nvPr/>
          </p:nvSpPr>
          <p:spPr bwMode="auto">
            <a:xfrm>
              <a:off x="2793035" y="4337708"/>
              <a:ext cx="163552" cy="115721"/>
            </a:xfrm>
            <a:custGeom>
              <a:avLst/>
              <a:gdLst>
                <a:gd name="T0" fmla="*/ 42 w 45"/>
                <a:gd name="T1" fmla="*/ 16 h 32"/>
                <a:gd name="T2" fmla="*/ 28 w 45"/>
                <a:gd name="T3" fmla="*/ 0 h 32"/>
                <a:gd name="T4" fmla="*/ 3 w 45"/>
                <a:gd name="T5" fmla="*/ 16 h 32"/>
                <a:gd name="T6" fmla="*/ 17 w 45"/>
                <a:gd name="T7" fmla="*/ 32 h 32"/>
                <a:gd name="T8" fmla="*/ 42 w 45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2">
                  <a:moveTo>
                    <a:pt x="42" y="16"/>
                  </a:moveTo>
                  <a:cubicBezTo>
                    <a:pt x="45" y="7"/>
                    <a:pt x="39" y="0"/>
                    <a:pt x="28" y="0"/>
                  </a:cubicBezTo>
                  <a:cubicBezTo>
                    <a:pt x="17" y="0"/>
                    <a:pt x="6" y="7"/>
                    <a:pt x="3" y="16"/>
                  </a:cubicBezTo>
                  <a:cubicBezTo>
                    <a:pt x="0" y="25"/>
                    <a:pt x="7" y="32"/>
                    <a:pt x="17" y="32"/>
                  </a:cubicBezTo>
                  <a:cubicBezTo>
                    <a:pt x="28" y="32"/>
                    <a:pt x="39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0" name="iŝliḑè">
              <a:extLst>
                <a:ext uri="{FF2B5EF4-FFF2-40B4-BE49-F238E27FC236}">
                  <a16:creationId xmlns:a16="http://schemas.microsoft.com/office/drawing/2014/main" id="{845E7B5D-AC2A-479B-8D0A-1E533114CD08}"/>
                </a:ext>
              </a:extLst>
            </p:cNvPr>
            <p:cNvSpPr/>
            <p:nvPr/>
          </p:nvSpPr>
          <p:spPr bwMode="auto">
            <a:xfrm>
              <a:off x="2967388" y="4337708"/>
              <a:ext cx="160466" cy="115721"/>
            </a:xfrm>
            <a:custGeom>
              <a:avLst/>
              <a:gdLst>
                <a:gd name="T0" fmla="*/ 42 w 44"/>
                <a:gd name="T1" fmla="*/ 16 h 32"/>
                <a:gd name="T2" fmla="*/ 27 w 44"/>
                <a:gd name="T3" fmla="*/ 0 h 32"/>
                <a:gd name="T4" fmla="*/ 3 w 44"/>
                <a:gd name="T5" fmla="*/ 16 h 32"/>
                <a:gd name="T6" fmla="*/ 17 w 44"/>
                <a:gd name="T7" fmla="*/ 32 h 32"/>
                <a:gd name="T8" fmla="*/ 42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2" y="16"/>
                  </a:moveTo>
                  <a:cubicBezTo>
                    <a:pt x="44" y="7"/>
                    <a:pt x="38" y="0"/>
                    <a:pt x="27" y="0"/>
                  </a:cubicBezTo>
                  <a:cubicBezTo>
                    <a:pt x="17" y="0"/>
                    <a:pt x="6" y="7"/>
                    <a:pt x="3" y="16"/>
                  </a:cubicBezTo>
                  <a:cubicBezTo>
                    <a:pt x="0" y="25"/>
                    <a:pt x="6" y="32"/>
                    <a:pt x="17" y="32"/>
                  </a:cubicBezTo>
                  <a:cubicBezTo>
                    <a:pt x="28" y="32"/>
                    <a:pt x="39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1" name="íṩļïḋé">
              <a:extLst>
                <a:ext uri="{FF2B5EF4-FFF2-40B4-BE49-F238E27FC236}">
                  <a16:creationId xmlns:a16="http://schemas.microsoft.com/office/drawing/2014/main" id="{A5E34280-47B5-4245-86B8-4D122937F64A}"/>
                </a:ext>
              </a:extLst>
            </p:cNvPr>
            <p:cNvSpPr/>
            <p:nvPr/>
          </p:nvSpPr>
          <p:spPr bwMode="auto">
            <a:xfrm>
              <a:off x="3143284" y="4337708"/>
              <a:ext cx="160466" cy="115721"/>
            </a:xfrm>
            <a:custGeom>
              <a:avLst/>
              <a:gdLst>
                <a:gd name="T0" fmla="*/ 41 w 44"/>
                <a:gd name="T1" fmla="*/ 16 h 32"/>
                <a:gd name="T2" fmla="*/ 26 w 44"/>
                <a:gd name="T3" fmla="*/ 0 h 32"/>
                <a:gd name="T4" fmla="*/ 2 w 44"/>
                <a:gd name="T5" fmla="*/ 16 h 32"/>
                <a:gd name="T6" fmla="*/ 17 w 44"/>
                <a:gd name="T7" fmla="*/ 32 h 32"/>
                <a:gd name="T8" fmla="*/ 41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1" y="16"/>
                  </a:moveTo>
                  <a:cubicBezTo>
                    <a:pt x="44" y="7"/>
                    <a:pt x="37" y="0"/>
                    <a:pt x="26" y="0"/>
                  </a:cubicBezTo>
                  <a:cubicBezTo>
                    <a:pt x="16" y="0"/>
                    <a:pt x="5" y="7"/>
                    <a:pt x="2" y="16"/>
                  </a:cubicBezTo>
                  <a:cubicBezTo>
                    <a:pt x="0" y="25"/>
                    <a:pt x="6" y="32"/>
                    <a:pt x="17" y="32"/>
                  </a:cubicBezTo>
                  <a:cubicBezTo>
                    <a:pt x="28" y="32"/>
                    <a:pt x="38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2" name="íṣļîḍé">
              <a:extLst>
                <a:ext uri="{FF2B5EF4-FFF2-40B4-BE49-F238E27FC236}">
                  <a16:creationId xmlns:a16="http://schemas.microsoft.com/office/drawing/2014/main" id="{031F59FA-395E-403E-9EEC-575ACA9E661D}"/>
                </a:ext>
              </a:extLst>
            </p:cNvPr>
            <p:cNvSpPr/>
            <p:nvPr/>
          </p:nvSpPr>
          <p:spPr bwMode="auto">
            <a:xfrm>
              <a:off x="3314551" y="4337708"/>
              <a:ext cx="160466" cy="115721"/>
            </a:xfrm>
            <a:custGeom>
              <a:avLst/>
              <a:gdLst>
                <a:gd name="T0" fmla="*/ 41 w 44"/>
                <a:gd name="T1" fmla="*/ 16 h 32"/>
                <a:gd name="T2" fmla="*/ 26 w 44"/>
                <a:gd name="T3" fmla="*/ 0 h 32"/>
                <a:gd name="T4" fmla="*/ 3 w 44"/>
                <a:gd name="T5" fmla="*/ 16 h 32"/>
                <a:gd name="T6" fmla="*/ 18 w 44"/>
                <a:gd name="T7" fmla="*/ 32 h 32"/>
                <a:gd name="T8" fmla="*/ 41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1" y="16"/>
                  </a:moveTo>
                  <a:cubicBezTo>
                    <a:pt x="44" y="7"/>
                    <a:pt x="37" y="0"/>
                    <a:pt x="26" y="0"/>
                  </a:cubicBezTo>
                  <a:cubicBezTo>
                    <a:pt x="16" y="0"/>
                    <a:pt x="5" y="7"/>
                    <a:pt x="3" y="16"/>
                  </a:cubicBezTo>
                  <a:cubicBezTo>
                    <a:pt x="0" y="25"/>
                    <a:pt x="7" y="32"/>
                    <a:pt x="18" y="32"/>
                  </a:cubicBezTo>
                  <a:cubicBezTo>
                    <a:pt x="28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3" name="iṧļîḓé">
              <a:extLst>
                <a:ext uri="{FF2B5EF4-FFF2-40B4-BE49-F238E27FC236}">
                  <a16:creationId xmlns:a16="http://schemas.microsoft.com/office/drawing/2014/main" id="{F5907F3F-13A4-4024-947D-90505000B053}"/>
                </a:ext>
              </a:extLst>
            </p:cNvPr>
            <p:cNvSpPr/>
            <p:nvPr/>
          </p:nvSpPr>
          <p:spPr bwMode="auto">
            <a:xfrm>
              <a:off x="3488904" y="4337708"/>
              <a:ext cx="157381" cy="115721"/>
            </a:xfrm>
            <a:custGeom>
              <a:avLst/>
              <a:gdLst>
                <a:gd name="T0" fmla="*/ 41 w 43"/>
                <a:gd name="T1" fmla="*/ 16 h 32"/>
                <a:gd name="T2" fmla="*/ 26 w 43"/>
                <a:gd name="T3" fmla="*/ 0 h 32"/>
                <a:gd name="T4" fmla="*/ 2 w 43"/>
                <a:gd name="T5" fmla="*/ 16 h 32"/>
                <a:gd name="T6" fmla="*/ 17 w 43"/>
                <a:gd name="T7" fmla="*/ 32 h 32"/>
                <a:gd name="T8" fmla="*/ 41 w 43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2">
                  <a:moveTo>
                    <a:pt x="41" y="16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5" y="0"/>
                    <a:pt x="4" y="7"/>
                    <a:pt x="2" y="16"/>
                  </a:cubicBezTo>
                  <a:cubicBezTo>
                    <a:pt x="0" y="25"/>
                    <a:pt x="7" y="32"/>
                    <a:pt x="17" y="32"/>
                  </a:cubicBezTo>
                  <a:cubicBezTo>
                    <a:pt x="28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4" name="ïṧ1ïḍè">
              <a:extLst>
                <a:ext uri="{FF2B5EF4-FFF2-40B4-BE49-F238E27FC236}">
                  <a16:creationId xmlns:a16="http://schemas.microsoft.com/office/drawing/2014/main" id="{CC41D137-C45D-46C1-B603-9506F45DC5B1}"/>
                </a:ext>
              </a:extLst>
            </p:cNvPr>
            <p:cNvSpPr/>
            <p:nvPr/>
          </p:nvSpPr>
          <p:spPr bwMode="auto">
            <a:xfrm>
              <a:off x="2745204" y="4479659"/>
              <a:ext cx="163552" cy="123436"/>
            </a:xfrm>
            <a:custGeom>
              <a:avLst/>
              <a:gdLst>
                <a:gd name="T0" fmla="*/ 42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7 w 45"/>
                <a:gd name="T7" fmla="*/ 34 h 34"/>
                <a:gd name="T8" fmla="*/ 42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2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6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5" name="iSľíḍê">
              <a:extLst>
                <a:ext uri="{FF2B5EF4-FFF2-40B4-BE49-F238E27FC236}">
                  <a16:creationId xmlns:a16="http://schemas.microsoft.com/office/drawing/2014/main" id="{79354205-EEF0-4AC7-8DEC-086F960FFFE3}"/>
                </a:ext>
              </a:extLst>
            </p:cNvPr>
            <p:cNvSpPr/>
            <p:nvPr/>
          </p:nvSpPr>
          <p:spPr bwMode="auto">
            <a:xfrm>
              <a:off x="2919557" y="4479659"/>
              <a:ext cx="165096" cy="123436"/>
            </a:xfrm>
            <a:custGeom>
              <a:avLst/>
              <a:gdLst>
                <a:gd name="T0" fmla="*/ 42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7 w 45"/>
                <a:gd name="T7" fmla="*/ 34 h 34"/>
                <a:gd name="T8" fmla="*/ 42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2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6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6" name="îsḷîďé">
              <a:extLst>
                <a:ext uri="{FF2B5EF4-FFF2-40B4-BE49-F238E27FC236}">
                  <a16:creationId xmlns:a16="http://schemas.microsoft.com/office/drawing/2014/main" id="{9B3B6A3A-CBC8-4AF0-AB3D-65157613D2FE}"/>
                </a:ext>
              </a:extLst>
            </p:cNvPr>
            <p:cNvSpPr/>
            <p:nvPr/>
          </p:nvSpPr>
          <p:spPr bwMode="auto">
            <a:xfrm>
              <a:off x="3095452" y="4479659"/>
              <a:ext cx="163552" cy="123436"/>
            </a:xfrm>
            <a:custGeom>
              <a:avLst/>
              <a:gdLst>
                <a:gd name="T0" fmla="*/ 43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8 w 45"/>
                <a:gd name="T7" fmla="*/ 34 h 34"/>
                <a:gd name="T8" fmla="*/ 43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3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7" y="34"/>
                    <a:pt x="18" y="34"/>
                  </a:cubicBezTo>
                  <a:cubicBezTo>
                    <a:pt x="29" y="34"/>
                    <a:pt x="40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7" name="ïṥḻíḓe">
              <a:extLst>
                <a:ext uri="{FF2B5EF4-FFF2-40B4-BE49-F238E27FC236}">
                  <a16:creationId xmlns:a16="http://schemas.microsoft.com/office/drawing/2014/main" id="{7AA222D5-AADD-47ED-8DE3-5CDFEEE8CA01}"/>
                </a:ext>
              </a:extLst>
            </p:cNvPr>
            <p:cNvSpPr/>
            <p:nvPr/>
          </p:nvSpPr>
          <p:spPr bwMode="auto">
            <a:xfrm>
              <a:off x="3274434" y="4479659"/>
              <a:ext cx="160466" cy="123436"/>
            </a:xfrm>
            <a:custGeom>
              <a:avLst/>
              <a:gdLst>
                <a:gd name="T0" fmla="*/ 42 w 44"/>
                <a:gd name="T1" fmla="*/ 17 h 34"/>
                <a:gd name="T2" fmla="*/ 27 w 44"/>
                <a:gd name="T3" fmla="*/ 0 h 34"/>
                <a:gd name="T4" fmla="*/ 2 w 44"/>
                <a:gd name="T5" fmla="*/ 17 h 34"/>
                <a:gd name="T6" fmla="*/ 17 w 44"/>
                <a:gd name="T7" fmla="*/ 34 h 34"/>
                <a:gd name="T8" fmla="*/ 42 w 44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4">
                  <a:moveTo>
                    <a:pt x="42" y="17"/>
                  </a:moveTo>
                  <a:cubicBezTo>
                    <a:pt x="44" y="8"/>
                    <a:pt x="37" y="0"/>
                    <a:pt x="27" y="0"/>
                  </a:cubicBezTo>
                  <a:cubicBezTo>
                    <a:pt x="16" y="0"/>
                    <a:pt x="5" y="8"/>
                    <a:pt x="2" y="17"/>
                  </a:cubicBezTo>
                  <a:cubicBezTo>
                    <a:pt x="0" y="26"/>
                    <a:pt x="7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8" name="îSḷiḓè">
              <a:extLst>
                <a:ext uri="{FF2B5EF4-FFF2-40B4-BE49-F238E27FC236}">
                  <a16:creationId xmlns:a16="http://schemas.microsoft.com/office/drawing/2014/main" id="{FFBE52E3-C1B6-40E7-9318-720AA36C8745}"/>
                </a:ext>
              </a:extLst>
            </p:cNvPr>
            <p:cNvSpPr/>
            <p:nvPr/>
          </p:nvSpPr>
          <p:spPr bwMode="auto">
            <a:xfrm>
              <a:off x="3448788" y="4479659"/>
              <a:ext cx="160466" cy="123436"/>
            </a:xfrm>
            <a:custGeom>
              <a:avLst/>
              <a:gdLst>
                <a:gd name="T0" fmla="*/ 42 w 44"/>
                <a:gd name="T1" fmla="*/ 17 h 34"/>
                <a:gd name="T2" fmla="*/ 27 w 44"/>
                <a:gd name="T3" fmla="*/ 0 h 34"/>
                <a:gd name="T4" fmla="*/ 3 w 44"/>
                <a:gd name="T5" fmla="*/ 17 h 34"/>
                <a:gd name="T6" fmla="*/ 18 w 44"/>
                <a:gd name="T7" fmla="*/ 34 h 34"/>
                <a:gd name="T8" fmla="*/ 42 w 44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4">
                  <a:moveTo>
                    <a:pt x="42" y="17"/>
                  </a:moveTo>
                  <a:cubicBezTo>
                    <a:pt x="44" y="8"/>
                    <a:pt x="37" y="0"/>
                    <a:pt x="27" y="0"/>
                  </a:cubicBezTo>
                  <a:cubicBezTo>
                    <a:pt x="16" y="0"/>
                    <a:pt x="5" y="8"/>
                    <a:pt x="3" y="17"/>
                  </a:cubicBezTo>
                  <a:cubicBezTo>
                    <a:pt x="0" y="26"/>
                    <a:pt x="7" y="34"/>
                    <a:pt x="18" y="34"/>
                  </a:cubicBezTo>
                  <a:cubicBezTo>
                    <a:pt x="29" y="34"/>
                    <a:pt x="40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9" name="ïṥ1îḋê">
              <a:extLst>
                <a:ext uri="{FF2B5EF4-FFF2-40B4-BE49-F238E27FC236}">
                  <a16:creationId xmlns:a16="http://schemas.microsoft.com/office/drawing/2014/main" id="{CB538314-2F3B-4A06-8221-9C0093FDD29B}"/>
                </a:ext>
              </a:extLst>
            </p:cNvPr>
            <p:cNvSpPr/>
            <p:nvPr/>
          </p:nvSpPr>
          <p:spPr bwMode="auto">
            <a:xfrm>
              <a:off x="2689658" y="4629324"/>
              <a:ext cx="171268" cy="128065"/>
            </a:xfrm>
            <a:custGeom>
              <a:avLst/>
              <a:gdLst>
                <a:gd name="T0" fmla="*/ 44 w 47"/>
                <a:gd name="T1" fmla="*/ 17 h 35"/>
                <a:gd name="T2" fmla="*/ 29 w 47"/>
                <a:gd name="T3" fmla="*/ 0 h 35"/>
                <a:gd name="T4" fmla="*/ 4 w 47"/>
                <a:gd name="T5" fmla="*/ 17 h 35"/>
                <a:gd name="T6" fmla="*/ 18 w 47"/>
                <a:gd name="T7" fmla="*/ 35 h 35"/>
                <a:gd name="T8" fmla="*/ 44 w 47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5">
                  <a:moveTo>
                    <a:pt x="44" y="17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7" y="8"/>
                    <a:pt x="4" y="17"/>
                  </a:cubicBezTo>
                  <a:cubicBezTo>
                    <a:pt x="0" y="27"/>
                    <a:pt x="7" y="35"/>
                    <a:pt x="18" y="35"/>
                  </a:cubicBezTo>
                  <a:cubicBezTo>
                    <a:pt x="29" y="35"/>
                    <a:pt x="41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0" name="íṡ1íďe">
              <a:extLst>
                <a:ext uri="{FF2B5EF4-FFF2-40B4-BE49-F238E27FC236}">
                  <a16:creationId xmlns:a16="http://schemas.microsoft.com/office/drawing/2014/main" id="{B239C15B-D83F-4404-B147-6CA3446B31B7}"/>
                </a:ext>
              </a:extLst>
            </p:cNvPr>
            <p:cNvSpPr/>
            <p:nvPr/>
          </p:nvSpPr>
          <p:spPr bwMode="auto">
            <a:xfrm>
              <a:off x="2873268" y="4629324"/>
              <a:ext cx="166638" cy="128065"/>
            </a:xfrm>
            <a:custGeom>
              <a:avLst/>
              <a:gdLst>
                <a:gd name="T0" fmla="*/ 43 w 46"/>
                <a:gd name="T1" fmla="*/ 17 h 35"/>
                <a:gd name="T2" fmla="*/ 28 w 46"/>
                <a:gd name="T3" fmla="*/ 0 h 35"/>
                <a:gd name="T4" fmla="*/ 3 w 46"/>
                <a:gd name="T5" fmla="*/ 17 h 35"/>
                <a:gd name="T6" fmla="*/ 17 w 46"/>
                <a:gd name="T7" fmla="*/ 35 h 35"/>
                <a:gd name="T8" fmla="*/ 43 w 4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5">
                  <a:moveTo>
                    <a:pt x="43" y="17"/>
                  </a:moveTo>
                  <a:cubicBezTo>
                    <a:pt x="46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7"/>
                    <a:pt x="6" y="35"/>
                    <a:pt x="17" y="35"/>
                  </a:cubicBezTo>
                  <a:cubicBezTo>
                    <a:pt x="28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1" name="iSlîďè">
              <a:extLst>
                <a:ext uri="{FF2B5EF4-FFF2-40B4-BE49-F238E27FC236}">
                  <a16:creationId xmlns:a16="http://schemas.microsoft.com/office/drawing/2014/main" id="{C02A10F3-FDB5-44B7-BC5B-1CD15817F6AB}"/>
                </a:ext>
              </a:extLst>
            </p:cNvPr>
            <p:cNvSpPr/>
            <p:nvPr/>
          </p:nvSpPr>
          <p:spPr bwMode="auto">
            <a:xfrm>
              <a:off x="3050707" y="4629324"/>
              <a:ext cx="165096" cy="128065"/>
            </a:xfrm>
            <a:custGeom>
              <a:avLst/>
              <a:gdLst>
                <a:gd name="T0" fmla="*/ 43 w 45"/>
                <a:gd name="T1" fmla="*/ 17 h 35"/>
                <a:gd name="T2" fmla="*/ 28 w 45"/>
                <a:gd name="T3" fmla="*/ 0 h 35"/>
                <a:gd name="T4" fmla="*/ 3 w 45"/>
                <a:gd name="T5" fmla="*/ 17 h 35"/>
                <a:gd name="T6" fmla="*/ 18 w 45"/>
                <a:gd name="T7" fmla="*/ 35 h 35"/>
                <a:gd name="T8" fmla="*/ 43 w 45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5">
                  <a:moveTo>
                    <a:pt x="43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7"/>
                    <a:pt x="6" y="35"/>
                    <a:pt x="18" y="35"/>
                  </a:cubicBezTo>
                  <a:cubicBezTo>
                    <a:pt x="29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2" name="iṣḻïḓe">
              <a:extLst>
                <a:ext uri="{FF2B5EF4-FFF2-40B4-BE49-F238E27FC236}">
                  <a16:creationId xmlns:a16="http://schemas.microsoft.com/office/drawing/2014/main" id="{E0689088-F6C9-4CBC-A371-00BCF8E143AE}"/>
                </a:ext>
              </a:extLst>
            </p:cNvPr>
            <p:cNvSpPr/>
            <p:nvPr/>
          </p:nvSpPr>
          <p:spPr bwMode="auto">
            <a:xfrm>
              <a:off x="3229689" y="4629324"/>
              <a:ext cx="165096" cy="128065"/>
            </a:xfrm>
            <a:custGeom>
              <a:avLst/>
              <a:gdLst>
                <a:gd name="T0" fmla="*/ 43 w 45"/>
                <a:gd name="T1" fmla="*/ 17 h 35"/>
                <a:gd name="T2" fmla="*/ 27 w 45"/>
                <a:gd name="T3" fmla="*/ 0 h 35"/>
                <a:gd name="T4" fmla="*/ 3 w 45"/>
                <a:gd name="T5" fmla="*/ 17 h 35"/>
                <a:gd name="T6" fmla="*/ 18 w 45"/>
                <a:gd name="T7" fmla="*/ 35 h 35"/>
                <a:gd name="T8" fmla="*/ 43 w 45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5">
                  <a:moveTo>
                    <a:pt x="43" y="17"/>
                  </a:moveTo>
                  <a:cubicBezTo>
                    <a:pt x="45" y="8"/>
                    <a:pt x="38" y="0"/>
                    <a:pt x="27" y="0"/>
                  </a:cubicBezTo>
                  <a:cubicBezTo>
                    <a:pt x="16" y="0"/>
                    <a:pt x="5" y="8"/>
                    <a:pt x="3" y="17"/>
                  </a:cubicBezTo>
                  <a:cubicBezTo>
                    <a:pt x="0" y="27"/>
                    <a:pt x="7" y="35"/>
                    <a:pt x="18" y="35"/>
                  </a:cubicBezTo>
                  <a:cubicBezTo>
                    <a:pt x="29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3" name="ïṣḻïḋè">
              <a:extLst>
                <a:ext uri="{FF2B5EF4-FFF2-40B4-BE49-F238E27FC236}">
                  <a16:creationId xmlns:a16="http://schemas.microsoft.com/office/drawing/2014/main" id="{E2E10930-778E-4C11-8F5E-8E34547E5BB8}"/>
                </a:ext>
              </a:extLst>
            </p:cNvPr>
            <p:cNvSpPr/>
            <p:nvPr/>
          </p:nvSpPr>
          <p:spPr bwMode="auto">
            <a:xfrm>
              <a:off x="2456673" y="4783619"/>
              <a:ext cx="171268" cy="131151"/>
            </a:xfrm>
            <a:custGeom>
              <a:avLst/>
              <a:gdLst>
                <a:gd name="T0" fmla="*/ 44 w 47"/>
                <a:gd name="T1" fmla="*/ 18 h 36"/>
                <a:gd name="T2" fmla="*/ 30 w 47"/>
                <a:gd name="T3" fmla="*/ 0 h 36"/>
                <a:gd name="T4" fmla="*/ 3 w 47"/>
                <a:gd name="T5" fmla="*/ 18 h 36"/>
                <a:gd name="T6" fmla="*/ 17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1" y="0"/>
                    <a:pt x="30" y="0"/>
                  </a:cubicBezTo>
                  <a:cubicBezTo>
                    <a:pt x="19" y="0"/>
                    <a:pt x="7" y="8"/>
                    <a:pt x="3" y="18"/>
                  </a:cubicBezTo>
                  <a:cubicBezTo>
                    <a:pt x="0" y="28"/>
                    <a:pt x="6" y="36"/>
                    <a:pt x="17" y="36"/>
                  </a:cubicBezTo>
                  <a:cubicBezTo>
                    <a:pt x="28" y="36"/>
                    <a:pt x="40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4" name="îSliḑê">
              <a:extLst>
                <a:ext uri="{FF2B5EF4-FFF2-40B4-BE49-F238E27FC236}">
                  <a16:creationId xmlns:a16="http://schemas.microsoft.com/office/drawing/2014/main" id="{3CC7040D-EC94-4CCD-9EEE-BD70C11D73BA}"/>
                </a:ext>
              </a:extLst>
            </p:cNvPr>
            <p:cNvSpPr/>
            <p:nvPr/>
          </p:nvSpPr>
          <p:spPr bwMode="auto">
            <a:xfrm>
              <a:off x="2638740" y="4783619"/>
              <a:ext cx="171268" cy="131151"/>
            </a:xfrm>
            <a:custGeom>
              <a:avLst/>
              <a:gdLst>
                <a:gd name="T0" fmla="*/ 44 w 47"/>
                <a:gd name="T1" fmla="*/ 18 h 36"/>
                <a:gd name="T2" fmla="*/ 29 w 47"/>
                <a:gd name="T3" fmla="*/ 0 h 36"/>
                <a:gd name="T4" fmla="*/ 3 w 47"/>
                <a:gd name="T5" fmla="*/ 18 h 36"/>
                <a:gd name="T6" fmla="*/ 17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6" y="8"/>
                    <a:pt x="3" y="18"/>
                  </a:cubicBezTo>
                  <a:cubicBezTo>
                    <a:pt x="0" y="28"/>
                    <a:pt x="6" y="36"/>
                    <a:pt x="17" y="36"/>
                  </a:cubicBezTo>
                  <a:cubicBezTo>
                    <a:pt x="29" y="36"/>
                    <a:pt x="41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5" name="ïsḻïḋé">
              <a:extLst>
                <a:ext uri="{FF2B5EF4-FFF2-40B4-BE49-F238E27FC236}">
                  <a16:creationId xmlns:a16="http://schemas.microsoft.com/office/drawing/2014/main" id="{AA136EC1-0DCC-47B9-B93F-94BC3481ECD8}"/>
                </a:ext>
              </a:extLst>
            </p:cNvPr>
            <p:cNvSpPr/>
            <p:nvPr/>
          </p:nvSpPr>
          <p:spPr bwMode="auto">
            <a:xfrm>
              <a:off x="2820808" y="4783619"/>
              <a:ext cx="172810" cy="131151"/>
            </a:xfrm>
            <a:custGeom>
              <a:avLst/>
              <a:gdLst>
                <a:gd name="T0" fmla="*/ 44 w 47"/>
                <a:gd name="T1" fmla="*/ 18 h 36"/>
                <a:gd name="T2" fmla="*/ 29 w 47"/>
                <a:gd name="T3" fmla="*/ 0 h 36"/>
                <a:gd name="T4" fmla="*/ 3 w 47"/>
                <a:gd name="T5" fmla="*/ 18 h 36"/>
                <a:gd name="T6" fmla="*/ 18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6" y="8"/>
                    <a:pt x="3" y="18"/>
                  </a:cubicBezTo>
                  <a:cubicBezTo>
                    <a:pt x="0" y="28"/>
                    <a:pt x="6" y="36"/>
                    <a:pt x="18" y="36"/>
                  </a:cubicBezTo>
                  <a:cubicBezTo>
                    <a:pt x="29" y="36"/>
                    <a:pt x="41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6" name="îṩļîḋê">
              <a:extLst>
                <a:ext uri="{FF2B5EF4-FFF2-40B4-BE49-F238E27FC236}">
                  <a16:creationId xmlns:a16="http://schemas.microsoft.com/office/drawing/2014/main" id="{456851F4-DC6D-46B1-B233-16F7C4CB5DA5}"/>
                </a:ext>
              </a:extLst>
            </p:cNvPr>
            <p:cNvSpPr/>
            <p:nvPr/>
          </p:nvSpPr>
          <p:spPr bwMode="auto">
            <a:xfrm>
              <a:off x="3004419" y="4783619"/>
              <a:ext cx="166638" cy="131151"/>
            </a:xfrm>
            <a:custGeom>
              <a:avLst/>
              <a:gdLst>
                <a:gd name="T0" fmla="*/ 43 w 46"/>
                <a:gd name="T1" fmla="*/ 18 h 36"/>
                <a:gd name="T2" fmla="*/ 28 w 46"/>
                <a:gd name="T3" fmla="*/ 0 h 36"/>
                <a:gd name="T4" fmla="*/ 3 w 46"/>
                <a:gd name="T5" fmla="*/ 18 h 36"/>
                <a:gd name="T6" fmla="*/ 18 w 46"/>
                <a:gd name="T7" fmla="*/ 36 h 36"/>
                <a:gd name="T8" fmla="*/ 43 w 4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6">
                  <a:moveTo>
                    <a:pt x="43" y="18"/>
                  </a:moveTo>
                  <a:cubicBezTo>
                    <a:pt x="46" y="8"/>
                    <a:pt x="39" y="0"/>
                    <a:pt x="28" y="0"/>
                  </a:cubicBezTo>
                  <a:cubicBezTo>
                    <a:pt x="17" y="0"/>
                    <a:pt x="6" y="8"/>
                    <a:pt x="3" y="18"/>
                  </a:cubicBezTo>
                  <a:cubicBezTo>
                    <a:pt x="0" y="28"/>
                    <a:pt x="7" y="36"/>
                    <a:pt x="18" y="36"/>
                  </a:cubicBezTo>
                  <a:cubicBezTo>
                    <a:pt x="29" y="36"/>
                    <a:pt x="41" y="28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7" name="ïs1íde">
              <a:extLst>
                <a:ext uri="{FF2B5EF4-FFF2-40B4-BE49-F238E27FC236}">
                  <a16:creationId xmlns:a16="http://schemas.microsoft.com/office/drawing/2014/main" id="{8CE7287F-9CC2-41CC-82FB-BBE1673C0ABC}"/>
                </a:ext>
              </a:extLst>
            </p:cNvPr>
            <p:cNvSpPr/>
            <p:nvPr/>
          </p:nvSpPr>
          <p:spPr bwMode="auto">
            <a:xfrm>
              <a:off x="2398041" y="4944086"/>
              <a:ext cx="175896" cy="134237"/>
            </a:xfrm>
            <a:custGeom>
              <a:avLst/>
              <a:gdLst>
                <a:gd name="T0" fmla="*/ 45 w 48"/>
                <a:gd name="T1" fmla="*/ 18 h 37"/>
                <a:gd name="T2" fmla="*/ 30 w 48"/>
                <a:gd name="T3" fmla="*/ 0 h 37"/>
                <a:gd name="T4" fmla="*/ 3 w 48"/>
                <a:gd name="T5" fmla="*/ 18 h 37"/>
                <a:gd name="T6" fmla="*/ 17 w 48"/>
                <a:gd name="T7" fmla="*/ 37 h 37"/>
                <a:gd name="T8" fmla="*/ 45 w 4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7">
                  <a:moveTo>
                    <a:pt x="45" y="18"/>
                  </a:moveTo>
                  <a:cubicBezTo>
                    <a:pt x="48" y="8"/>
                    <a:pt x="42" y="0"/>
                    <a:pt x="30" y="0"/>
                  </a:cubicBezTo>
                  <a:cubicBezTo>
                    <a:pt x="19" y="0"/>
                    <a:pt x="7" y="8"/>
                    <a:pt x="3" y="18"/>
                  </a:cubicBezTo>
                  <a:cubicBezTo>
                    <a:pt x="0" y="29"/>
                    <a:pt x="6" y="37"/>
                    <a:pt x="17" y="37"/>
                  </a:cubicBezTo>
                  <a:cubicBezTo>
                    <a:pt x="29" y="37"/>
                    <a:pt x="41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8" name="íşḷïḑé">
              <a:extLst>
                <a:ext uri="{FF2B5EF4-FFF2-40B4-BE49-F238E27FC236}">
                  <a16:creationId xmlns:a16="http://schemas.microsoft.com/office/drawing/2014/main" id="{67ED2F5D-3EED-412C-BF3D-92BEA7AE865A}"/>
                </a:ext>
              </a:extLst>
            </p:cNvPr>
            <p:cNvSpPr/>
            <p:nvPr/>
          </p:nvSpPr>
          <p:spPr bwMode="auto">
            <a:xfrm>
              <a:off x="2580108" y="4944086"/>
              <a:ext cx="178982" cy="134237"/>
            </a:xfrm>
            <a:custGeom>
              <a:avLst/>
              <a:gdLst>
                <a:gd name="T0" fmla="*/ 45 w 49"/>
                <a:gd name="T1" fmla="*/ 18 h 37"/>
                <a:gd name="T2" fmla="*/ 31 w 49"/>
                <a:gd name="T3" fmla="*/ 0 h 37"/>
                <a:gd name="T4" fmla="*/ 4 w 49"/>
                <a:gd name="T5" fmla="*/ 18 h 37"/>
                <a:gd name="T6" fmla="*/ 18 w 49"/>
                <a:gd name="T7" fmla="*/ 37 h 37"/>
                <a:gd name="T8" fmla="*/ 45 w 49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5" y="18"/>
                  </a:moveTo>
                  <a:cubicBezTo>
                    <a:pt x="49" y="8"/>
                    <a:pt x="42" y="0"/>
                    <a:pt x="31" y="0"/>
                  </a:cubicBezTo>
                  <a:cubicBezTo>
                    <a:pt x="19" y="0"/>
                    <a:pt x="7" y="8"/>
                    <a:pt x="4" y="18"/>
                  </a:cubicBezTo>
                  <a:cubicBezTo>
                    <a:pt x="0" y="29"/>
                    <a:pt x="7" y="37"/>
                    <a:pt x="18" y="37"/>
                  </a:cubicBezTo>
                  <a:cubicBezTo>
                    <a:pt x="30" y="37"/>
                    <a:pt x="42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9" name="ïṩ1îḓê">
              <a:extLst>
                <a:ext uri="{FF2B5EF4-FFF2-40B4-BE49-F238E27FC236}">
                  <a16:creationId xmlns:a16="http://schemas.microsoft.com/office/drawing/2014/main" id="{2811D891-17FE-4C9C-AAA7-86FD7C01DCDC}"/>
                </a:ext>
              </a:extLst>
            </p:cNvPr>
            <p:cNvSpPr/>
            <p:nvPr/>
          </p:nvSpPr>
          <p:spPr bwMode="auto">
            <a:xfrm>
              <a:off x="2766805" y="4944086"/>
              <a:ext cx="174353" cy="134237"/>
            </a:xfrm>
            <a:custGeom>
              <a:avLst/>
              <a:gdLst>
                <a:gd name="T0" fmla="*/ 45 w 48"/>
                <a:gd name="T1" fmla="*/ 18 h 37"/>
                <a:gd name="T2" fmla="*/ 30 w 48"/>
                <a:gd name="T3" fmla="*/ 0 h 37"/>
                <a:gd name="T4" fmla="*/ 4 w 48"/>
                <a:gd name="T5" fmla="*/ 18 h 37"/>
                <a:gd name="T6" fmla="*/ 19 w 48"/>
                <a:gd name="T7" fmla="*/ 37 h 37"/>
                <a:gd name="T8" fmla="*/ 45 w 4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7">
                  <a:moveTo>
                    <a:pt x="45" y="18"/>
                  </a:moveTo>
                  <a:cubicBezTo>
                    <a:pt x="48" y="8"/>
                    <a:pt x="41" y="0"/>
                    <a:pt x="30" y="0"/>
                  </a:cubicBezTo>
                  <a:cubicBezTo>
                    <a:pt x="19" y="0"/>
                    <a:pt x="7" y="8"/>
                    <a:pt x="4" y="18"/>
                  </a:cubicBezTo>
                  <a:cubicBezTo>
                    <a:pt x="0" y="29"/>
                    <a:pt x="7" y="37"/>
                    <a:pt x="19" y="37"/>
                  </a:cubicBezTo>
                  <a:cubicBezTo>
                    <a:pt x="30" y="37"/>
                    <a:pt x="42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0" name="ïşľíḑê">
              <a:extLst>
                <a:ext uri="{FF2B5EF4-FFF2-40B4-BE49-F238E27FC236}">
                  <a16:creationId xmlns:a16="http://schemas.microsoft.com/office/drawing/2014/main" id="{1B5D820C-4CBF-45CF-8982-A706C04894A3}"/>
                </a:ext>
              </a:extLst>
            </p:cNvPr>
            <p:cNvSpPr/>
            <p:nvPr/>
          </p:nvSpPr>
          <p:spPr bwMode="auto">
            <a:xfrm>
              <a:off x="2336323" y="5107638"/>
              <a:ext cx="178982" cy="138865"/>
            </a:xfrm>
            <a:custGeom>
              <a:avLst/>
              <a:gdLst>
                <a:gd name="T0" fmla="*/ 46 w 49"/>
                <a:gd name="T1" fmla="*/ 19 h 38"/>
                <a:gd name="T2" fmla="*/ 31 w 49"/>
                <a:gd name="T3" fmla="*/ 0 h 38"/>
                <a:gd name="T4" fmla="*/ 4 w 49"/>
                <a:gd name="T5" fmla="*/ 19 h 38"/>
                <a:gd name="T6" fmla="*/ 18 w 49"/>
                <a:gd name="T7" fmla="*/ 38 h 38"/>
                <a:gd name="T8" fmla="*/ 46 w 49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6" y="19"/>
                  </a:moveTo>
                  <a:cubicBezTo>
                    <a:pt x="49" y="9"/>
                    <a:pt x="43" y="0"/>
                    <a:pt x="31" y="0"/>
                  </a:cubicBezTo>
                  <a:cubicBezTo>
                    <a:pt x="20" y="0"/>
                    <a:pt x="7" y="9"/>
                    <a:pt x="4" y="19"/>
                  </a:cubicBezTo>
                  <a:cubicBezTo>
                    <a:pt x="0" y="30"/>
                    <a:pt x="6" y="38"/>
                    <a:pt x="18" y="38"/>
                  </a:cubicBezTo>
                  <a:cubicBezTo>
                    <a:pt x="30" y="38"/>
                    <a:pt x="42" y="30"/>
                    <a:pt x="46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1" name="ísľíḋè">
              <a:extLst>
                <a:ext uri="{FF2B5EF4-FFF2-40B4-BE49-F238E27FC236}">
                  <a16:creationId xmlns:a16="http://schemas.microsoft.com/office/drawing/2014/main" id="{341A83F8-96DF-4652-8C97-BFA92C11279C}"/>
                </a:ext>
              </a:extLst>
            </p:cNvPr>
            <p:cNvSpPr/>
            <p:nvPr/>
          </p:nvSpPr>
          <p:spPr bwMode="auto">
            <a:xfrm>
              <a:off x="2526106" y="5107638"/>
              <a:ext cx="178982" cy="138865"/>
            </a:xfrm>
            <a:custGeom>
              <a:avLst/>
              <a:gdLst>
                <a:gd name="T0" fmla="*/ 45 w 49"/>
                <a:gd name="T1" fmla="*/ 19 h 38"/>
                <a:gd name="T2" fmla="*/ 31 w 49"/>
                <a:gd name="T3" fmla="*/ 0 h 38"/>
                <a:gd name="T4" fmla="*/ 3 w 49"/>
                <a:gd name="T5" fmla="*/ 19 h 38"/>
                <a:gd name="T6" fmla="*/ 18 w 49"/>
                <a:gd name="T7" fmla="*/ 38 h 38"/>
                <a:gd name="T8" fmla="*/ 45 w 49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5" y="19"/>
                  </a:moveTo>
                  <a:cubicBezTo>
                    <a:pt x="49" y="9"/>
                    <a:pt x="42" y="0"/>
                    <a:pt x="31" y="0"/>
                  </a:cubicBezTo>
                  <a:cubicBezTo>
                    <a:pt x="19" y="0"/>
                    <a:pt x="7" y="9"/>
                    <a:pt x="3" y="19"/>
                  </a:cubicBezTo>
                  <a:cubicBezTo>
                    <a:pt x="0" y="30"/>
                    <a:pt x="6" y="38"/>
                    <a:pt x="18" y="38"/>
                  </a:cubicBezTo>
                  <a:cubicBezTo>
                    <a:pt x="30" y="38"/>
                    <a:pt x="42" y="30"/>
                    <a:pt x="4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2" name="î$ľide">
              <a:extLst>
                <a:ext uri="{FF2B5EF4-FFF2-40B4-BE49-F238E27FC236}">
                  <a16:creationId xmlns:a16="http://schemas.microsoft.com/office/drawing/2014/main" id="{D7A8DB1B-9CEC-4D19-A0B6-7991454AE391}"/>
                </a:ext>
              </a:extLst>
            </p:cNvPr>
            <p:cNvSpPr/>
            <p:nvPr/>
          </p:nvSpPr>
          <p:spPr bwMode="auto">
            <a:xfrm>
              <a:off x="2274605" y="5280448"/>
              <a:ext cx="182068" cy="145037"/>
            </a:xfrm>
            <a:custGeom>
              <a:avLst/>
              <a:gdLst>
                <a:gd name="T0" fmla="*/ 46 w 50"/>
                <a:gd name="T1" fmla="*/ 20 h 40"/>
                <a:gd name="T2" fmla="*/ 32 w 50"/>
                <a:gd name="T3" fmla="*/ 0 h 40"/>
                <a:gd name="T4" fmla="*/ 4 w 50"/>
                <a:gd name="T5" fmla="*/ 20 h 40"/>
                <a:gd name="T6" fmla="*/ 18 w 50"/>
                <a:gd name="T7" fmla="*/ 40 h 40"/>
                <a:gd name="T8" fmla="*/ 46 w 50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0">
                  <a:moveTo>
                    <a:pt x="46" y="20"/>
                  </a:moveTo>
                  <a:cubicBezTo>
                    <a:pt x="50" y="9"/>
                    <a:pt x="44" y="0"/>
                    <a:pt x="32" y="0"/>
                  </a:cubicBezTo>
                  <a:cubicBezTo>
                    <a:pt x="20" y="0"/>
                    <a:pt x="7" y="9"/>
                    <a:pt x="4" y="20"/>
                  </a:cubicBezTo>
                  <a:cubicBezTo>
                    <a:pt x="0" y="31"/>
                    <a:pt x="6" y="40"/>
                    <a:pt x="18" y="40"/>
                  </a:cubicBezTo>
                  <a:cubicBezTo>
                    <a:pt x="30" y="40"/>
                    <a:pt x="43" y="31"/>
                    <a:pt x="4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3" name="ísḻiḓé">
              <a:extLst>
                <a:ext uri="{FF2B5EF4-FFF2-40B4-BE49-F238E27FC236}">
                  <a16:creationId xmlns:a16="http://schemas.microsoft.com/office/drawing/2014/main" id="{3E0873D7-DCA4-4598-B083-E37A98F433F9}"/>
                </a:ext>
              </a:extLst>
            </p:cNvPr>
            <p:cNvSpPr/>
            <p:nvPr/>
          </p:nvSpPr>
          <p:spPr bwMode="auto">
            <a:xfrm>
              <a:off x="2464388" y="5280448"/>
              <a:ext cx="185154" cy="145037"/>
            </a:xfrm>
            <a:custGeom>
              <a:avLst/>
              <a:gdLst>
                <a:gd name="T0" fmla="*/ 47 w 51"/>
                <a:gd name="T1" fmla="*/ 20 h 40"/>
                <a:gd name="T2" fmla="*/ 32 w 51"/>
                <a:gd name="T3" fmla="*/ 0 h 40"/>
                <a:gd name="T4" fmla="*/ 4 w 51"/>
                <a:gd name="T5" fmla="*/ 20 h 40"/>
                <a:gd name="T6" fmla="*/ 19 w 51"/>
                <a:gd name="T7" fmla="*/ 40 h 40"/>
                <a:gd name="T8" fmla="*/ 47 w 51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0">
                  <a:moveTo>
                    <a:pt x="47" y="20"/>
                  </a:moveTo>
                  <a:cubicBezTo>
                    <a:pt x="51" y="9"/>
                    <a:pt x="44" y="0"/>
                    <a:pt x="32" y="0"/>
                  </a:cubicBezTo>
                  <a:cubicBezTo>
                    <a:pt x="20" y="0"/>
                    <a:pt x="8" y="9"/>
                    <a:pt x="4" y="20"/>
                  </a:cubicBezTo>
                  <a:cubicBezTo>
                    <a:pt x="0" y="31"/>
                    <a:pt x="7" y="40"/>
                    <a:pt x="19" y="40"/>
                  </a:cubicBezTo>
                  <a:cubicBezTo>
                    <a:pt x="31" y="40"/>
                    <a:pt x="43" y="31"/>
                    <a:pt x="4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4" name="isľídê">
              <a:extLst>
                <a:ext uri="{FF2B5EF4-FFF2-40B4-BE49-F238E27FC236}">
                  <a16:creationId xmlns:a16="http://schemas.microsoft.com/office/drawing/2014/main" id="{DFCCD690-666B-4B71-A483-D7FC13974796}"/>
                </a:ext>
              </a:extLst>
            </p:cNvPr>
            <p:cNvSpPr/>
            <p:nvPr/>
          </p:nvSpPr>
          <p:spPr bwMode="auto">
            <a:xfrm>
              <a:off x="2208259" y="5454801"/>
              <a:ext cx="186697" cy="154295"/>
            </a:xfrm>
            <a:custGeom>
              <a:avLst/>
              <a:gdLst>
                <a:gd name="T0" fmla="*/ 47 w 51"/>
                <a:gd name="T1" fmla="*/ 21 h 42"/>
                <a:gd name="T2" fmla="*/ 33 w 51"/>
                <a:gd name="T3" fmla="*/ 0 h 42"/>
                <a:gd name="T4" fmla="*/ 4 w 51"/>
                <a:gd name="T5" fmla="*/ 21 h 42"/>
                <a:gd name="T6" fmla="*/ 18 w 51"/>
                <a:gd name="T7" fmla="*/ 42 h 42"/>
                <a:gd name="T8" fmla="*/ 47 w 51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2">
                  <a:moveTo>
                    <a:pt x="47" y="21"/>
                  </a:moveTo>
                  <a:cubicBezTo>
                    <a:pt x="51" y="10"/>
                    <a:pt x="45" y="0"/>
                    <a:pt x="33" y="0"/>
                  </a:cubicBezTo>
                  <a:cubicBezTo>
                    <a:pt x="21" y="0"/>
                    <a:pt x="8" y="10"/>
                    <a:pt x="4" y="21"/>
                  </a:cubicBezTo>
                  <a:cubicBezTo>
                    <a:pt x="0" y="32"/>
                    <a:pt x="6" y="42"/>
                    <a:pt x="18" y="42"/>
                  </a:cubicBezTo>
                  <a:cubicBezTo>
                    <a:pt x="30" y="42"/>
                    <a:pt x="44" y="32"/>
                    <a:pt x="47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5" name="íşḷïďè">
              <a:extLst>
                <a:ext uri="{FF2B5EF4-FFF2-40B4-BE49-F238E27FC236}">
                  <a16:creationId xmlns:a16="http://schemas.microsoft.com/office/drawing/2014/main" id="{AA2B62E0-6C0B-4F08-9932-A228BB99B1D6}"/>
                </a:ext>
              </a:extLst>
            </p:cNvPr>
            <p:cNvSpPr/>
            <p:nvPr/>
          </p:nvSpPr>
          <p:spPr bwMode="auto">
            <a:xfrm>
              <a:off x="2401126" y="5454801"/>
              <a:ext cx="189783" cy="154295"/>
            </a:xfrm>
            <a:custGeom>
              <a:avLst/>
              <a:gdLst>
                <a:gd name="T0" fmla="*/ 48 w 52"/>
                <a:gd name="T1" fmla="*/ 21 h 42"/>
                <a:gd name="T2" fmla="*/ 33 w 52"/>
                <a:gd name="T3" fmla="*/ 0 h 42"/>
                <a:gd name="T4" fmla="*/ 4 w 52"/>
                <a:gd name="T5" fmla="*/ 21 h 42"/>
                <a:gd name="T6" fmla="*/ 19 w 52"/>
                <a:gd name="T7" fmla="*/ 42 h 42"/>
                <a:gd name="T8" fmla="*/ 48 w 52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2">
                  <a:moveTo>
                    <a:pt x="48" y="21"/>
                  </a:moveTo>
                  <a:cubicBezTo>
                    <a:pt x="52" y="10"/>
                    <a:pt x="45" y="0"/>
                    <a:pt x="33" y="0"/>
                  </a:cubicBezTo>
                  <a:cubicBezTo>
                    <a:pt x="21" y="0"/>
                    <a:pt x="8" y="10"/>
                    <a:pt x="4" y="21"/>
                  </a:cubicBezTo>
                  <a:cubicBezTo>
                    <a:pt x="0" y="32"/>
                    <a:pt x="7" y="42"/>
                    <a:pt x="19" y="42"/>
                  </a:cubicBezTo>
                  <a:cubicBezTo>
                    <a:pt x="31" y="42"/>
                    <a:pt x="44" y="32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6" name="íṣľidê">
              <a:extLst>
                <a:ext uri="{FF2B5EF4-FFF2-40B4-BE49-F238E27FC236}">
                  <a16:creationId xmlns:a16="http://schemas.microsoft.com/office/drawing/2014/main" id="{BDE9446B-00E6-4829-A174-693274129E39}"/>
                </a:ext>
              </a:extLst>
            </p:cNvPr>
            <p:cNvSpPr/>
            <p:nvPr/>
          </p:nvSpPr>
          <p:spPr bwMode="auto">
            <a:xfrm>
              <a:off x="2138826" y="5641497"/>
              <a:ext cx="194411" cy="154295"/>
            </a:xfrm>
            <a:custGeom>
              <a:avLst/>
              <a:gdLst>
                <a:gd name="T0" fmla="*/ 49 w 53"/>
                <a:gd name="T1" fmla="*/ 21 h 42"/>
                <a:gd name="T2" fmla="*/ 34 w 53"/>
                <a:gd name="T3" fmla="*/ 0 h 42"/>
                <a:gd name="T4" fmla="*/ 4 w 53"/>
                <a:gd name="T5" fmla="*/ 21 h 42"/>
                <a:gd name="T6" fmla="*/ 19 w 53"/>
                <a:gd name="T7" fmla="*/ 42 h 42"/>
                <a:gd name="T8" fmla="*/ 49 w 53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2">
                  <a:moveTo>
                    <a:pt x="49" y="21"/>
                  </a:moveTo>
                  <a:cubicBezTo>
                    <a:pt x="53" y="9"/>
                    <a:pt x="46" y="0"/>
                    <a:pt x="34" y="0"/>
                  </a:cubicBezTo>
                  <a:cubicBezTo>
                    <a:pt x="22" y="0"/>
                    <a:pt x="9" y="9"/>
                    <a:pt x="4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5" y="33"/>
                    <a:pt x="49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7" name="îşḷíḋè">
              <a:extLst>
                <a:ext uri="{FF2B5EF4-FFF2-40B4-BE49-F238E27FC236}">
                  <a16:creationId xmlns:a16="http://schemas.microsoft.com/office/drawing/2014/main" id="{C97C3BEB-FAA2-4D08-8887-E70A52525B87}"/>
                </a:ext>
              </a:extLst>
            </p:cNvPr>
            <p:cNvSpPr/>
            <p:nvPr/>
          </p:nvSpPr>
          <p:spPr bwMode="auto">
            <a:xfrm>
              <a:off x="2339409" y="5641497"/>
              <a:ext cx="189783" cy="154295"/>
            </a:xfrm>
            <a:custGeom>
              <a:avLst/>
              <a:gdLst>
                <a:gd name="T0" fmla="*/ 48 w 52"/>
                <a:gd name="T1" fmla="*/ 21 h 42"/>
                <a:gd name="T2" fmla="*/ 33 w 52"/>
                <a:gd name="T3" fmla="*/ 0 h 42"/>
                <a:gd name="T4" fmla="*/ 4 w 52"/>
                <a:gd name="T5" fmla="*/ 21 h 42"/>
                <a:gd name="T6" fmla="*/ 19 w 52"/>
                <a:gd name="T7" fmla="*/ 42 h 42"/>
                <a:gd name="T8" fmla="*/ 48 w 52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2">
                  <a:moveTo>
                    <a:pt x="48" y="21"/>
                  </a:moveTo>
                  <a:cubicBezTo>
                    <a:pt x="52" y="9"/>
                    <a:pt x="45" y="0"/>
                    <a:pt x="33" y="0"/>
                  </a:cubicBezTo>
                  <a:cubicBezTo>
                    <a:pt x="21" y="0"/>
                    <a:pt x="8" y="9"/>
                    <a:pt x="4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5" y="33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8" name="iṣľiḍé">
              <a:extLst>
                <a:ext uri="{FF2B5EF4-FFF2-40B4-BE49-F238E27FC236}">
                  <a16:creationId xmlns:a16="http://schemas.microsoft.com/office/drawing/2014/main" id="{8B0A8FF4-5B53-4B4B-90CE-883015ECAEEF}"/>
                </a:ext>
              </a:extLst>
            </p:cNvPr>
            <p:cNvSpPr/>
            <p:nvPr/>
          </p:nvSpPr>
          <p:spPr bwMode="auto">
            <a:xfrm>
              <a:off x="2539992" y="5641497"/>
              <a:ext cx="186697" cy="154295"/>
            </a:xfrm>
            <a:custGeom>
              <a:avLst/>
              <a:gdLst>
                <a:gd name="T0" fmla="*/ 48 w 51"/>
                <a:gd name="T1" fmla="*/ 21 h 42"/>
                <a:gd name="T2" fmla="*/ 32 w 51"/>
                <a:gd name="T3" fmla="*/ 0 h 42"/>
                <a:gd name="T4" fmla="*/ 3 w 51"/>
                <a:gd name="T5" fmla="*/ 21 h 42"/>
                <a:gd name="T6" fmla="*/ 19 w 51"/>
                <a:gd name="T7" fmla="*/ 42 h 42"/>
                <a:gd name="T8" fmla="*/ 48 w 51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2">
                  <a:moveTo>
                    <a:pt x="48" y="21"/>
                  </a:moveTo>
                  <a:cubicBezTo>
                    <a:pt x="51" y="9"/>
                    <a:pt x="44" y="0"/>
                    <a:pt x="32" y="0"/>
                  </a:cubicBezTo>
                  <a:cubicBezTo>
                    <a:pt x="20" y="0"/>
                    <a:pt x="7" y="9"/>
                    <a:pt x="3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4" y="33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979" name="任意多边形: 形状 978">
            <a:extLst>
              <a:ext uri="{FF2B5EF4-FFF2-40B4-BE49-F238E27FC236}">
                <a16:creationId xmlns:a16="http://schemas.microsoft.com/office/drawing/2014/main" id="{7CB0F582-5A52-4BDE-B171-6B4E62624633}"/>
              </a:ext>
            </a:extLst>
          </p:cNvPr>
          <p:cNvSpPr>
            <a:spLocks/>
          </p:cNvSpPr>
          <p:nvPr userDrawn="1"/>
        </p:nvSpPr>
        <p:spPr>
          <a:xfrm flipH="1">
            <a:off x="8499914" y="1148111"/>
            <a:ext cx="2774490" cy="1589287"/>
          </a:xfrm>
          <a:custGeom>
            <a:avLst/>
            <a:gdLst>
              <a:gd name="connsiteX0" fmla="*/ 0 w 3276004"/>
              <a:gd name="connsiteY0" fmla="*/ 0 h 1589287"/>
              <a:gd name="connsiteX1" fmla="*/ 3276004 w 3276004"/>
              <a:gd name="connsiteY1" fmla="*/ 0 h 1589287"/>
              <a:gd name="connsiteX2" fmla="*/ 3276004 w 3276004"/>
              <a:gd name="connsiteY2" fmla="*/ 1306286 h 1589287"/>
              <a:gd name="connsiteX3" fmla="*/ 2786741 w 3276004"/>
              <a:gd name="connsiteY3" fmla="*/ 1306286 h 1589287"/>
              <a:gd name="connsiteX4" fmla="*/ 2786741 w 3276004"/>
              <a:gd name="connsiteY4" fmla="*/ 1589287 h 1589287"/>
              <a:gd name="connsiteX5" fmla="*/ 2232059 w 3276004"/>
              <a:gd name="connsiteY5" fmla="*/ 1306286 h 1589287"/>
              <a:gd name="connsiteX6" fmla="*/ 0 w 3276004"/>
              <a:gd name="connsiteY6" fmla="*/ 1306286 h 1589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76004" h="1589287">
                <a:moveTo>
                  <a:pt x="0" y="0"/>
                </a:moveTo>
                <a:lnTo>
                  <a:pt x="3276004" y="0"/>
                </a:lnTo>
                <a:lnTo>
                  <a:pt x="3276004" y="1306286"/>
                </a:lnTo>
                <a:lnTo>
                  <a:pt x="2786741" y="1306286"/>
                </a:lnTo>
                <a:lnTo>
                  <a:pt x="2786741" y="1589287"/>
                </a:lnTo>
                <a:lnTo>
                  <a:pt x="2232059" y="1306286"/>
                </a:lnTo>
                <a:lnTo>
                  <a:pt x="0" y="1306286"/>
                </a:lnTo>
                <a:close/>
              </a:path>
            </a:pathLst>
          </a:custGeom>
          <a:solidFill>
            <a:srgbClr val="2A282B">
              <a:lumMod val="10000"/>
              <a:lumOff val="90000"/>
            </a:srgbClr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tIns="0" bIns="28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980" name="任意多边形: 形状 979">
            <a:extLst>
              <a:ext uri="{FF2B5EF4-FFF2-40B4-BE49-F238E27FC236}">
                <a16:creationId xmlns:a16="http://schemas.microsoft.com/office/drawing/2014/main" id="{E5EB2C7D-A79C-43DE-8793-7A7545D29F43}"/>
              </a:ext>
            </a:extLst>
          </p:cNvPr>
          <p:cNvSpPr>
            <a:spLocks/>
          </p:cNvSpPr>
          <p:nvPr userDrawn="1"/>
        </p:nvSpPr>
        <p:spPr>
          <a:xfrm flipH="1">
            <a:off x="8214477" y="1485211"/>
            <a:ext cx="2774490" cy="1589287"/>
          </a:xfrm>
          <a:custGeom>
            <a:avLst/>
            <a:gdLst>
              <a:gd name="connsiteX0" fmla="*/ 0 w 3276004"/>
              <a:gd name="connsiteY0" fmla="*/ 0 h 1589287"/>
              <a:gd name="connsiteX1" fmla="*/ 3276004 w 3276004"/>
              <a:gd name="connsiteY1" fmla="*/ 0 h 1589287"/>
              <a:gd name="connsiteX2" fmla="*/ 3276004 w 3276004"/>
              <a:gd name="connsiteY2" fmla="*/ 1306286 h 1589287"/>
              <a:gd name="connsiteX3" fmla="*/ 2786741 w 3276004"/>
              <a:gd name="connsiteY3" fmla="*/ 1306286 h 1589287"/>
              <a:gd name="connsiteX4" fmla="*/ 2786741 w 3276004"/>
              <a:gd name="connsiteY4" fmla="*/ 1589287 h 1589287"/>
              <a:gd name="connsiteX5" fmla="*/ 2232059 w 3276004"/>
              <a:gd name="connsiteY5" fmla="*/ 1306286 h 1589287"/>
              <a:gd name="connsiteX6" fmla="*/ 0 w 3276004"/>
              <a:gd name="connsiteY6" fmla="*/ 1306286 h 1589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76004" h="1589287">
                <a:moveTo>
                  <a:pt x="0" y="0"/>
                </a:moveTo>
                <a:lnTo>
                  <a:pt x="3276004" y="0"/>
                </a:lnTo>
                <a:lnTo>
                  <a:pt x="3276004" y="1306286"/>
                </a:lnTo>
                <a:lnTo>
                  <a:pt x="2786741" y="1306286"/>
                </a:lnTo>
                <a:lnTo>
                  <a:pt x="2786741" y="1589287"/>
                </a:lnTo>
                <a:lnTo>
                  <a:pt x="2232059" y="1306286"/>
                </a:lnTo>
                <a:lnTo>
                  <a:pt x="0" y="1306286"/>
                </a:lnTo>
                <a:close/>
              </a:path>
            </a:pathLst>
          </a:custGeom>
          <a:solidFill>
            <a:srgbClr val="FFC000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tIns="0" bIns="28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984" name="直接连接符 983">
            <a:extLst>
              <a:ext uri="{FF2B5EF4-FFF2-40B4-BE49-F238E27FC236}">
                <a16:creationId xmlns:a16="http://schemas.microsoft.com/office/drawing/2014/main" id="{1908E9A6-AEAB-4916-B132-E2EC5915C86E}"/>
              </a:ext>
            </a:extLst>
          </p:cNvPr>
          <p:cNvCxnSpPr>
            <a:cxnSpLocks/>
          </p:cNvCxnSpPr>
          <p:nvPr userDrawn="1"/>
        </p:nvCxnSpPr>
        <p:spPr>
          <a:xfrm>
            <a:off x="1252729" y="5152571"/>
            <a:ext cx="100216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252729" y="5427446"/>
            <a:ext cx="7372177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243973" y="2448874"/>
            <a:ext cx="7380933" cy="252137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428464" y="2133964"/>
            <a:ext cx="256050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428464" y="1773937"/>
            <a:ext cx="256050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c7cd9fd3-95be-4895-a18c-01ed58a211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A124CFF-306F-46B7-BAF8-0238421EE28E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1594202" y="2710543"/>
            <a:ext cx="9003595" cy="3529920"/>
            <a:chOff x="654511" y="1531088"/>
            <a:chExt cx="10877774" cy="4264704"/>
          </a:xfrm>
          <a:solidFill>
            <a:schemeClr val="bg1">
              <a:lumMod val="95000"/>
            </a:schemeClr>
          </a:solidFill>
        </p:grpSpPr>
        <p:sp>
          <p:nvSpPr>
            <p:cNvPr id="5" name="iṧḻîde">
              <a:extLst>
                <a:ext uri="{FF2B5EF4-FFF2-40B4-BE49-F238E27FC236}">
                  <a16:creationId xmlns:a16="http://schemas.microsoft.com/office/drawing/2014/main" id="{B832A595-6BC1-43E1-A5A2-F98E21AC5EDF}"/>
                </a:ext>
              </a:extLst>
            </p:cNvPr>
            <p:cNvSpPr/>
            <p:nvPr/>
          </p:nvSpPr>
          <p:spPr bwMode="auto">
            <a:xfrm>
              <a:off x="4357583" y="1531088"/>
              <a:ext cx="101834" cy="54004"/>
            </a:xfrm>
            <a:custGeom>
              <a:avLst/>
              <a:gdLst>
                <a:gd name="T0" fmla="*/ 27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2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7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19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" name="íṩḷîḑé">
              <a:extLst>
                <a:ext uri="{FF2B5EF4-FFF2-40B4-BE49-F238E27FC236}">
                  <a16:creationId xmlns:a16="http://schemas.microsoft.com/office/drawing/2014/main" id="{A5F9F6BC-65FA-479E-A561-F95CCE30113B}"/>
                </a:ext>
              </a:extLst>
            </p:cNvPr>
            <p:cNvSpPr/>
            <p:nvPr/>
          </p:nvSpPr>
          <p:spPr bwMode="auto">
            <a:xfrm>
              <a:off x="4474847" y="1531088"/>
              <a:ext cx="101834" cy="54004"/>
            </a:xfrm>
            <a:custGeom>
              <a:avLst/>
              <a:gdLst>
                <a:gd name="T0" fmla="*/ 27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3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9" y="0"/>
                    <a:pt x="2" y="3"/>
                    <a:pt x="1" y="7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ïṧliḑè">
              <a:extLst>
                <a:ext uri="{FF2B5EF4-FFF2-40B4-BE49-F238E27FC236}">
                  <a16:creationId xmlns:a16="http://schemas.microsoft.com/office/drawing/2014/main" id="{49527061-550D-410C-BF14-DA1ED43B4098}"/>
                </a:ext>
              </a:extLst>
            </p:cNvPr>
            <p:cNvSpPr/>
            <p:nvPr/>
          </p:nvSpPr>
          <p:spPr bwMode="auto">
            <a:xfrm>
              <a:off x="4590568" y="1531088"/>
              <a:ext cx="103378" cy="54004"/>
            </a:xfrm>
            <a:custGeom>
              <a:avLst/>
              <a:gdLst>
                <a:gd name="T0" fmla="*/ 28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3 w 28"/>
                <a:gd name="T7" fmla="*/ 15 h 15"/>
                <a:gd name="T8" fmla="*/ 28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9" y="0"/>
                    <a:pt x="2" y="3"/>
                    <a:pt x="1" y="7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îśḷïďê">
              <a:extLst>
                <a:ext uri="{FF2B5EF4-FFF2-40B4-BE49-F238E27FC236}">
                  <a16:creationId xmlns:a16="http://schemas.microsoft.com/office/drawing/2014/main" id="{6200C58D-7017-4783-A399-80E26BE2B5ED}"/>
                </a:ext>
              </a:extLst>
            </p:cNvPr>
            <p:cNvSpPr/>
            <p:nvPr/>
          </p:nvSpPr>
          <p:spPr bwMode="auto">
            <a:xfrm>
              <a:off x="4710918" y="1531088"/>
              <a:ext cx="103378" cy="54004"/>
            </a:xfrm>
            <a:custGeom>
              <a:avLst/>
              <a:gdLst>
                <a:gd name="T0" fmla="*/ 27 w 28"/>
                <a:gd name="T1" fmla="*/ 7 h 15"/>
                <a:gd name="T2" fmla="*/ 15 w 28"/>
                <a:gd name="T3" fmla="*/ 0 h 15"/>
                <a:gd name="T4" fmla="*/ 1 w 28"/>
                <a:gd name="T5" fmla="*/ 7 h 15"/>
                <a:gd name="T6" fmla="*/ 12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2" y="0"/>
                    <a:pt x="15" y="0"/>
                  </a:cubicBezTo>
                  <a:cubicBezTo>
                    <a:pt x="8" y="0"/>
                    <a:pt x="1" y="3"/>
                    <a:pt x="1" y="7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šḻïde">
              <a:extLst>
                <a:ext uri="{FF2B5EF4-FFF2-40B4-BE49-F238E27FC236}">
                  <a16:creationId xmlns:a16="http://schemas.microsoft.com/office/drawing/2014/main" id="{C415CA35-FA0D-46AA-88D3-FD7CB6F205EA}"/>
                </a:ext>
              </a:extLst>
            </p:cNvPr>
            <p:cNvSpPr/>
            <p:nvPr/>
          </p:nvSpPr>
          <p:spPr bwMode="auto">
            <a:xfrm>
              <a:off x="4102997" y="1595892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iS1iḍê">
              <a:extLst>
                <a:ext uri="{FF2B5EF4-FFF2-40B4-BE49-F238E27FC236}">
                  <a16:creationId xmlns:a16="http://schemas.microsoft.com/office/drawing/2014/main" id="{1A3557EF-CA66-4598-987E-812A6CB2B92D}"/>
                </a:ext>
              </a:extLst>
            </p:cNvPr>
            <p:cNvSpPr/>
            <p:nvPr/>
          </p:nvSpPr>
          <p:spPr bwMode="auto">
            <a:xfrm>
              <a:off x="4223347" y="1595892"/>
              <a:ext cx="101834" cy="55546"/>
            </a:xfrm>
            <a:custGeom>
              <a:avLst/>
              <a:gdLst>
                <a:gd name="T0" fmla="*/ 27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7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19" y="15"/>
                    <a:pt x="26" y="12"/>
                    <a:pt x="2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sḻíḍè">
              <a:extLst>
                <a:ext uri="{FF2B5EF4-FFF2-40B4-BE49-F238E27FC236}">
                  <a16:creationId xmlns:a16="http://schemas.microsoft.com/office/drawing/2014/main" id="{A33A9CF1-C2B1-4127-B855-9D760A682F69}"/>
                </a:ext>
              </a:extLst>
            </p:cNvPr>
            <p:cNvSpPr/>
            <p:nvPr/>
          </p:nvSpPr>
          <p:spPr bwMode="auto">
            <a:xfrm>
              <a:off x="4339067" y="1595892"/>
              <a:ext cx="106464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3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$lïďé">
              <a:extLst>
                <a:ext uri="{FF2B5EF4-FFF2-40B4-BE49-F238E27FC236}">
                  <a16:creationId xmlns:a16="http://schemas.microsoft.com/office/drawing/2014/main" id="{F29867A7-F1BA-4EEE-8D15-9F4F62A536E9}"/>
                </a:ext>
              </a:extLst>
            </p:cNvPr>
            <p:cNvSpPr/>
            <p:nvPr/>
          </p:nvSpPr>
          <p:spPr bwMode="auto">
            <a:xfrm>
              <a:off x="4459417" y="1595892"/>
              <a:ext cx="103378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şḷiďè">
              <a:extLst>
                <a:ext uri="{FF2B5EF4-FFF2-40B4-BE49-F238E27FC236}">
                  <a16:creationId xmlns:a16="http://schemas.microsoft.com/office/drawing/2014/main" id="{BA3EAE98-8F6D-467A-9143-9E186B1E7BC9}"/>
                </a:ext>
              </a:extLst>
            </p:cNvPr>
            <p:cNvSpPr/>
            <p:nvPr/>
          </p:nvSpPr>
          <p:spPr bwMode="auto">
            <a:xfrm>
              <a:off x="4579767" y="1595892"/>
              <a:ext cx="103378" cy="55546"/>
            </a:xfrm>
            <a:custGeom>
              <a:avLst/>
              <a:gdLst>
                <a:gd name="T0" fmla="*/ 27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7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8"/>
                  </a:moveTo>
                  <a:cubicBezTo>
                    <a:pt x="28" y="4"/>
                    <a:pt x="23" y="0"/>
                    <a:pt x="15" y="0"/>
                  </a:cubicBezTo>
                  <a:cubicBezTo>
                    <a:pt x="8" y="0"/>
                    <a:pt x="1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îṡḻiḋe">
              <a:extLst>
                <a:ext uri="{FF2B5EF4-FFF2-40B4-BE49-F238E27FC236}">
                  <a16:creationId xmlns:a16="http://schemas.microsoft.com/office/drawing/2014/main" id="{D2C0B936-3FF1-416B-AC2A-4A7E7F5911DA}"/>
                </a:ext>
              </a:extLst>
            </p:cNvPr>
            <p:cNvSpPr/>
            <p:nvPr/>
          </p:nvSpPr>
          <p:spPr bwMode="auto">
            <a:xfrm>
              <a:off x="4697031" y="1595892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8" y="0"/>
                    <a:pt x="2" y="4"/>
                    <a:pt x="1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iṣľîḍé">
              <a:extLst>
                <a:ext uri="{FF2B5EF4-FFF2-40B4-BE49-F238E27FC236}">
                  <a16:creationId xmlns:a16="http://schemas.microsoft.com/office/drawing/2014/main" id="{FAFAC6B2-60DA-4907-A0DC-743A13A4B8CE}"/>
                </a:ext>
              </a:extLst>
            </p:cNvPr>
            <p:cNvSpPr/>
            <p:nvPr/>
          </p:nvSpPr>
          <p:spPr bwMode="auto">
            <a:xfrm>
              <a:off x="3839153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8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8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šlíḍè">
              <a:extLst>
                <a:ext uri="{FF2B5EF4-FFF2-40B4-BE49-F238E27FC236}">
                  <a16:creationId xmlns:a16="http://schemas.microsoft.com/office/drawing/2014/main" id="{BE57FA28-E30C-44CD-AA3F-D4BFC78C432D}"/>
                </a:ext>
              </a:extLst>
            </p:cNvPr>
            <p:cNvSpPr/>
            <p:nvPr/>
          </p:nvSpPr>
          <p:spPr bwMode="auto">
            <a:xfrm>
              <a:off x="3959502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7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ḻíḍé">
              <a:extLst>
                <a:ext uri="{FF2B5EF4-FFF2-40B4-BE49-F238E27FC236}">
                  <a16:creationId xmlns:a16="http://schemas.microsoft.com/office/drawing/2014/main" id="{BBA19BDE-EED9-468E-965C-45AD92FA8D6F}"/>
                </a:ext>
              </a:extLst>
            </p:cNvPr>
            <p:cNvSpPr/>
            <p:nvPr/>
          </p:nvSpPr>
          <p:spPr bwMode="auto">
            <a:xfrm>
              <a:off x="4079852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7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îṩḻíde">
              <a:extLst>
                <a:ext uri="{FF2B5EF4-FFF2-40B4-BE49-F238E27FC236}">
                  <a16:creationId xmlns:a16="http://schemas.microsoft.com/office/drawing/2014/main" id="{A10C6BFE-B886-4AEC-8AAD-2EBAFDA8D504}"/>
                </a:ext>
              </a:extLst>
            </p:cNvPr>
            <p:cNvSpPr/>
            <p:nvPr/>
          </p:nvSpPr>
          <p:spPr bwMode="auto">
            <a:xfrm>
              <a:off x="4204831" y="1665325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s1ïḑe">
              <a:extLst>
                <a:ext uri="{FF2B5EF4-FFF2-40B4-BE49-F238E27FC236}">
                  <a16:creationId xmlns:a16="http://schemas.microsoft.com/office/drawing/2014/main" id="{23D4AC04-44E8-4AB4-B071-450B8CC026AF}"/>
                </a:ext>
              </a:extLst>
            </p:cNvPr>
            <p:cNvSpPr/>
            <p:nvPr/>
          </p:nvSpPr>
          <p:spPr bwMode="auto">
            <a:xfrm>
              <a:off x="4325181" y="1665325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3"/>
                    <a:pt x="23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ṥḷïḋê">
              <a:extLst>
                <a:ext uri="{FF2B5EF4-FFF2-40B4-BE49-F238E27FC236}">
                  <a16:creationId xmlns:a16="http://schemas.microsoft.com/office/drawing/2014/main" id="{E9769F89-E5C7-4763-A51A-B6A1ADFB48CA}"/>
                </a:ext>
              </a:extLst>
            </p:cNvPr>
            <p:cNvSpPr/>
            <p:nvPr/>
          </p:nvSpPr>
          <p:spPr bwMode="auto">
            <a:xfrm>
              <a:off x="444553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ŝḷîḍe">
              <a:extLst>
                <a:ext uri="{FF2B5EF4-FFF2-40B4-BE49-F238E27FC236}">
                  <a16:creationId xmlns:a16="http://schemas.microsoft.com/office/drawing/2014/main" id="{5B61A9FA-5B25-4A6F-A4AB-D8D9DEA3B5EC}"/>
                </a:ext>
              </a:extLst>
            </p:cNvPr>
            <p:cNvSpPr/>
            <p:nvPr/>
          </p:nvSpPr>
          <p:spPr bwMode="auto">
            <a:xfrm>
              <a:off x="456588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$ľíḑé">
              <a:extLst>
                <a:ext uri="{FF2B5EF4-FFF2-40B4-BE49-F238E27FC236}">
                  <a16:creationId xmlns:a16="http://schemas.microsoft.com/office/drawing/2014/main" id="{7C26B700-6AC0-4E6A-83FE-331174B5D3F8}"/>
                </a:ext>
              </a:extLst>
            </p:cNvPr>
            <p:cNvSpPr/>
            <p:nvPr/>
          </p:nvSpPr>
          <p:spPr bwMode="auto">
            <a:xfrm>
              <a:off x="468623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Sḻíḍê">
              <a:extLst>
                <a:ext uri="{FF2B5EF4-FFF2-40B4-BE49-F238E27FC236}">
                  <a16:creationId xmlns:a16="http://schemas.microsoft.com/office/drawing/2014/main" id="{977A5C73-08A7-4630-A998-0DFE2FA12360}"/>
                </a:ext>
              </a:extLst>
            </p:cNvPr>
            <p:cNvSpPr/>
            <p:nvPr/>
          </p:nvSpPr>
          <p:spPr bwMode="auto">
            <a:xfrm>
              <a:off x="480658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ṧļiḍè">
              <a:extLst>
                <a:ext uri="{FF2B5EF4-FFF2-40B4-BE49-F238E27FC236}">
                  <a16:creationId xmlns:a16="http://schemas.microsoft.com/office/drawing/2014/main" id="{E1671025-1691-41B1-8587-968F7C8BEE9F}"/>
                </a:ext>
              </a:extLst>
            </p:cNvPr>
            <p:cNvSpPr/>
            <p:nvPr/>
          </p:nvSpPr>
          <p:spPr bwMode="auto">
            <a:xfrm>
              <a:off x="4926930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1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ŝliḑê">
              <a:extLst>
                <a:ext uri="{FF2B5EF4-FFF2-40B4-BE49-F238E27FC236}">
                  <a16:creationId xmlns:a16="http://schemas.microsoft.com/office/drawing/2014/main" id="{2B867B5F-8583-46E6-B261-83D576D70589}"/>
                </a:ext>
              </a:extLst>
            </p:cNvPr>
            <p:cNvSpPr/>
            <p:nvPr/>
          </p:nvSpPr>
          <p:spPr bwMode="auto">
            <a:xfrm>
              <a:off x="3697202" y="1734757"/>
              <a:ext cx="109550" cy="58632"/>
            </a:xfrm>
            <a:custGeom>
              <a:avLst/>
              <a:gdLst>
                <a:gd name="T0" fmla="*/ 28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2 w 30"/>
                <a:gd name="T7" fmla="*/ 16 h 16"/>
                <a:gd name="T8" fmla="*/ 28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8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1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ṣḻiḑé">
              <a:extLst>
                <a:ext uri="{FF2B5EF4-FFF2-40B4-BE49-F238E27FC236}">
                  <a16:creationId xmlns:a16="http://schemas.microsoft.com/office/drawing/2014/main" id="{A37DDFE2-B58D-4E04-A0FE-08755E9B3892}"/>
                </a:ext>
              </a:extLst>
            </p:cNvPr>
            <p:cNvSpPr/>
            <p:nvPr/>
          </p:nvSpPr>
          <p:spPr bwMode="auto">
            <a:xfrm>
              <a:off x="3817551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8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5" y="0"/>
                    <a:pt x="18" y="0"/>
                  </a:cubicBezTo>
                  <a:cubicBezTo>
                    <a:pt x="10" y="0"/>
                    <a:pt x="3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šḻîdê">
              <a:extLst>
                <a:ext uri="{FF2B5EF4-FFF2-40B4-BE49-F238E27FC236}">
                  <a16:creationId xmlns:a16="http://schemas.microsoft.com/office/drawing/2014/main" id="{F71421FE-E7FF-4062-8370-AD187483115D}"/>
                </a:ext>
              </a:extLst>
            </p:cNvPr>
            <p:cNvSpPr/>
            <p:nvPr/>
          </p:nvSpPr>
          <p:spPr bwMode="auto">
            <a:xfrm>
              <a:off x="394098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7 w 29"/>
                <a:gd name="T3" fmla="*/ 0 h 16"/>
                <a:gd name="T4" fmla="*/ 1 w 29"/>
                <a:gd name="T5" fmla="*/ 8 h 16"/>
                <a:gd name="T6" fmla="*/ 12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7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šľíḋé">
              <a:extLst>
                <a:ext uri="{FF2B5EF4-FFF2-40B4-BE49-F238E27FC236}">
                  <a16:creationId xmlns:a16="http://schemas.microsoft.com/office/drawing/2014/main" id="{472E64A4-E8AE-4787-BF72-933A7B6C71A9}"/>
                </a:ext>
              </a:extLst>
            </p:cNvPr>
            <p:cNvSpPr/>
            <p:nvPr/>
          </p:nvSpPr>
          <p:spPr bwMode="auto">
            <a:xfrm>
              <a:off x="4062880" y="1734757"/>
              <a:ext cx="108006" cy="58632"/>
            </a:xfrm>
            <a:custGeom>
              <a:avLst/>
              <a:gdLst>
                <a:gd name="T0" fmla="*/ 28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8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8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iṥ1ïḑè">
              <a:extLst>
                <a:ext uri="{FF2B5EF4-FFF2-40B4-BE49-F238E27FC236}">
                  <a16:creationId xmlns:a16="http://schemas.microsoft.com/office/drawing/2014/main" id="{BBF4EDA9-097B-4C4F-893C-BE40312B47DE}"/>
                </a:ext>
              </a:extLst>
            </p:cNvPr>
            <p:cNvSpPr/>
            <p:nvPr/>
          </p:nvSpPr>
          <p:spPr bwMode="auto">
            <a:xfrm>
              <a:off x="4183230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7 w 30"/>
                <a:gd name="T3" fmla="*/ 0 h 16"/>
                <a:gd name="T4" fmla="*/ 2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ṧlíḋê">
              <a:extLst>
                <a:ext uri="{FF2B5EF4-FFF2-40B4-BE49-F238E27FC236}">
                  <a16:creationId xmlns:a16="http://schemas.microsoft.com/office/drawing/2014/main" id="{E27FF0E7-D799-4AA9-B735-DF3609D88186}"/>
                </a:ext>
              </a:extLst>
            </p:cNvPr>
            <p:cNvSpPr/>
            <p:nvPr/>
          </p:nvSpPr>
          <p:spPr bwMode="auto">
            <a:xfrm>
              <a:off x="4306666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Sļîḓê">
              <a:extLst>
                <a:ext uri="{FF2B5EF4-FFF2-40B4-BE49-F238E27FC236}">
                  <a16:creationId xmlns:a16="http://schemas.microsoft.com/office/drawing/2014/main" id="{DB7E2484-8702-4ECC-B368-822B70529243}"/>
                </a:ext>
              </a:extLst>
            </p:cNvPr>
            <p:cNvSpPr/>
            <p:nvPr/>
          </p:nvSpPr>
          <p:spPr bwMode="auto">
            <a:xfrm>
              <a:off x="4427016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4" y="0"/>
                    <a:pt x="17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ïṡľíḍé">
              <a:extLst>
                <a:ext uri="{FF2B5EF4-FFF2-40B4-BE49-F238E27FC236}">
                  <a16:creationId xmlns:a16="http://schemas.microsoft.com/office/drawing/2014/main" id="{18580AF8-E738-4796-B5E2-278A8EB8E79B}"/>
                </a:ext>
              </a:extLst>
            </p:cNvPr>
            <p:cNvSpPr/>
            <p:nvPr/>
          </p:nvSpPr>
          <p:spPr bwMode="auto">
            <a:xfrm>
              <a:off x="4550451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ïṥļîḍè">
              <a:extLst>
                <a:ext uri="{FF2B5EF4-FFF2-40B4-BE49-F238E27FC236}">
                  <a16:creationId xmlns:a16="http://schemas.microsoft.com/office/drawing/2014/main" id="{AE5A1E31-BA93-4454-A5F6-2FC5EC06329D}"/>
                </a:ext>
              </a:extLst>
            </p:cNvPr>
            <p:cNvSpPr/>
            <p:nvPr/>
          </p:nvSpPr>
          <p:spPr bwMode="auto">
            <a:xfrm>
              <a:off x="4670801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şľîde">
              <a:extLst>
                <a:ext uri="{FF2B5EF4-FFF2-40B4-BE49-F238E27FC236}">
                  <a16:creationId xmlns:a16="http://schemas.microsoft.com/office/drawing/2014/main" id="{E9B68CB6-D333-48D2-AB74-088C66D20FF3}"/>
                </a:ext>
              </a:extLst>
            </p:cNvPr>
            <p:cNvSpPr/>
            <p:nvPr/>
          </p:nvSpPr>
          <p:spPr bwMode="auto">
            <a:xfrm>
              <a:off x="4795779" y="1734757"/>
              <a:ext cx="101834" cy="58632"/>
            </a:xfrm>
            <a:custGeom>
              <a:avLst/>
              <a:gdLst>
                <a:gd name="T0" fmla="*/ 28 w 28"/>
                <a:gd name="T1" fmla="*/ 8 h 16"/>
                <a:gd name="T2" fmla="*/ 15 w 28"/>
                <a:gd name="T3" fmla="*/ 0 h 16"/>
                <a:gd name="T4" fmla="*/ 0 w 28"/>
                <a:gd name="T5" fmla="*/ 8 h 16"/>
                <a:gd name="T6" fmla="*/ 13 w 28"/>
                <a:gd name="T7" fmla="*/ 16 h 16"/>
                <a:gd name="T8" fmla="*/ 28 w 28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6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0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ṣ1íḓê">
              <a:extLst>
                <a:ext uri="{FF2B5EF4-FFF2-40B4-BE49-F238E27FC236}">
                  <a16:creationId xmlns:a16="http://schemas.microsoft.com/office/drawing/2014/main" id="{A9544CEA-C62D-4C28-8EE0-5ABE94A26044}"/>
                </a:ext>
              </a:extLst>
            </p:cNvPr>
            <p:cNvSpPr/>
            <p:nvPr/>
          </p:nvSpPr>
          <p:spPr bwMode="auto">
            <a:xfrm>
              <a:off x="3919386" y="1804190"/>
              <a:ext cx="109550" cy="61718"/>
            </a:xfrm>
            <a:custGeom>
              <a:avLst/>
              <a:gdLst>
                <a:gd name="T0" fmla="*/ 28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2 w 30"/>
                <a:gd name="T7" fmla="*/ 17 h 17"/>
                <a:gd name="T8" fmla="*/ 28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8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ṥļiḓe">
              <a:extLst>
                <a:ext uri="{FF2B5EF4-FFF2-40B4-BE49-F238E27FC236}">
                  <a16:creationId xmlns:a16="http://schemas.microsoft.com/office/drawing/2014/main" id="{A7D6C266-510C-4F39-A676-0907042D820D}"/>
                </a:ext>
              </a:extLst>
            </p:cNvPr>
            <p:cNvSpPr/>
            <p:nvPr/>
          </p:nvSpPr>
          <p:spPr bwMode="auto">
            <a:xfrm>
              <a:off x="4039736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8 w 30"/>
                <a:gd name="T3" fmla="*/ 0 h 17"/>
                <a:gd name="T4" fmla="*/ 2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8" y="0"/>
                  </a:cubicBezTo>
                  <a:cubicBezTo>
                    <a:pt x="10" y="0"/>
                    <a:pt x="3" y="4"/>
                    <a:pt x="2" y="9"/>
                  </a:cubicBezTo>
                  <a:cubicBezTo>
                    <a:pt x="0" y="13"/>
                    <a:pt x="6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$líḓê">
              <a:extLst>
                <a:ext uri="{FF2B5EF4-FFF2-40B4-BE49-F238E27FC236}">
                  <a16:creationId xmlns:a16="http://schemas.microsoft.com/office/drawing/2014/main" id="{34698914-994B-45A7-B886-E2267DEA69C7}"/>
                </a:ext>
              </a:extLst>
            </p:cNvPr>
            <p:cNvSpPr/>
            <p:nvPr/>
          </p:nvSpPr>
          <p:spPr bwMode="auto">
            <a:xfrm>
              <a:off x="4164715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3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ṧ1îdê">
              <a:extLst>
                <a:ext uri="{FF2B5EF4-FFF2-40B4-BE49-F238E27FC236}">
                  <a16:creationId xmlns:a16="http://schemas.microsoft.com/office/drawing/2014/main" id="{8ABD5F05-E7F6-4B59-986F-B5780D801F8D}"/>
                </a:ext>
              </a:extLst>
            </p:cNvPr>
            <p:cNvSpPr/>
            <p:nvPr/>
          </p:nvSpPr>
          <p:spPr bwMode="auto">
            <a:xfrm>
              <a:off x="4288151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4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ṣľïḑè">
              <a:extLst>
                <a:ext uri="{FF2B5EF4-FFF2-40B4-BE49-F238E27FC236}">
                  <a16:creationId xmlns:a16="http://schemas.microsoft.com/office/drawing/2014/main" id="{C6BF2F14-B553-40A9-B164-8EA9118C074C}"/>
                </a:ext>
              </a:extLst>
            </p:cNvPr>
            <p:cNvSpPr/>
            <p:nvPr/>
          </p:nvSpPr>
          <p:spPr bwMode="auto">
            <a:xfrm>
              <a:off x="4413129" y="1804190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śḻîḓe">
              <a:extLst>
                <a:ext uri="{FF2B5EF4-FFF2-40B4-BE49-F238E27FC236}">
                  <a16:creationId xmlns:a16="http://schemas.microsoft.com/office/drawing/2014/main" id="{9F6BB2B8-19D2-4984-9CD4-DABC1F46E697}"/>
                </a:ext>
              </a:extLst>
            </p:cNvPr>
            <p:cNvSpPr/>
            <p:nvPr/>
          </p:nvSpPr>
          <p:spPr bwMode="auto">
            <a:xfrm>
              <a:off x="4536564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ṡļîďê">
              <a:extLst>
                <a:ext uri="{FF2B5EF4-FFF2-40B4-BE49-F238E27FC236}">
                  <a16:creationId xmlns:a16="http://schemas.microsoft.com/office/drawing/2014/main" id="{C993C176-A033-4FC3-A9E9-AFB8219ED099}"/>
                </a:ext>
              </a:extLst>
            </p:cNvPr>
            <p:cNvSpPr/>
            <p:nvPr/>
          </p:nvSpPr>
          <p:spPr bwMode="auto">
            <a:xfrm>
              <a:off x="4660000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0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3" y="0"/>
                    <a:pt x="16" y="0"/>
                  </a:cubicBezTo>
                  <a:cubicBezTo>
                    <a:pt x="8" y="0"/>
                    <a:pt x="1" y="4"/>
                    <a:pt x="0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ṣḷíḋe">
              <a:extLst>
                <a:ext uri="{FF2B5EF4-FFF2-40B4-BE49-F238E27FC236}">
                  <a16:creationId xmlns:a16="http://schemas.microsoft.com/office/drawing/2014/main" id="{CE97DEA2-9B4C-45DC-B315-9AB8DBA4AEA8}"/>
                </a:ext>
              </a:extLst>
            </p:cNvPr>
            <p:cNvSpPr/>
            <p:nvPr/>
          </p:nvSpPr>
          <p:spPr bwMode="auto">
            <a:xfrm>
              <a:off x="4780350" y="1804190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ṡlíḍè">
              <a:extLst>
                <a:ext uri="{FF2B5EF4-FFF2-40B4-BE49-F238E27FC236}">
                  <a16:creationId xmlns:a16="http://schemas.microsoft.com/office/drawing/2014/main" id="{2847CC89-79E1-410C-8BE5-61D91CCC6A5D}"/>
                </a:ext>
              </a:extLst>
            </p:cNvPr>
            <p:cNvSpPr/>
            <p:nvPr/>
          </p:nvSpPr>
          <p:spPr bwMode="auto">
            <a:xfrm>
              <a:off x="4022764" y="1878251"/>
              <a:ext cx="108006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śļiḑe">
              <a:extLst>
                <a:ext uri="{FF2B5EF4-FFF2-40B4-BE49-F238E27FC236}">
                  <a16:creationId xmlns:a16="http://schemas.microsoft.com/office/drawing/2014/main" id="{5E4985C9-A5D4-49DB-8646-C940A6871242}"/>
                </a:ext>
              </a:extLst>
            </p:cNvPr>
            <p:cNvSpPr/>
            <p:nvPr/>
          </p:nvSpPr>
          <p:spPr bwMode="auto">
            <a:xfrm>
              <a:off x="4146199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ṥḻíďè">
              <a:extLst>
                <a:ext uri="{FF2B5EF4-FFF2-40B4-BE49-F238E27FC236}">
                  <a16:creationId xmlns:a16="http://schemas.microsoft.com/office/drawing/2014/main" id="{D8E764BF-88B3-44BD-A3CD-75C37D016C97}"/>
                </a:ext>
              </a:extLst>
            </p:cNvPr>
            <p:cNvSpPr/>
            <p:nvPr/>
          </p:nvSpPr>
          <p:spPr bwMode="auto">
            <a:xfrm>
              <a:off x="4269635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ṧľiḑè">
              <a:extLst>
                <a:ext uri="{FF2B5EF4-FFF2-40B4-BE49-F238E27FC236}">
                  <a16:creationId xmlns:a16="http://schemas.microsoft.com/office/drawing/2014/main" id="{50FCE4DE-FE5C-4BD9-B56B-BC6111602920}"/>
                </a:ext>
              </a:extLst>
            </p:cNvPr>
            <p:cNvSpPr/>
            <p:nvPr/>
          </p:nvSpPr>
          <p:spPr bwMode="auto">
            <a:xfrm>
              <a:off x="4394613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4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íṡḻíḑè">
              <a:extLst>
                <a:ext uri="{FF2B5EF4-FFF2-40B4-BE49-F238E27FC236}">
                  <a16:creationId xmlns:a16="http://schemas.microsoft.com/office/drawing/2014/main" id="{00FD04E6-E087-4563-AE1F-49ADEB99A1E5}"/>
                </a:ext>
              </a:extLst>
            </p:cNvPr>
            <p:cNvSpPr/>
            <p:nvPr/>
          </p:nvSpPr>
          <p:spPr bwMode="auto">
            <a:xfrm>
              <a:off x="4522678" y="1878251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ṩľiḑe">
              <a:extLst>
                <a:ext uri="{FF2B5EF4-FFF2-40B4-BE49-F238E27FC236}">
                  <a16:creationId xmlns:a16="http://schemas.microsoft.com/office/drawing/2014/main" id="{66E9EE5B-32A7-4CA7-A648-0C4569E55767}"/>
                </a:ext>
              </a:extLst>
            </p:cNvPr>
            <p:cNvSpPr/>
            <p:nvPr/>
          </p:nvSpPr>
          <p:spPr bwMode="auto">
            <a:xfrm>
              <a:off x="4646114" y="1878251"/>
              <a:ext cx="104920" cy="61718"/>
            </a:xfrm>
            <a:custGeom>
              <a:avLst/>
              <a:gdLst>
                <a:gd name="T0" fmla="*/ 29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şḷîḑè">
              <a:extLst>
                <a:ext uri="{FF2B5EF4-FFF2-40B4-BE49-F238E27FC236}">
                  <a16:creationId xmlns:a16="http://schemas.microsoft.com/office/drawing/2014/main" id="{61769971-D058-485C-BB41-4C77EF0CB7CD}"/>
                </a:ext>
              </a:extLst>
            </p:cNvPr>
            <p:cNvSpPr/>
            <p:nvPr/>
          </p:nvSpPr>
          <p:spPr bwMode="auto">
            <a:xfrm>
              <a:off x="3999619" y="1953855"/>
              <a:ext cx="114178" cy="63261"/>
            </a:xfrm>
            <a:custGeom>
              <a:avLst/>
              <a:gdLst>
                <a:gd name="T0" fmla="*/ 29 w 31"/>
                <a:gd name="T1" fmla="*/ 8 h 17"/>
                <a:gd name="T2" fmla="*/ 18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31" y="4"/>
                    <a:pt x="25" y="0"/>
                    <a:pt x="18" y="0"/>
                  </a:cubicBezTo>
                  <a:cubicBezTo>
                    <a:pt x="10" y="0"/>
                    <a:pt x="2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ŝḷíḍè">
              <a:extLst>
                <a:ext uri="{FF2B5EF4-FFF2-40B4-BE49-F238E27FC236}">
                  <a16:creationId xmlns:a16="http://schemas.microsoft.com/office/drawing/2014/main" id="{25D0CCD7-0191-4418-9B8D-10B80F25B73B}"/>
                </a:ext>
              </a:extLst>
            </p:cNvPr>
            <p:cNvSpPr/>
            <p:nvPr/>
          </p:nvSpPr>
          <p:spPr bwMode="auto">
            <a:xfrm>
              <a:off x="4124598" y="1953855"/>
              <a:ext cx="112636" cy="63261"/>
            </a:xfrm>
            <a:custGeom>
              <a:avLst/>
              <a:gdLst>
                <a:gd name="T0" fmla="*/ 30 w 31"/>
                <a:gd name="T1" fmla="*/ 8 h 17"/>
                <a:gd name="T2" fmla="*/ 18 w 31"/>
                <a:gd name="T3" fmla="*/ 0 h 17"/>
                <a:gd name="T4" fmla="*/ 2 w 31"/>
                <a:gd name="T5" fmla="*/ 8 h 17"/>
                <a:gd name="T6" fmla="*/ 14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0" y="0"/>
                    <a:pt x="3" y="4"/>
                    <a:pt x="2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ṣḷiḋé">
              <a:extLst>
                <a:ext uri="{FF2B5EF4-FFF2-40B4-BE49-F238E27FC236}">
                  <a16:creationId xmlns:a16="http://schemas.microsoft.com/office/drawing/2014/main" id="{141E304C-117A-45DC-91D8-3F668B7D3430}"/>
                </a:ext>
              </a:extLst>
            </p:cNvPr>
            <p:cNvSpPr/>
            <p:nvPr/>
          </p:nvSpPr>
          <p:spPr bwMode="auto">
            <a:xfrm>
              <a:off x="4252662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7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31" y="4"/>
                    <a:pt x="25" y="0"/>
                    <a:pt x="17" y="0"/>
                  </a:cubicBezTo>
                  <a:cubicBezTo>
                    <a:pt x="10" y="0"/>
                    <a:pt x="2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sḷïde">
              <a:extLst>
                <a:ext uri="{FF2B5EF4-FFF2-40B4-BE49-F238E27FC236}">
                  <a16:creationId xmlns:a16="http://schemas.microsoft.com/office/drawing/2014/main" id="{FF7B9FA3-8F10-4FDF-B4BF-CD416E9E3B4F}"/>
                </a:ext>
              </a:extLst>
            </p:cNvPr>
            <p:cNvSpPr/>
            <p:nvPr/>
          </p:nvSpPr>
          <p:spPr bwMode="auto">
            <a:xfrm>
              <a:off x="4106083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8 w 31"/>
                <a:gd name="T3" fmla="*/ 0 h 17"/>
                <a:gd name="T4" fmla="*/ 1 w 31"/>
                <a:gd name="T5" fmla="*/ 9 h 17"/>
                <a:gd name="T6" fmla="*/ 13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5" y="0"/>
                    <a:pt x="18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ṣḷiďe">
              <a:extLst>
                <a:ext uri="{FF2B5EF4-FFF2-40B4-BE49-F238E27FC236}">
                  <a16:creationId xmlns:a16="http://schemas.microsoft.com/office/drawing/2014/main" id="{A95171B5-E01E-4484-B261-97EDB9311560}"/>
                </a:ext>
              </a:extLst>
            </p:cNvPr>
            <p:cNvSpPr/>
            <p:nvPr/>
          </p:nvSpPr>
          <p:spPr bwMode="auto">
            <a:xfrm>
              <a:off x="4883728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6 w 30"/>
                <a:gd name="T3" fmla="*/ 0 h 17"/>
                <a:gd name="T4" fmla="*/ 1 w 30"/>
                <a:gd name="T5" fmla="*/ 8 h 17"/>
                <a:gd name="T6" fmla="*/ 14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$ḻïḍê">
              <a:extLst>
                <a:ext uri="{FF2B5EF4-FFF2-40B4-BE49-F238E27FC236}">
                  <a16:creationId xmlns:a16="http://schemas.microsoft.com/office/drawing/2014/main" id="{EE24A8C4-9D72-41BD-B597-D0846FBAD34D}"/>
                </a:ext>
              </a:extLst>
            </p:cNvPr>
            <p:cNvSpPr/>
            <p:nvPr/>
          </p:nvSpPr>
          <p:spPr bwMode="auto">
            <a:xfrm>
              <a:off x="5010250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6 w 29"/>
                <a:gd name="T3" fmla="*/ 0 h 17"/>
                <a:gd name="T4" fmla="*/ 1 w 29"/>
                <a:gd name="T5" fmla="*/ 8 h 17"/>
                <a:gd name="T6" fmla="*/ 14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9" y="4"/>
                    <a:pt x="23" y="0"/>
                    <a:pt x="16" y="0"/>
                  </a:cubicBezTo>
                  <a:cubicBezTo>
                    <a:pt x="8" y="0"/>
                    <a:pt x="1" y="4"/>
                    <a:pt x="1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ṩ1ïḑê">
              <a:extLst>
                <a:ext uri="{FF2B5EF4-FFF2-40B4-BE49-F238E27FC236}">
                  <a16:creationId xmlns:a16="http://schemas.microsoft.com/office/drawing/2014/main" id="{63875DA7-4613-4C2C-A673-5B17CAEC3082}"/>
                </a:ext>
              </a:extLst>
            </p:cNvPr>
            <p:cNvSpPr/>
            <p:nvPr/>
          </p:nvSpPr>
          <p:spPr bwMode="auto">
            <a:xfrm>
              <a:off x="6525423" y="1953855"/>
              <a:ext cx="104920" cy="63261"/>
            </a:xfrm>
            <a:custGeom>
              <a:avLst/>
              <a:gdLst>
                <a:gd name="T0" fmla="*/ 28 w 29"/>
                <a:gd name="T1" fmla="*/ 8 h 17"/>
                <a:gd name="T2" fmla="*/ 13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S1íḍê">
              <a:extLst>
                <a:ext uri="{FF2B5EF4-FFF2-40B4-BE49-F238E27FC236}">
                  <a16:creationId xmlns:a16="http://schemas.microsoft.com/office/drawing/2014/main" id="{97BDFCD4-0726-4595-AA96-1BF747AF1052}"/>
                </a:ext>
              </a:extLst>
            </p:cNvPr>
            <p:cNvSpPr/>
            <p:nvPr/>
          </p:nvSpPr>
          <p:spPr bwMode="auto">
            <a:xfrm>
              <a:off x="6533137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4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S1ïḍè">
              <a:extLst>
                <a:ext uri="{FF2B5EF4-FFF2-40B4-BE49-F238E27FC236}">
                  <a16:creationId xmlns:a16="http://schemas.microsoft.com/office/drawing/2014/main" id="{969CCAF1-3AAD-47A1-A993-3E77A8244DFD}"/>
                </a:ext>
              </a:extLst>
            </p:cNvPr>
            <p:cNvSpPr/>
            <p:nvPr/>
          </p:nvSpPr>
          <p:spPr bwMode="auto">
            <a:xfrm>
              <a:off x="6539309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şḻîḍê">
              <a:extLst>
                <a:ext uri="{FF2B5EF4-FFF2-40B4-BE49-F238E27FC236}">
                  <a16:creationId xmlns:a16="http://schemas.microsoft.com/office/drawing/2014/main" id="{FE5D3C62-7BBE-468D-A449-2E82C1DE5A68}"/>
                </a:ext>
              </a:extLst>
            </p:cNvPr>
            <p:cNvSpPr/>
            <p:nvPr/>
          </p:nvSpPr>
          <p:spPr bwMode="auto">
            <a:xfrm>
              <a:off x="6557824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ṥḷîḑe">
              <a:extLst>
                <a:ext uri="{FF2B5EF4-FFF2-40B4-BE49-F238E27FC236}">
                  <a16:creationId xmlns:a16="http://schemas.microsoft.com/office/drawing/2014/main" id="{911B008B-DA61-487E-94AA-6EBF1E5F7026}"/>
                </a:ext>
              </a:extLst>
            </p:cNvPr>
            <p:cNvSpPr/>
            <p:nvPr/>
          </p:nvSpPr>
          <p:spPr bwMode="auto">
            <a:xfrm>
              <a:off x="6153572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5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S1ïḑê">
              <a:extLst>
                <a:ext uri="{FF2B5EF4-FFF2-40B4-BE49-F238E27FC236}">
                  <a16:creationId xmlns:a16="http://schemas.microsoft.com/office/drawing/2014/main" id="{0E21B537-5697-4C11-B341-081944429288}"/>
                </a:ext>
              </a:extLst>
            </p:cNvPr>
            <p:cNvSpPr/>
            <p:nvPr/>
          </p:nvSpPr>
          <p:spPr bwMode="auto">
            <a:xfrm>
              <a:off x="6284723" y="2108150"/>
              <a:ext cx="104920" cy="64804"/>
            </a:xfrm>
            <a:custGeom>
              <a:avLst/>
              <a:gdLst>
                <a:gd name="T0" fmla="*/ 29 w 29"/>
                <a:gd name="T1" fmla="*/ 9 h 18"/>
                <a:gd name="T2" fmla="*/ 14 w 29"/>
                <a:gd name="T3" fmla="*/ 0 h 18"/>
                <a:gd name="T4" fmla="*/ 0 w 29"/>
                <a:gd name="T5" fmla="*/ 9 h 18"/>
                <a:gd name="T6" fmla="*/ 15 w 29"/>
                <a:gd name="T7" fmla="*/ 18 h 18"/>
                <a:gd name="T8" fmla="*/ 29 w 29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8"/>
                    <a:pt x="15" y="18"/>
                  </a:cubicBezTo>
                  <a:cubicBezTo>
                    <a:pt x="23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ṧļïḑê">
              <a:extLst>
                <a:ext uri="{FF2B5EF4-FFF2-40B4-BE49-F238E27FC236}">
                  <a16:creationId xmlns:a16="http://schemas.microsoft.com/office/drawing/2014/main" id="{6A3F7238-A89C-4FCE-B575-D2B6602577FD}"/>
                </a:ext>
              </a:extLst>
            </p:cNvPr>
            <p:cNvSpPr/>
            <p:nvPr/>
          </p:nvSpPr>
          <p:spPr bwMode="auto">
            <a:xfrm>
              <a:off x="6412787" y="2108150"/>
              <a:ext cx="108006" cy="64804"/>
            </a:xfrm>
            <a:custGeom>
              <a:avLst/>
              <a:gdLst>
                <a:gd name="T0" fmla="*/ 29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šlïḋê">
              <a:extLst>
                <a:ext uri="{FF2B5EF4-FFF2-40B4-BE49-F238E27FC236}">
                  <a16:creationId xmlns:a16="http://schemas.microsoft.com/office/drawing/2014/main" id="{42E56A15-6AC2-4BFA-8BE5-C5A228CF97A2}"/>
                </a:ext>
              </a:extLst>
            </p:cNvPr>
            <p:cNvSpPr/>
            <p:nvPr/>
          </p:nvSpPr>
          <p:spPr bwMode="auto">
            <a:xfrm>
              <a:off x="6287809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1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şḷîḍè">
              <a:extLst>
                <a:ext uri="{FF2B5EF4-FFF2-40B4-BE49-F238E27FC236}">
                  <a16:creationId xmlns:a16="http://schemas.microsoft.com/office/drawing/2014/main" id="{F87C6E19-EC86-4F81-8BB7-E571C612AFA4}"/>
                </a:ext>
              </a:extLst>
            </p:cNvPr>
            <p:cNvSpPr/>
            <p:nvPr/>
          </p:nvSpPr>
          <p:spPr bwMode="auto">
            <a:xfrm>
              <a:off x="6418959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ïş1iḋe">
              <a:extLst>
                <a:ext uri="{FF2B5EF4-FFF2-40B4-BE49-F238E27FC236}">
                  <a16:creationId xmlns:a16="http://schemas.microsoft.com/office/drawing/2014/main" id="{3ECC3974-669B-4E27-8B59-F472F7D7AA42}"/>
                </a:ext>
              </a:extLst>
            </p:cNvPr>
            <p:cNvSpPr/>
            <p:nvPr/>
          </p:nvSpPr>
          <p:spPr bwMode="auto">
            <a:xfrm>
              <a:off x="6295524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ṧľïdè">
              <a:extLst>
                <a:ext uri="{FF2B5EF4-FFF2-40B4-BE49-F238E27FC236}">
                  <a16:creationId xmlns:a16="http://schemas.microsoft.com/office/drawing/2014/main" id="{BA9B828B-A013-46BE-8A3B-21DAB3BD3010}"/>
                </a:ext>
              </a:extLst>
            </p:cNvPr>
            <p:cNvSpPr/>
            <p:nvPr/>
          </p:nvSpPr>
          <p:spPr bwMode="auto">
            <a:xfrm>
              <a:off x="6426674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šľíḍé">
              <a:extLst>
                <a:ext uri="{FF2B5EF4-FFF2-40B4-BE49-F238E27FC236}">
                  <a16:creationId xmlns:a16="http://schemas.microsoft.com/office/drawing/2014/main" id="{FA2EFECB-EE8A-441C-991B-5ABBF7C92774}"/>
                </a:ext>
              </a:extLst>
            </p:cNvPr>
            <p:cNvSpPr/>
            <p:nvPr/>
          </p:nvSpPr>
          <p:spPr bwMode="auto">
            <a:xfrm>
              <a:off x="6298609" y="2356565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5"/>
                    <a:pt x="8" y="19"/>
                    <a:pt x="17" y="19"/>
                  </a:cubicBezTo>
                  <a:cubicBezTo>
                    <a:pt x="25" y="19"/>
                    <a:pt x="31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ṥľïḓè">
              <a:extLst>
                <a:ext uri="{FF2B5EF4-FFF2-40B4-BE49-F238E27FC236}">
                  <a16:creationId xmlns:a16="http://schemas.microsoft.com/office/drawing/2014/main" id="{0CCDD716-E97D-46D7-9135-4F326341ACBE}"/>
                </a:ext>
              </a:extLst>
            </p:cNvPr>
            <p:cNvSpPr/>
            <p:nvPr/>
          </p:nvSpPr>
          <p:spPr bwMode="auto">
            <a:xfrm>
              <a:off x="6434389" y="2356565"/>
              <a:ext cx="112636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6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5"/>
                    <a:pt x="8" y="19"/>
                    <a:pt x="16" y="19"/>
                  </a:cubicBezTo>
                  <a:cubicBezTo>
                    <a:pt x="25" y="19"/>
                    <a:pt x="31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šlïḓé">
              <a:extLst>
                <a:ext uri="{FF2B5EF4-FFF2-40B4-BE49-F238E27FC236}">
                  <a16:creationId xmlns:a16="http://schemas.microsoft.com/office/drawing/2014/main" id="{5B96D65B-B584-4E3F-B49F-38847C210C5A}"/>
                </a:ext>
              </a:extLst>
            </p:cNvPr>
            <p:cNvSpPr/>
            <p:nvPr/>
          </p:nvSpPr>
          <p:spPr bwMode="auto">
            <a:xfrm>
              <a:off x="5886643" y="1878251"/>
              <a:ext cx="101834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4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şļîďé">
              <a:extLst>
                <a:ext uri="{FF2B5EF4-FFF2-40B4-BE49-F238E27FC236}">
                  <a16:creationId xmlns:a16="http://schemas.microsoft.com/office/drawing/2014/main" id="{E5F96D81-EAF4-449C-B37B-B3F1187E78C6}"/>
                </a:ext>
              </a:extLst>
            </p:cNvPr>
            <p:cNvSpPr/>
            <p:nvPr/>
          </p:nvSpPr>
          <p:spPr bwMode="auto">
            <a:xfrm>
              <a:off x="6010079" y="1878251"/>
              <a:ext cx="103378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4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śľíḓé">
              <a:extLst>
                <a:ext uri="{FF2B5EF4-FFF2-40B4-BE49-F238E27FC236}">
                  <a16:creationId xmlns:a16="http://schemas.microsoft.com/office/drawing/2014/main" id="{BF61AC26-26B7-4402-8FEE-C9FDD1742D42}"/>
                </a:ext>
              </a:extLst>
            </p:cNvPr>
            <p:cNvSpPr/>
            <p:nvPr/>
          </p:nvSpPr>
          <p:spPr bwMode="auto">
            <a:xfrm>
              <a:off x="6135057" y="1878251"/>
              <a:ext cx="101834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5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íSḻïdè">
              <a:extLst>
                <a:ext uri="{FF2B5EF4-FFF2-40B4-BE49-F238E27FC236}">
                  <a16:creationId xmlns:a16="http://schemas.microsoft.com/office/drawing/2014/main" id="{6B6CCE83-7DE0-45A6-AB0F-89E51E223AD6}"/>
                </a:ext>
              </a:extLst>
            </p:cNvPr>
            <p:cNvSpPr/>
            <p:nvPr/>
          </p:nvSpPr>
          <p:spPr bwMode="auto">
            <a:xfrm>
              <a:off x="6258493" y="1878251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ŝļiḓê">
              <a:extLst>
                <a:ext uri="{FF2B5EF4-FFF2-40B4-BE49-F238E27FC236}">
                  <a16:creationId xmlns:a16="http://schemas.microsoft.com/office/drawing/2014/main" id="{72F5AF2E-0305-4ADA-8437-7CD4ED7C0EF4}"/>
                </a:ext>
              </a:extLst>
            </p:cNvPr>
            <p:cNvSpPr/>
            <p:nvPr/>
          </p:nvSpPr>
          <p:spPr bwMode="auto">
            <a:xfrm>
              <a:off x="6383472" y="1878251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Slîḍè">
              <a:extLst>
                <a:ext uri="{FF2B5EF4-FFF2-40B4-BE49-F238E27FC236}">
                  <a16:creationId xmlns:a16="http://schemas.microsoft.com/office/drawing/2014/main" id="{5FF00E89-0456-458D-ABD7-A7E48A043E79}"/>
                </a:ext>
              </a:extLst>
            </p:cNvPr>
            <p:cNvSpPr/>
            <p:nvPr/>
          </p:nvSpPr>
          <p:spPr bwMode="auto">
            <a:xfrm>
              <a:off x="5758578" y="1953855"/>
              <a:ext cx="106464" cy="63261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$1ïḑe">
              <a:extLst>
                <a:ext uri="{FF2B5EF4-FFF2-40B4-BE49-F238E27FC236}">
                  <a16:creationId xmlns:a16="http://schemas.microsoft.com/office/drawing/2014/main" id="{A215E2FB-AD8B-4879-90D8-B7BCFE8F0071}"/>
                </a:ext>
              </a:extLst>
            </p:cNvPr>
            <p:cNvSpPr/>
            <p:nvPr/>
          </p:nvSpPr>
          <p:spPr bwMode="auto">
            <a:xfrm>
              <a:off x="5886643" y="1953855"/>
              <a:ext cx="101834" cy="63261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s1ïḑe">
              <a:extLst>
                <a:ext uri="{FF2B5EF4-FFF2-40B4-BE49-F238E27FC236}">
                  <a16:creationId xmlns:a16="http://schemas.microsoft.com/office/drawing/2014/main" id="{2EF8AE44-2152-4CC3-B7BF-9DF07D336ECF}"/>
                </a:ext>
              </a:extLst>
            </p:cNvPr>
            <p:cNvSpPr/>
            <p:nvPr/>
          </p:nvSpPr>
          <p:spPr bwMode="auto">
            <a:xfrm>
              <a:off x="6010079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4 w 29"/>
                <a:gd name="T3" fmla="*/ 0 h 17"/>
                <a:gd name="T4" fmla="*/ 1 w 29"/>
                <a:gd name="T5" fmla="*/ 8 h 17"/>
                <a:gd name="T6" fmla="*/ 15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1" y="8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ṡḷîḍé">
              <a:extLst>
                <a:ext uri="{FF2B5EF4-FFF2-40B4-BE49-F238E27FC236}">
                  <a16:creationId xmlns:a16="http://schemas.microsoft.com/office/drawing/2014/main" id="{9E58405E-A6A3-413B-B940-5C5B19360573}"/>
                </a:ext>
              </a:extLst>
            </p:cNvPr>
            <p:cNvSpPr/>
            <p:nvPr/>
          </p:nvSpPr>
          <p:spPr bwMode="auto">
            <a:xfrm>
              <a:off x="6138143" y="1953855"/>
              <a:ext cx="106464" cy="63261"/>
            </a:xfrm>
            <a:custGeom>
              <a:avLst/>
              <a:gdLst>
                <a:gd name="T0" fmla="*/ 28 w 29"/>
                <a:gd name="T1" fmla="*/ 8 h 17"/>
                <a:gd name="T2" fmla="*/ 14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îŝḷïḍe">
              <a:extLst>
                <a:ext uri="{FF2B5EF4-FFF2-40B4-BE49-F238E27FC236}">
                  <a16:creationId xmlns:a16="http://schemas.microsoft.com/office/drawing/2014/main" id="{913FCF26-C7F2-4119-9A05-6643E2288DB8}"/>
                </a:ext>
              </a:extLst>
            </p:cNvPr>
            <p:cNvSpPr/>
            <p:nvPr/>
          </p:nvSpPr>
          <p:spPr bwMode="auto">
            <a:xfrm>
              <a:off x="6263122" y="1953855"/>
              <a:ext cx="104920" cy="63261"/>
            </a:xfrm>
            <a:custGeom>
              <a:avLst/>
              <a:gdLst>
                <a:gd name="T0" fmla="*/ 29 w 29"/>
                <a:gd name="T1" fmla="*/ 8 h 17"/>
                <a:gd name="T2" fmla="*/ 14 w 29"/>
                <a:gd name="T3" fmla="*/ 0 h 17"/>
                <a:gd name="T4" fmla="*/ 1 w 29"/>
                <a:gd name="T5" fmla="*/ 8 h 17"/>
                <a:gd name="T6" fmla="*/ 15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slîḑê">
              <a:extLst>
                <a:ext uri="{FF2B5EF4-FFF2-40B4-BE49-F238E27FC236}">
                  <a16:creationId xmlns:a16="http://schemas.microsoft.com/office/drawing/2014/main" id="{443EF13A-DC3C-4349-8AA5-36AA49E48A7B}"/>
                </a:ext>
              </a:extLst>
            </p:cNvPr>
            <p:cNvSpPr/>
            <p:nvPr/>
          </p:nvSpPr>
          <p:spPr bwMode="auto">
            <a:xfrm>
              <a:off x="6389644" y="1953855"/>
              <a:ext cx="106464" cy="63261"/>
            </a:xfrm>
            <a:custGeom>
              <a:avLst/>
              <a:gdLst>
                <a:gd name="T0" fmla="*/ 28 w 29"/>
                <a:gd name="T1" fmla="*/ 8 h 17"/>
                <a:gd name="T2" fmla="*/ 14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Sḷiḓé">
              <a:extLst>
                <a:ext uri="{FF2B5EF4-FFF2-40B4-BE49-F238E27FC236}">
                  <a16:creationId xmlns:a16="http://schemas.microsoft.com/office/drawing/2014/main" id="{06BB5066-C64D-4A10-818C-D96B54CCD77D}"/>
                </a:ext>
              </a:extLst>
            </p:cNvPr>
            <p:cNvSpPr/>
            <p:nvPr/>
          </p:nvSpPr>
          <p:spPr bwMode="auto">
            <a:xfrm>
              <a:off x="563051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5 w 29"/>
                <a:gd name="T3" fmla="*/ 0 h 17"/>
                <a:gd name="T4" fmla="*/ 0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ṣľîḋê">
              <a:extLst>
                <a:ext uri="{FF2B5EF4-FFF2-40B4-BE49-F238E27FC236}">
                  <a16:creationId xmlns:a16="http://schemas.microsoft.com/office/drawing/2014/main" id="{FE138E9D-9643-4F7D-97E8-C2B35321394E}"/>
                </a:ext>
              </a:extLst>
            </p:cNvPr>
            <p:cNvSpPr/>
            <p:nvPr/>
          </p:nvSpPr>
          <p:spPr bwMode="auto">
            <a:xfrm>
              <a:off x="5758578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5 w 29"/>
                <a:gd name="T3" fmla="*/ 0 h 17"/>
                <a:gd name="T4" fmla="*/ 0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3"/>
                    <a:pt x="7" y="17"/>
                    <a:pt x="14" y="17"/>
                  </a:cubicBezTo>
                  <a:cubicBezTo>
                    <a:pt x="22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ŝ1ídè">
              <a:extLst>
                <a:ext uri="{FF2B5EF4-FFF2-40B4-BE49-F238E27FC236}">
                  <a16:creationId xmlns:a16="http://schemas.microsoft.com/office/drawing/2014/main" id="{6CC08ECC-60EC-42AA-B655-0BD89F6C2352}"/>
                </a:ext>
              </a:extLst>
            </p:cNvPr>
            <p:cNvSpPr/>
            <p:nvPr/>
          </p:nvSpPr>
          <p:spPr bwMode="auto">
            <a:xfrm>
              <a:off x="5886643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śļîdé">
              <a:extLst>
                <a:ext uri="{FF2B5EF4-FFF2-40B4-BE49-F238E27FC236}">
                  <a16:creationId xmlns:a16="http://schemas.microsoft.com/office/drawing/2014/main" id="{D7E15A2A-55E7-41E7-B902-F136EE754BF4}"/>
                </a:ext>
              </a:extLst>
            </p:cNvPr>
            <p:cNvSpPr/>
            <p:nvPr/>
          </p:nvSpPr>
          <p:spPr bwMode="auto">
            <a:xfrm>
              <a:off x="614894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1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îSḷïḓè">
              <a:extLst>
                <a:ext uri="{FF2B5EF4-FFF2-40B4-BE49-F238E27FC236}">
                  <a16:creationId xmlns:a16="http://schemas.microsoft.com/office/drawing/2014/main" id="{8AEA40AC-311A-42A7-AA07-8309B75E5570}"/>
                </a:ext>
              </a:extLst>
            </p:cNvPr>
            <p:cNvSpPr/>
            <p:nvPr/>
          </p:nvSpPr>
          <p:spPr bwMode="auto">
            <a:xfrm>
              <a:off x="626929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$ľiḋé">
              <a:extLst>
                <a:ext uri="{FF2B5EF4-FFF2-40B4-BE49-F238E27FC236}">
                  <a16:creationId xmlns:a16="http://schemas.microsoft.com/office/drawing/2014/main" id="{714864F4-2101-4BD1-99CC-28873AA36953}"/>
                </a:ext>
              </a:extLst>
            </p:cNvPr>
            <p:cNvSpPr/>
            <p:nvPr/>
          </p:nvSpPr>
          <p:spPr bwMode="auto">
            <a:xfrm>
              <a:off x="6397358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Sḷídê">
              <a:extLst>
                <a:ext uri="{FF2B5EF4-FFF2-40B4-BE49-F238E27FC236}">
                  <a16:creationId xmlns:a16="http://schemas.microsoft.com/office/drawing/2014/main" id="{C7A07CB8-B013-4938-9EA6-621A084139F0}"/>
                </a:ext>
              </a:extLst>
            </p:cNvPr>
            <p:cNvSpPr/>
            <p:nvPr/>
          </p:nvSpPr>
          <p:spPr bwMode="auto">
            <a:xfrm>
              <a:off x="5627428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5 w 30"/>
                <a:gd name="T3" fmla="*/ 0 h 18"/>
                <a:gd name="T4" fmla="*/ 1 w 30"/>
                <a:gd name="T5" fmla="*/ 9 h 18"/>
                <a:gd name="T6" fmla="*/ 15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1" y="9"/>
                  </a:cubicBezTo>
                  <a:cubicBezTo>
                    <a:pt x="0" y="14"/>
                    <a:pt x="7" y="18"/>
                    <a:pt x="15" y="18"/>
                  </a:cubicBezTo>
                  <a:cubicBezTo>
                    <a:pt x="23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šļïḍê">
              <a:extLst>
                <a:ext uri="{FF2B5EF4-FFF2-40B4-BE49-F238E27FC236}">
                  <a16:creationId xmlns:a16="http://schemas.microsoft.com/office/drawing/2014/main" id="{869CF83D-0706-48D8-BBA3-32C2532C8A96}"/>
                </a:ext>
              </a:extLst>
            </p:cNvPr>
            <p:cNvSpPr/>
            <p:nvPr/>
          </p:nvSpPr>
          <p:spPr bwMode="auto">
            <a:xfrm>
              <a:off x="5758578" y="2108150"/>
              <a:ext cx="106464" cy="64804"/>
            </a:xfrm>
            <a:custGeom>
              <a:avLst/>
              <a:gdLst>
                <a:gd name="T0" fmla="*/ 29 w 29"/>
                <a:gd name="T1" fmla="*/ 9 h 18"/>
                <a:gd name="T2" fmla="*/ 14 w 29"/>
                <a:gd name="T3" fmla="*/ 0 h 18"/>
                <a:gd name="T4" fmla="*/ 0 w 29"/>
                <a:gd name="T5" fmla="*/ 9 h 18"/>
                <a:gd name="T6" fmla="*/ 14 w 29"/>
                <a:gd name="T7" fmla="*/ 18 h 18"/>
                <a:gd name="T8" fmla="*/ 29 w 29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22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ṧḻïḍè">
              <a:extLst>
                <a:ext uri="{FF2B5EF4-FFF2-40B4-BE49-F238E27FC236}">
                  <a16:creationId xmlns:a16="http://schemas.microsoft.com/office/drawing/2014/main" id="{BF71AA7B-7B8C-4122-9A5F-C9D722F2424F}"/>
                </a:ext>
              </a:extLst>
            </p:cNvPr>
            <p:cNvSpPr/>
            <p:nvPr/>
          </p:nvSpPr>
          <p:spPr bwMode="auto">
            <a:xfrm>
              <a:off x="5886643" y="2108150"/>
              <a:ext cx="106464" cy="64804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šḻiḍé">
              <a:extLst>
                <a:ext uri="{FF2B5EF4-FFF2-40B4-BE49-F238E27FC236}">
                  <a16:creationId xmlns:a16="http://schemas.microsoft.com/office/drawing/2014/main" id="{2B09C5D9-CF56-44D5-A104-9653A849B808}"/>
                </a:ext>
              </a:extLst>
            </p:cNvPr>
            <p:cNvSpPr/>
            <p:nvPr/>
          </p:nvSpPr>
          <p:spPr bwMode="auto">
            <a:xfrm>
              <a:off x="5635142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1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1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ṧḻiďe">
              <a:extLst>
                <a:ext uri="{FF2B5EF4-FFF2-40B4-BE49-F238E27FC236}">
                  <a16:creationId xmlns:a16="http://schemas.microsoft.com/office/drawing/2014/main" id="{BC30E1B2-E741-4934-B295-20BDAF5E1281}"/>
                </a:ext>
              </a:extLst>
            </p:cNvPr>
            <p:cNvSpPr/>
            <p:nvPr/>
          </p:nvSpPr>
          <p:spPr bwMode="auto">
            <a:xfrm>
              <a:off x="5766293" y="2188383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$ľíďe">
              <a:extLst>
                <a:ext uri="{FF2B5EF4-FFF2-40B4-BE49-F238E27FC236}">
                  <a16:creationId xmlns:a16="http://schemas.microsoft.com/office/drawing/2014/main" id="{A246F42C-E55E-431C-8E88-1A4BEF8C0305}"/>
                </a:ext>
              </a:extLst>
            </p:cNvPr>
            <p:cNvSpPr/>
            <p:nvPr/>
          </p:nvSpPr>
          <p:spPr bwMode="auto">
            <a:xfrm>
              <a:off x="5897443" y="2188383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šlïḍe">
              <a:extLst>
                <a:ext uri="{FF2B5EF4-FFF2-40B4-BE49-F238E27FC236}">
                  <a16:creationId xmlns:a16="http://schemas.microsoft.com/office/drawing/2014/main" id="{C94AC5B1-521F-4B13-BAC5-4A9DB5316F5D}"/>
                </a:ext>
              </a:extLst>
            </p:cNvPr>
            <p:cNvSpPr/>
            <p:nvPr/>
          </p:nvSpPr>
          <p:spPr bwMode="auto">
            <a:xfrm>
              <a:off x="6028594" y="2188383"/>
              <a:ext cx="106464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ṧļïďê">
              <a:extLst>
                <a:ext uri="{FF2B5EF4-FFF2-40B4-BE49-F238E27FC236}">
                  <a16:creationId xmlns:a16="http://schemas.microsoft.com/office/drawing/2014/main" id="{F7D938E4-4D95-4CC3-BF7F-50CCBF5A4585}"/>
                </a:ext>
              </a:extLst>
            </p:cNvPr>
            <p:cNvSpPr/>
            <p:nvPr/>
          </p:nvSpPr>
          <p:spPr bwMode="auto">
            <a:xfrm>
              <a:off x="6159744" y="2188383"/>
              <a:ext cx="106464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şḷiďè">
              <a:extLst>
                <a:ext uri="{FF2B5EF4-FFF2-40B4-BE49-F238E27FC236}">
                  <a16:creationId xmlns:a16="http://schemas.microsoft.com/office/drawing/2014/main" id="{83FA59BF-DDB3-4443-863E-5005536410C8}"/>
                </a:ext>
              </a:extLst>
            </p:cNvPr>
            <p:cNvSpPr/>
            <p:nvPr/>
          </p:nvSpPr>
          <p:spPr bwMode="auto">
            <a:xfrm>
              <a:off x="5379013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5 w 30"/>
                <a:gd name="T3" fmla="*/ 0 h 18"/>
                <a:gd name="T4" fmla="*/ 0 w 30"/>
                <a:gd name="T5" fmla="*/ 9 h 18"/>
                <a:gd name="T6" fmla="*/ 14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22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śļiḍe">
              <a:extLst>
                <a:ext uri="{FF2B5EF4-FFF2-40B4-BE49-F238E27FC236}">
                  <a16:creationId xmlns:a16="http://schemas.microsoft.com/office/drawing/2014/main" id="{AFD1D6C0-8904-4A51-AC3D-327B264CB244}"/>
                </a:ext>
              </a:extLst>
            </p:cNvPr>
            <p:cNvSpPr/>
            <p:nvPr/>
          </p:nvSpPr>
          <p:spPr bwMode="auto">
            <a:xfrm>
              <a:off x="5244777" y="2188383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s1îḍè">
              <a:extLst>
                <a:ext uri="{FF2B5EF4-FFF2-40B4-BE49-F238E27FC236}">
                  <a16:creationId xmlns:a16="http://schemas.microsoft.com/office/drawing/2014/main" id="{B40B5125-25A0-4E26-9312-16A9F8F23244}"/>
                </a:ext>
              </a:extLst>
            </p:cNvPr>
            <p:cNvSpPr/>
            <p:nvPr/>
          </p:nvSpPr>
          <p:spPr bwMode="auto">
            <a:xfrm>
              <a:off x="5375927" y="2188383"/>
              <a:ext cx="104920" cy="69433"/>
            </a:xfrm>
            <a:custGeom>
              <a:avLst/>
              <a:gdLst>
                <a:gd name="T0" fmla="*/ 29 w 29"/>
                <a:gd name="T1" fmla="*/ 9 h 19"/>
                <a:gd name="T2" fmla="*/ 15 w 29"/>
                <a:gd name="T3" fmla="*/ 0 h 19"/>
                <a:gd name="T4" fmla="*/ 0 w 29"/>
                <a:gd name="T5" fmla="*/ 9 h 19"/>
                <a:gd name="T6" fmla="*/ 14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íṣḻïḋé">
              <a:extLst>
                <a:ext uri="{FF2B5EF4-FFF2-40B4-BE49-F238E27FC236}">
                  <a16:creationId xmlns:a16="http://schemas.microsoft.com/office/drawing/2014/main" id="{D430C6E2-FB33-454C-B4B2-125484A4018E}"/>
                </a:ext>
              </a:extLst>
            </p:cNvPr>
            <p:cNvSpPr/>
            <p:nvPr/>
          </p:nvSpPr>
          <p:spPr bwMode="auto">
            <a:xfrm>
              <a:off x="5237062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6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ïṥļïďé">
              <a:extLst>
                <a:ext uri="{FF2B5EF4-FFF2-40B4-BE49-F238E27FC236}">
                  <a16:creationId xmlns:a16="http://schemas.microsoft.com/office/drawing/2014/main" id="{82565D9C-41FD-4E87-AD69-4F2417F44EE3}"/>
                </a:ext>
              </a:extLst>
            </p:cNvPr>
            <p:cNvSpPr/>
            <p:nvPr/>
          </p:nvSpPr>
          <p:spPr bwMode="auto">
            <a:xfrm>
              <a:off x="5499363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6 w 30"/>
                <a:gd name="T3" fmla="*/ 0 h 19"/>
                <a:gd name="T4" fmla="*/ 1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8" y="0"/>
                    <a:pt x="1" y="4"/>
                    <a:pt x="1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išḻïḑê">
              <a:extLst>
                <a:ext uri="{FF2B5EF4-FFF2-40B4-BE49-F238E27FC236}">
                  <a16:creationId xmlns:a16="http://schemas.microsoft.com/office/drawing/2014/main" id="{BF0D7B8B-D211-4E7F-9E53-A8FA2B77EE57}"/>
                </a:ext>
              </a:extLst>
            </p:cNvPr>
            <p:cNvSpPr/>
            <p:nvPr/>
          </p:nvSpPr>
          <p:spPr bwMode="auto">
            <a:xfrm>
              <a:off x="5635142" y="2271702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íṡlïḓé">
              <a:extLst>
                <a:ext uri="{FF2B5EF4-FFF2-40B4-BE49-F238E27FC236}">
                  <a16:creationId xmlns:a16="http://schemas.microsoft.com/office/drawing/2014/main" id="{5AB2AC51-C2DE-4734-9691-874E1DD8A19B}"/>
                </a:ext>
              </a:extLst>
            </p:cNvPr>
            <p:cNvSpPr/>
            <p:nvPr/>
          </p:nvSpPr>
          <p:spPr bwMode="auto">
            <a:xfrm>
              <a:off x="5766293" y="2271702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ṥľiďe">
              <a:extLst>
                <a:ext uri="{FF2B5EF4-FFF2-40B4-BE49-F238E27FC236}">
                  <a16:creationId xmlns:a16="http://schemas.microsoft.com/office/drawing/2014/main" id="{4B4067A5-1FC5-47E5-86F7-4AB7F7549C1D}"/>
                </a:ext>
              </a:extLst>
            </p:cNvPr>
            <p:cNvSpPr/>
            <p:nvPr/>
          </p:nvSpPr>
          <p:spPr bwMode="auto">
            <a:xfrm>
              <a:off x="5897443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ṣľíḑè">
              <a:extLst>
                <a:ext uri="{FF2B5EF4-FFF2-40B4-BE49-F238E27FC236}">
                  <a16:creationId xmlns:a16="http://schemas.microsoft.com/office/drawing/2014/main" id="{CBD9B9C1-CFF1-43AC-9455-050C0DD12B63}"/>
                </a:ext>
              </a:extLst>
            </p:cNvPr>
            <p:cNvSpPr/>
            <p:nvPr/>
          </p:nvSpPr>
          <p:spPr bwMode="auto">
            <a:xfrm>
              <a:off x="6033223" y="2271702"/>
              <a:ext cx="104920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ṣļidè">
              <a:extLst>
                <a:ext uri="{FF2B5EF4-FFF2-40B4-BE49-F238E27FC236}">
                  <a16:creationId xmlns:a16="http://schemas.microsoft.com/office/drawing/2014/main" id="{6078E78B-2BBC-468B-97A6-C4B13417E6F1}"/>
                </a:ext>
              </a:extLst>
            </p:cNvPr>
            <p:cNvSpPr/>
            <p:nvPr/>
          </p:nvSpPr>
          <p:spPr bwMode="auto">
            <a:xfrm>
              <a:off x="6164374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ṧliďé">
              <a:extLst>
                <a:ext uri="{FF2B5EF4-FFF2-40B4-BE49-F238E27FC236}">
                  <a16:creationId xmlns:a16="http://schemas.microsoft.com/office/drawing/2014/main" id="{4AECC5FA-FB32-425D-8769-5CE3B381F789}"/>
                </a:ext>
              </a:extLst>
            </p:cNvPr>
            <p:cNvSpPr/>
            <p:nvPr/>
          </p:nvSpPr>
          <p:spPr bwMode="auto">
            <a:xfrm>
              <a:off x="5360498" y="2356565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6 w 31"/>
                <a:gd name="T3" fmla="*/ 0 h 19"/>
                <a:gd name="T4" fmla="*/ 1 w 31"/>
                <a:gd name="T5" fmla="*/ 9 h 19"/>
                <a:gd name="T6" fmla="*/ 15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1" y="4"/>
                    <a:pt x="25" y="0"/>
                    <a:pt x="16" y="0"/>
                  </a:cubicBezTo>
                  <a:cubicBezTo>
                    <a:pt x="8" y="0"/>
                    <a:pt x="1" y="4"/>
                    <a:pt x="1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íşļiḋe">
              <a:extLst>
                <a:ext uri="{FF2B5EF4-FFF2-40B4-BE49-F238E27FC236}">
                  <a16:creationId xmlns:a16="http://schemas.microsoft.com/office/drawing/2014/main" id="{A0848356-55E0-47AA-A162-2190AEF18703}"/>
                </a:ext>
              </a:extLst>
            </p:cNvPr>
            <p:cNvSpPr/>
            <p:nvPr/>
          </p:nvSpPr>
          <p:spPr bwMode="auto">
            <a:xfrm>
              <a:off x="5496277" y="2356565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6 w 31"/>
                <a:gd name="T3" fmla="*/ 0 h 19"/>
                <a:gd name="T4" fmla="*/ 0 w 31"/>
                <a:gd name="T5" fmla="*/ 9 h 19"/>
                <a:gd name="T6" fmla="*/ 15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8" y="0"/>
                    <a:pt x="1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ṩḷíḍé">
              <a:extLst>
                <a:ext uri="{FF2B5EF4-FFF2-40B4-BE49-F238E27FC236}">
                  <a16:creationId xmlns:a16="http://schemas.microsoft.com/office/drawing/2014/main" id="{E7C03984-977D-42E2-B288-50D95958F436}"/>
                </a:ext>
              </a:extLst>
            </p:cNvPr>
            <p:cNvSpPr/>
            <p:nvPr/>
          </p:nvSpPr>
          <p:spPr bwMode="auto">
            <a:xfrm>
              <a:off x="5630514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šḷíḑè">
              <a:extLst>
                <a:ext uri="{FF2B5EF4-FFF2-40B4-BE49-F238E27FC236}">
                  <a16:creationId xmlns:a16="http://schemas.microsoft.com/office/drawing/2014/main" id="{DBC245B8-6943-4470-837C-865E55DDC94B}"/>
                </a:ext>
              </a:extLst>
            </p:cNvPr>
            <p:cNvSpPr/>
            <p:nvPr/>
          </p:nvSpPr>
          <p:spPr bwMode="auto">
            <a:xfrm>
              <a:off x="5766293" y="2356565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ṧľîďê">
              <a:extLst>
                <a:ext uri="{FF2B5EF4-FFF2-40B4-BE49-F238E27FC236}">
                  <a16:creationId xmlns:a16="http://schemas.microsoft.com/office/drawing/2014/main" id="{E0DB36CC-8B68-4541-B953-B87C5EB06B32}"/>
                </a:ext>
              </a:extLst>
            </p:cNvPr>
            <p:cNvSpPr/>
            <p:nvPr/>
          </p:nvSpPr>
          <p:spPr bwMode="auto">
            <a:xfrm>
              <a:off x="5900529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3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Slïdê">
              <a:extLst>
                <a:ext uri="{FF2B5EF4-FFF2-40B4-BE49-F238E27FC236}">
                  <a16:creationId xmlns:a16="http://schemas.microsoft.com/office/drawing/2014/main" id="{0B554091-1C85-47FF-BCC1-42FC40541C24}"/>
                </a:ext>
              </a:extLst>
            </p:cNvPr>
            <p:cNvSpPr/>
            <p:nvPr/>
          </p:nvSpPr>
          <p:spPr bwMode="auto">
            <a:xfrm>
              <a:off x="6033223" y="2356565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5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1" y="15"/>
                    <a:pt x="7" y="19"/>
                    <a:pt x="16" y="19"/>
                  </a:cubicBezTo>
                  <a:cubicBezTo>
                    <a:pt x="24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íṡļïḑê">
              <a:extLst>
                <a:ext uri="{FF2B5EF4-FFF2-40B4-BE49-F238E27FC236}">
                  <a16:creationId xmlns:a16="http://schemas.microsoft.com/office/drawing/2014/main" id="{75FD0FA1-2BC6-4D84-B1C3-A856060BC318}"/>
                </a:ext>
              </a:extLst>
            </p:cNvPr>
            <p:cNvSpPr/>
            <p:nvPr/>
          </p:nvSpPr>
          <p:spPr bwMode="auto">
            <a:xfrm>
              <a:off x="6167459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5"/>
                    <a:pt x="7" y="19"/>
                    <a:pt x="16" y="19"/>
                  </a:cubicBezTo>
                  <a:cubicBezTo>
                    <a:pt x="24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sľíḋe">
              <a:extLst>
                <a:ext uri="{FF2B5EF4-FFF2-40B4-BE49-F238E27FC236}">
                  <a16:creationId xmlns:a16="http://schemas.microsoft.com/office/drawing/2014/main" id="{4790A28F-E7E6-41D1-8326-BCC26CFDC648}"/>
                </a:ext>
              </a:extLst>
            </p:cNvPr>
            <p:cNvSpPr/>
            <p:nvPr/>
          </p:nvSpPr>
          <p:spPr bwMode="auto">
            <a:xfrm>
              <a:off x="521854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5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2" y="5"/>
                    <a:pt x="25" y="0"/>
                    <a:pt x="17" y="0"/>
                  </a:cubicBezTo>
                  <a:cubicBezTo>
                    <a:pt x="9" y="0"/>
                    <a:pt x="1" y="5"/>
                    <a:pt x="1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ŝlïḋè">
              <a:extLst>
                <a:ext uri="{FF2B5EF4-FFF2-40B4-BE49-F238E27FC236}">
                  <a16:creationId xmlns:a16="http://schemas.microsoft.com/office/drawing/2014/main" id="{EB3CB546-3D14-4E41-9603-1010A440A212}"/>
                </a:ext>
              </a:extLst>
            </p:cNvPr>
            <p:cNvSpPr/>
            <p:nvPr/>
          </p:nvSpPr>
          <p:spPr bwMode="auto">
            <a:xfrm>
              <a:off x="5357412" y="2439884"/>
              <a:ext cx="112636" cy="74061"/>
            </a:xfrm>
            <a:custGeom>
              <a:avLst/>
              <a:gdLst>
                <a:gd name="T0" fmla="*/ 30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0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0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0" y="5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3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ïṣlïďe">
              <a:extLst>
                <a:ext uri="{FF2B5EF4-FFF2-40B4-BE49-F238E27FC236}">
                  <a16:creationId xmlns:a16="http://schemas.microsoft.com/office/drawing/2014/main" id="{8D9084AA-3C1E-40BF-B7DE-47695408DCC7}"/>
                </a:ext>
              </a:extLst>
            </p:cNvPr>
            <p:cNvSpPr/>
            <p:nvPr/>
          </p:nvSpPr>
          <p:spPr bwMode="auto">
            <a:xfrm>
              <a:off x="5493191" y="2439884"/>
              <a:ext cx="112636" cy="74061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1" y="5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0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iš1ïḓe">
              <a:extLst>
                <a:ext uri="{FF2B5EF4-FFF2-40B4-BE49-F238E27FC236}">
                  <a16:creationId xmlns:a16="http://schemas.microsoft.com/office/drawing/2014/main" id="{C7903E0F-629F-49EB-BB9F-4F1C43359D10}"/>
                </a:ext>
              </a:extLst>
            </p:cNvPr>
            <p:cNvSpPr/>
            <p:nvPr/>
          </p:nvSpPr>
          <p:spPr bwMode="auto">
            <a:xfrm>
              <a:off x="5627428" y="2439884"/>
              <a:ext cx="112636" cy="74061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1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1" y="5"/>
                    <a:pt x="1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śľïďe">
              <a:extLst>
                <a:ext uri="{FF2B5EF4-FFF2-40B4-BE49-F238E27FC236}">
                  <a16:creationId xmlns:a16="http://schemas.microsoft.com/office/drawing/2014/main" id="{A19A9BF8-4333-4F71-A5D1-B2B12492E6F3}"/>
                </a:ext>
              </a:extLst>
            </p:cNvPr>
            <p:cNvSpPr/>
            <p:nvPr/>
          </p:nvSpPr>
          <p:spPr bwMode="auto">
            <a:xfrm>
              <a:off x="5766293" y="2439884"/>
              <a:ext cx="109550" cy="74061"/>
            </a:xfrm>
            <a:custGeom>
              <a:avLst/>
              <a:gdLst>
                <a:gd name="T0" fmla="*/ 30 w 30"/>
                <a:gd name="T1" fmla="*/ 10 h 20"/>
                <a:gd name="T2" fmla="*/ 15 w 30"/>
                <a:gd name="T3" fmla="*/ 0 h 20"/>
                <a:gd name="T4" fmla="*/ 0 w 30"/>
                <a:gd name="T5" fmla="*/ 10 h 20"/>
                <a:gd name="T6" fmla="*/ 15 w 30"/>
                <a:gd name="T7" fmla="*/ 20 h 20"/>
                <a:gd name="T8" fmla="*/ 30 w 3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3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iSlïḓé">
              <a:extLst>
                <a:ext uri="{FF2B5EF4-FFF2-40B4-BE49-F238E27FC236}">
                  <a16:creationId xmlns:a16="http://schemas.microsoft.com/office/drawing/2014/main" id="{9D3C7312-61A2-4590-B886-CC492287E609}"/>
                </a:ext>
              </a:extLst>
            </p:cNvPr>
            <p:cNvSpPr/>
            <p:nvPr/>
          </p:nvSpPr>
          <p:spPr bwMode="auto">
            <a:xfrm>
              <a:off x="5900529" y="2439884"/>
              <a:ext cx="109550" cy="74061"/>
            </a:xfrm>
            <a:custGeom>
              <a:avLst/>
              <a:gdLst>
                <a:gd name="T0" fmla="*/ 30 w 30"/>
                <a:gd name="T1" fmla="*/ 10 h 20"/>
                <a:gd name="T2" fmla="*/ 15 w 30"/>
                <a:gd name="T3" fmla="*/ 0 h 20"/>
                <a:gd name="T4" fmla="*/ 0 w 30"/>
                <a:gd name="T5" fmla="*/ 10 h 20"/>
                <a:gd name="T6" fmla="*/ 15 w 30"/>
                <a:gd name="T7" fmla="*/ 20 h 20"/>
                <a:gd name="T8" fmla="*/ 30 w 3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ŝļíde">
              <a:extLst>
                <a:ext uri="{FF2B5EF4-FFF2-40B4-BE49-F238E27FC236}">
                  <a16:creationId xmlns:a16="http://schemas.microsoft.com/office/drawing/2014/main" id="{7075BF24-AE02-4E03-890C-B2F5A10B4700}"/>
                </a:ext>
              </a:extLst>
            </p:cNvPr>
            <p:cNvSpPr/>
            <p:nvPr/>
          </p:nvSpPr>
          <p:spPr bwMode="auto">
            <a:xfrm>
              <a:off x="6036308" y="2439884"/>
              <a:ext cx="112636" cy="74061"/>
            </a:xfrm>
            <a:custGeom>
              <a:avLst/>
              <a:gdLst>
                <a:gd name="T0" fmla="*/ 30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0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7" y="20"/>
                    <a:pt x="16" y="20"/>
                  </a:cubicBezTo>
                  <a:cubicBezTo>
                    <a:pt x="24" y="20"/>
                    <a:pt x="31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ṩḻïďè">
              <a:extLst>
                <a:ext uri="{FF2B5EF4-FFF2-40B4-BE49-F238E27FC236}">
                  <a16:creationId xmlns:a16="http://schemas.microsoft.com/office/drawing/2014/main" id="{5FC06DFC-0F7B-4A41-9C8B-9168FCC895F5}"/>
                </a:ext>
              </a:extLst>
            </p:cNvPr>
            <p:cNvSpPr/>
            <p:nvPr/>
          </p:nvSpPr>
          <p:spPr bwMode="auto">
            <a:xfrm>
              <a:off x="6170545" y="2439884"/>
              <a:ext cx="114178" cy="74061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1" y="16"/>
                    <a:pt x="8" y="20"/>
                    <a:pt x="16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ïśľîḓê">
              <a:extLst>
                <a:ext uri="{FF2B5EF4-FFF2-40B4-BE49-F238E27FC236}">
                  <a16:creationId xmlns:a16="http://schemas.microsoft.com/office/drawing/2014/main" id="{E71665F7-5129-4B36-8DB4-52B067759F68}"/>
                </a:ext>
              </a:extLst>
            </p:cNvPr>
            <p:cNvSpPr/>
            <p:nvPr/>
          </p:nvSpPr>
          <p:spPr bwMode="auto">
            <a:xfrm>
              <a:off x="5210833" y="2532461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5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2" y="4"/>
                    <a:pt x="25" y="0"/>
                    <a:pt x="17" y="0"/>
                  </a:cubicBezTo>
                  <a:cubicBezTo>
                    <a:pt x="9" y="0"/>
                    <a:pt x="1" y="4"/>
                    <a:pt x="1" y="10"/>
                  </a:cubicBezTo>
                  <a:cubicBezTo>
                    <a:pt x="0" y="15"/>
                    <a:pt x="7" y="20"/>
                    <a:pt x="15" y="20"/>
                  </a:cubicBezTo>
                  <a:cubicBezTo>
                    <a:pt x="24" y="20"/>
                    <a:pt x="31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ïṧľiḑê">
              <a:extLst>
                <a:ext uri="{FF2B5EF4-FFF2-40B4-BE49-F238E27FC236}">
                  <a16:creationId xmlns:a16="http://schemas.microsoft.com/office/drawing/2014/main" id="{E35470D9-7091-4FCE-A6E8-EC43089E98B6}"/>
                </a:ext>
              </a:extLst>
            </p:cNvPr>
            <p:cNvSpPr/>
            <p:nvPr/>
          </p:nvSpPr>
          <p:spPr bwMode="auto">
            <a:xfrm>
              <a:off x="5349698" y="2532461"/>
              <a:ext cx="114178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5" y="0"/>
                    <a:pt x="16" y="0"/>
                  </a:cubicBezTo>
                  <a:cubicBezTo>
                    <a:pt x="8" y="0"/>
                    <a:pt x="1" y="4"/>
                    <a:pt x="0" y="10"/>
                  </a:cubicBezTo>
                  <a:cubicBezTo>
                    <a:pt x="0" y="15"/>
                    <a:pt x="7" y="20"/>
                    <a:pt x="15" y="20"/>
                  </a:cubicBezTo>
                  <a:cubicBezTo>
                    <a:pt x="24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ṣḷiḓe">
              <a:extLst>
                <a:ext uri="{FF2B5EF4-FFF2-40B4-BE49-F238E27FC236}">
                  <a16:creationId xmlns:a16="http://schemas.microsoft.com/office/drawing/2014/main" id="{D7375A41-F1B0-49E9-A3C6-C51A3FB9ECE3}"/>
                </a:ext>
              </a:extLst>
            </p:cNvPr>
            <p:cNvSpPr/>
            <p:nvPr/>
          </p:nvSpPr>
          <p:spPr bwMode="auto">
            <a:xfrm>
              <a:off x="6039394" y="2532461"/>
              <a:ext cx="114178" cy="72519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7" y="20"/>
                    <a:pt x="16" y="20"/>
                  </a:cubicBezTo>
                  <a:cubicBezTo>
                    <a:pt x="24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Sḻîde">
              <a:extLst>
                <a:ext uri="{FF2B5EF4-FFF2-40B4-BE49-F238E27FC236}">
                  <a16:creationId xmlns:a16="http://schemas.microsoft.com/office/drawing/2014/main" id="{0E5D85BC-C4B8-495B-A6F8-F341BE8B087E}"/>
                </a:ext>
              </a:extLst>
            </p:cNvPr>
            <p:cNvSpPr/>
            <p:nvPr/>
          </p:nvSpPr>
          <p:spPr bwMode="auto">
            <a:xfrm>
              <a:off x="6175174" y="2532461"/>
              <a:ext cx="115721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6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1" y="15"/>
                    <a:pt x="8" y="20"/>
                    <a:pt x="16" y="20"/>
                  </a:cubicBezTo>
                  <a:cubicBezTo>
                    <a:pt x="25" y="20"/>
                    <a:pt x="32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îšḻïdè">
              <a:extLst>
                <a:ext uri="{FF2B5EF4-FFF2-40B4-BE49-F238E27FC236}">
                  <a16:creationId xmlns:a16="http://schemas.microsoft.com/office/drawing/2014/main" id="{8512DA43-4826-4F72-83DD-3A4B32989984}"/>
                </a:ext>
              </a:extLst>
            </p:cNvPr>
            <p:cNvSpPr/>
            <p:nvPr/>
          </p:nvSpPr>
          <p:spPr bwMode="auto">
            <a:xfrm>
              <a:off x="6314039" y="2532461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5"/>
                    <a:pt x="8" y="20"/>
                    <a:pt x="16" y="20"/>
                  </a:cubicBezTo>
                  <a:cubicBezTo>
                    <a:pt x="25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šlïdé">
              <a:extLst>
                <a:ext uri="{FF2B5EF4-FFF2-40B4-BE49-F238E27FC236}">
                  <a16:creationId xmlns:a16="http://schemas.microsoft.com/office/drawing/2014/main" id="{5F253D5E-8672-4CAE-83AA-EAFC625CBC5A}"/>
                </a:ext>
              </a:extLst>
            </p:cNvPr>
            <p:cNvSpPr/>
            <p:nvPr/>
          </p:nvSpPr>
          <p:spPr bwMode="auto">
            <a:xfrm>
              <a:off x="6448276" y="2532461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7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1" y="10"/>
                  </a:cubicBezTo>
                  <a:cubicBezTo>
                    <a:pt x="1" y="15"/>
                    <a:pt x="9" y="20"/>
                    <a:pt x="17" y="20"/>
                  </a:cubicBezTo>
                  <a:cubicBezTo>
                    <a:pt x="26" y="20"/>
                    <a:pt x="32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îṥlíďê">
              <a:extLst>
                <a:ext uri="{FF2B5EF4-FFF2-40B4-BE49-F238E27FC236}">
                  <a16:creationId xmlns:a16="http://schemas.microsoft.com/office/drawing/2014/main" id="{1673CC1A-95A6-48FC-83FB-F3338469CABD}"/>
                </a:ext>
              </a:extLst>
            </p:cNvPr>
            <p:cNvSpPr/>
            <p:nvPr/>
          </p:nvSpPr>
          <p:spPr bwMode="auto">
            <a:xfrm>
              <a:off x="9228665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6" y="18"/>
                    <a:pt x="15" y="23"/>
                    <a:pt x="24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ṧ1îḑè">
              <a:extLst>
                <a:ext uri="{FF2B5EF4-FFF2-40B4-BE49-F238E27FC236}">
                  <a16:creationId xmlns:a16="http://schemas.microsoft.com/office/drawing/2014/main" id="{8DA06E45-1935-4F50-8D3E-208947FAEE59}"/>
                </a:ext>
              </a:extLst>
            </p:cNvPr>
            <p:cNvSpPr/>
            <p:nvPr/>
          </p:nvSpPr>
          <p:spPr bwMode="auto">
            <a:xfrm>
              <a:off x="9324328" y="3112609"/>
              <a:ext cx="141951" cy="87948"/>
            </a:xfrm>
            <a:custGeom>
              <a:avLst/>
              <a:gdLst>
                <a:gd name="T0" fmla="*/ 36 w 39"/>
                <a:gd name="T1" fmla="*/ 12 h 24"/>
                <a:gd name="T2" fmla="*/ 14 w 39"/>
                <a:gd name="T3" fmla="*/ 0 h 24"/>
                <a:gd name="T4" fmla="*/ 3 w 39"/>
                <a:gd name="T5" fmla="*/ 12 h 24"/>
                <a:gd name="T6" fmla="*/ 25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3" y="12"/>
                  </a:cubicBezTo>
                  <a:cubicBezTo>
                    <a:pt x="6" y="19"/>
                    <a:pt x="16" y="24"/>
                    <a:pt x="25" y="24"/>
                  </a:cubicBezTo>
                  <a:cubicBezTo>
                    <a:pt x="34" y="24"/>
                    <a:pt x="39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ṩḷîďê">
              <a:extLst>
                <a:ext uri="{FF2B5EF4-FFF2-40B4-BE49-F238E27FC236}">
                  <a16:creationId xmlns:a16="http://schemas.microsoft.com/office/drawing/2014/main" id="{7A6D9D7C-E511-42C8-AB36-7FB599673C23}"/>
                </a:ext>
              </a:extLst>
            </p:cNvPr>
            <p:cNvSpPr/>
            <p:nvPr/>
          </p:nvSpPr>
          <p:spPr bwMode="auto">
            <a:xfrm>
              <a:off x="8717950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3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3"/>
                    <a:pt x="13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slídê">
              <a:extLst>
                <a:ext uri="{FF2B5EF4-FFF2-40B4-BE49-F238E27FC236}">
                  <a16:creationId xmlns:a16="http://schemas.microsoft.com/office/drawing/2014/main" id="{98CCD2CC-7F87-410D-ABE7-D8B7CDF79338}"/>
                </a:ext>
              </a:extLst>
            </p:cNvPr>
            <p:cNvSpPr/>
            <p:nvPr/>
          </p:nvSpPr>
          <p:spPr bwMode="auto">
            <a:xfrm>
              <a:off x="8842929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Sḷiḓê">
              <a:extLst>
                <a:ext uri="{FF2B5EF4-FFF2-40B4-BE49-F238E27FC236}">
                  <a16:creationId xmlns:a16="http://schemas.microsoft.com/office/drawing/2014/main" id="{2330628D-0154-4AB3-B1BA-80DEBFC12703}"/>
                </a:ext>
              </a:extLst>
            </p:cNvPr>
            <p:cNvSpPr/>
            <p:nvPr/>
          </p:nvSpPr>
          <p:spPr bwMode="auto">
            <a:xfrm>
              <a:off x="9210150" y="1804190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šļiḓe">
              <a:extLst>
                <a:ext uri="{FF2B5EF4-FFF2-40B4-BE49-F238E27FC236}">
                  <a16:creationId xmlns:a16="http://schemas.microsoft.com/office/drawing/2014/main" id="{0800C546-2A7A-456A-9343-CB2DD999B88B}"/>
                </a:ext>
              </a:extLst>
            </p:cNvPr>
            <p:cNvSpPr/>
            <p:nvPr/>
          </p:nvSpPr>
          <p:spPr bwMode="auto">
            <a:xfrm>
              <a:off x="9335128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7" y="4"/>
                    <a:pt x="19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ṥ1ïḑe">
              <a:extLst>
                <a:ext uri="{FF2B5EF4-FFF2-40B4-BE49-F238E27FC236}">
                  <a16:creationId xmlns:a16="http://schemas.microsoft.com/office/drawing/2014/main" id="{B5EC8CA3-0D9A-4E39-987D-5B59CA228B3C}"/>
                </a:ext>
              </a:extLst>
            </p:cNvPr>
            <p:cNvSpPr/>
            <p:nvPr/>
          </p:nvSpPr>
          <p:spPr bwMode="auto">
            <a:xfrm>
              <a:off x="6466791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5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şľíḍé">
              <a:extLst>
                <a:ext uri="{FF2B5EF4-FFF2-40B4-BE49-F238E27FC236}">
                  <a16:creationId xmlns:a16="http://schemas.microsoft.com/office/drawing/2014/main" id="{8A9311CA-C1AE-4F9E-BA33-CE1C49157FA1}"/>
                </a:ext>
              </a:extLst>
            </p:cNvPr>
            <p:cNvSpPr/>
            <p:nvPr/>
          </p:nvSpPr>
          <p:spPr bwMode="auto">
            <a:xfrm>
              <a:off x="6550110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ṣḻíḋe">
              <a:extLst>
                <a:ext uri="{FF2B5EF4-FFF2-40B4-BE49-F238E27FC236}">
                  <a16:creationId xmlns:a16="http://schemas.microsoft.com/office/drawing/2014/main" id="{BB04BBE3-0F19-4DC9-B451-E181BFCA4A37}"/>
                </a:ext>
              </a:extLst>
            </p:cNvPr>
            <p:cNvSpPr/>
            <p:nvPr/>
          </p:nvSpPr>
          <p:spPr bwMode="auto">
            <a:xfrm>
              <a:off x="6699775" y="2356565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5 w 32"/>
                <a:gd name="T3" fmla="*/ 0 h 19"/>
                <a:gd name="T4" fmla="*/ 1 w 32"/>
                <a:gd name="T5" fmla="*/ 9 h 19"/>
                <a:gd name="T6" fmla="*/ 17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9" y="19"/>
                    <a:pt x="17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$ļíḑê">
              <a:extLst>
                <a:ext uri="{FF2B5EF4-FFF2-40B4-BE49-F238E27FC236}">
                  <a16:creationId xmlns:a16="http://schemas.microsoft.com/office/drawing/2014/main" id="{D6CD0DD9-226A-4567-AD15-EE60CC1E8D82}"/>
                </a:ext>
              </a:extLst>
            </p:cNvPr>
            <p:cNvSpPr/>
            <p:nvPr/>
          </p:nvSpPr>
          <p:spPr bwMode="auto">
            <a:xfrm>
              <a:off x="6568626" y="2356565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5"/>
                    <a:pt x="8" y="19"/>
                    <a:pt x="16" y="19"/>
                  </a:cubicBezTo>
                  <a:cubicBezTo>
                    <a:pt x="25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iS1íďé">
              <a:extLst>
                <a:ext uri="{FF2B5EF4-FFF2-40B4-BE49-F238E27FC236}">
                  <a16:creationId xmlns:a16="http://schemas.microsoft.com/office/drawing/2014/main" id="{43E87315-7F98-4075-A8F8-59D41E9EB8A0}"/>
                </a:ext>
              </a:extLst>
            </p:cNvPr>
            <p:cNvSpPr/>
            <p:nvPr/>
          </p:nvSpPr>
          <p:spPr bwMode="auto">
            <a:xfrm>
              <a:off x="671057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5"/>
                    <a:pt x="23" y="0"/>
                    <a:pt x="15" y="0"/>
                  </a:cubicBezTo>
                  <a:cubicBezTo>
                    <a:pt x="7" y="0"/>
                    <a:pt x="0" y="5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ṡḷíďè">
              <a:extLst>
                <a:ext uri="{FF2B5EF4-FFF2-40B4-BE49-F238E27FC236}">
                  <a16:creationId xmlns:a16="http://schemas.microsoft.com/office/drawing/2014/main" id="{6FCD2627-EC02-4C10-AF6C-E55BAC7D612E}"/>
                </a:ext>
              </a:extLst>
            </p:cNvPr>
            <p:cNvSpPr/>
            <p:nvPr/>
          </p:nvSpPr>
          <p:spPr bwMode="auto">
            <a:xfrm>
              <a:off x="6587141" y="2532461"/>
              <a:ext cx="117264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1" y="15"/>
                    <a:pt x="9" y="20"/>
                    <a:pt x="17" y="20"/>
                  </a:cubicBezTo>
                  <a:cubicBezTo>
                    <a:pt x="26" y="20"/>
                    <a:pt x="32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ṣļiḋe">
              <a:extLst>
                <a:ext uri="{FF2B5EF4-FFF2-40B4-BE49-F238E27FC236}">
                  <a16:creationId xmlns:a16="http://schemas.microsoft.com/office/drawing/2014/main" id="{36FE9100-A061-45F9-A398-DE97F12C117A}"/>
                </a:ext>
              </a:extLst>
            </p:cNvPr>
            <p:cNvSpPr/>
            <p:nvPr/>
          </p:nvSpPr>
          <p:spPr bwMode="auto">
            <a:xfrm>
              <a:off x="6722920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1" y="10"/>
                  </a:cubicBezTo>
                  <a:cubicBezTo>
                    <a:pt x="2" y="15"/>
                    <a:pt x="9" y="20"/>
                    <a:pt x="18" y="20"/>
                  </a:cubicBezTo>
                  <a:cubicBezTo>
                    <a:pt x="26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îṥḷiḑe">
              <a:extLst>
                <a:ext uri="{FF2B5EF4-FFF2-40B4-BE49-F238E27FC236}">
                  <a16:creationId xmlns:a16="http://schemas.microsoft.com/office/drawing/2014/main" id="{4673841D-4097-41FB-A091-FD2E11640E24}"/>
                </a:ext>
              </a:extLst>
            </p:cNvPr>
            <p:cNvSpPr/>
            <p:nvPr/>
          </p:nvSpPr>
          <p:spPr bwMode="auto">
            <a:xfrm>
              <a:off x="6860242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9" y="20"/>
                    <a:pt x="18" y="20"/>
                  </a:cubicBezTo>
                  <a:cubicBezTo>
                    <a:pt x="26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śļíḓè">
              <a:extLst>
                <a:ext uri="{FF2B5EF4-FFF2-40B4-BE49-F238E27FC236}">
                  <a16:creationId xmlns:a16="http://schemas.microsoft.com/office/drawing/2014/main" id="{9C5BCE26-93D4-4EA6-9372-AC42ACDDF3A2}"/>
                </a:ext>
              </a:extLst>
            </p:cNvPr>
            <p:cNvSpPr/>
            <p:nvPr/>
          </p:nvSpPr>
          <p:spPr bwMode="auto">
            <a:xfrm>
              <a:off x="6597941" y="2623494"/>
              <a:ext cx="117264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6"/>
                    <a:pt x="8" y="20"/>
                    <a:pt x="17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îṡ1iḓè">
              <a:extLst>
                <a:ext uri="{FF2B5EF4-FFF2-40B4-BE49-F238E27FC236}">
                  <a16:creationId xmlns:a16="http://schemas.microsoft.com/office/drawing/2014/main" id="{11073989-B027-48CA-9361-128E704238E7}"/>
                </a:ext>
              </a:extLst>
            </p:cNvPr>
            <p:cNvSpPr/>
            <p:nvPr/>
          </p:nvSpPr>
          <p:spPr bwMode="auto">
            <a:xfrm>
              <a:off x="6736806" y="2623494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6"/>
                    <a:pt x="9" y="20"/>
                    <a:pt x="17" y="20"/>
                  </a:cubicBezTo>
                  <a:cubicBezTo>
                    <a:pt x="26" y="20"/>
                    <a:pt x="32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ṧḻîḍe">
              <a:extLst>
                <a:ext uri="{FF2B5EF4-FFF2-40B4-BE49-F238E27FC236}">
                  <a16:creationId xmlns:a16="http://schemas.microsoft.com/office/drawing/2014/main" id="{F7076F48-31C8-4CEF-8D88-3761C983C684}"/>
                </a:ext>
              </a:extLst>
            </p:cNvPr>
            <p:cNvSpPr/>
            <p:nvPr/>
          </p:nvSpPr>
          <p:spPr bwMode="auto">
            <a:xfrm>
              <a:off x="6875671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1" y="16"/>
                    <a:pt x="9" y="20"/>
                    <a:pt x="18" y="20"/>
                  </a:cubicBezTo>
                  <a:cubicBezTo>
                    <a:pt x="26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ïsḷîḍé">
              <a:extLst>
                <a:ext uri="{FF2B5EF4-FFF2-40B4-BE49-F238E27FC236}">
                  <a16:creationId xmlns:a16="http://schemas.microsoft.com/office/drawing/2014/main" id="{5E44104A-68D3-431A-BE64-B437852616BB}"/>
                </a:ext>
              </a:extLst>
            </p:cNvPr>
            <p:cNvSpPr/>
            <p:nvPr/>
          </p:nvSpPr>
          <p:spPr bwMode="auto">
            <a:xfrm>
              <a:off x="7014537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íś1íďe">
              <a:extLst>
                <a:ext uri="{FF2B5EF4-FFF2-40B4-BE49-F238E27FC236}">
                  <a16:creationId xmlns:a16="http://schemas.microsoft.com/office/drawing/2014/main" id="{21B6A8F1-72BF-4201-987B-0AC70A79DA1F}"/>
                </a:ext>
              </a:extLst>
            </p:cNvPr>
            <p:cNvSpPr/>
            <p:nvPr/>
          </p:nvSpPr>
          <p:spPr bwMode="auto">
            <a:xfrm>
              <a:off x="6605656" y="2714528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9" y="22"/>
                    <a:pt x="18" y="22"/>
                  </a:cubicBezTo>
                  <a:cubicBezTo>
                    <a:pt x="27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isļïḍé">
              <a:extLst>
                <a:ext uri="{FF2B5EF4-FFF2-40B4-BE49-F238E27FC236}">
                  <a16:creationId xmlns:a16="http://schemas.microsoft.com/office/drawing/2014/main" id="{97B0163C-515E-4184-8D7D-F1B9BE88CDE4}"/>
                </a:ext>
              </a:extLst>
            </p:cNvPr>
            <p:cNvSpPr/>
            <p:nvPr/>
          </p:nvSpPr>
          <p:spPr bwMode="auto">
            <a:xfrm>
              <a:off x="6747607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5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1" y="17"/>
                    <a:pt x="9" y="22"/>
                    <a:pt x="18" y="22"/>
                  </a:cubicBezTo>
                  <a:cubicBezTo>
                    <a:pt x="27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ṩļíḓè">
              <a:extLst>
                <a:ext uri="{FF2B5EF4-FFF2-40B4-BE49-F238E27FC236}">
                  <a16:creationId xmlns:a16="http://schemas.microsoft.com/office/drawing/2014/main" id="{8F2E56FB-A884-4407-9AFB-A53CAFF4FF8E}"/>
                </a:ext>
              </a:extLst>
            </p:cNvPr>
            <p:cNvSpPr/>
            <p:nvPr/>
          </p:nvSpPr>
          <p:spPr bwMode="auto">
            <a:xfrm>
              <a:off x="6886473" y="2714528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íṣḻiďè">
              <a:extLst>
                <a:ext uri="{FF2B5EF4-FFF2-40B4-BE49-F238E27FC236}">
                  <a16:creationId xmlns:a16="http://schemas.microsoft.com/office/drawing/2014/main" id="{46CA3285-8602-49E8-8D87-C0432C039CE1}"/>
                </a:ext>
              </a:extLst>
            </p:cNvPr>
            <p:cNvSpPr/>
            <p:nvPr/>
          </p:nvSpPr>
          <p:spPr bwMode="auto">
            <a:xfrm>
              <a:off x="7028424" y="2714528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iṧ1îḋè">
              <a:extLst>
                <a:ext uri="{FF2B5EF4-FFF2-40B4-BE49-F238E27FC236}">
                  <a16:creationId xmlns:a16="http://schemas.microsoft.com/office/drawing/2014/main" id="{EC80372B-A163-4220-AF97-F02F298691FF}"/>
                </a:ext>
              </a:extLst>
            </p:cNvPr>
            <p:cNvSpPr/>
            <p:nvPr/>
          </p:nvSpPr>
          <p:spPr bwMode="auto">
            <a:xfrm>
              <a:off x="6616456" y="2810191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8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9" y="22"/>
                    <a:pt x="18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íśḻidè">
              <a:extLst>
                <a:ext uri="{FF2B5EF4-FFF2-40B4-BE49-F238E27FC236}">
                  <a16:creationId xmlns:a16="http://schemas.microsoft.com/office/drawing/2014/main" id="{1A2C5FED-FFE1-4A5E-BE78-CA7C089AE5B4}"/>
                </a:ext>
              </a:extLst>
            </p:cNvPr>
            <p:cNvSpPr/>
            <p:nvPr/>
          </p:nvSpPr>
          <p:spPr bwMode="auto">
            <a:xfrm>
              <a:off x="6758407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í$ľidé">
              <a:extLst>
                <a:ext uri="{FF2B5EF4-FFF2-40B4-BE49-F238E27FC236}">
                  <a16:creationId xmlns:a16="http://schemas.microsoft.com/office/drawing/2014/main" id="{19816E25-7921-4CFA-BB88-A32989C7C546}"/>
                </a:ext>
              </a:extLst>
            </p:cNvPr>
            <p:cNvSpPr/>
            <p:nvPr/>
          </p:nvSpPr>
          <p:spPr bwMode="auto">
            <a:xfrm>
              <a:off x="6900359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$líḓe">
              <a:extLst>
                <a:ext uri="{FF2B5EF4-FFF2-40B4-BE49-F238E27FC236}">
                  <a16:creationId xmlns:a16="http://schemas.microsoft.com/office/drawing/2014/main" id="{F33DCD39-352E-43A1-B944-06DB429FDEBA}"/>
                </a:ext>
              </a:extLst>
            </p:cNvPr>
            <p:cNvSpPr/>
            <p:nvPr/>
          </p:nvSpPr>
          <p:spPr bwMode="auto">
            <a:xfrm>
              <a:off x="6627257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íṥľíḋê">
              <a:extLst>
                <a:ext uri="{FF2B5EF4-FFF2-40B4-BE49-F238E27FC236}">
                  <a16:creationId xmlns:a16="http://schemas.microsoft.com/office/drawing/2014/main" id="{569ABF9B-3552-4E6F-9732-A8C94977827E}"/>
                </a:ext>
              </a:extLst>
            </p:cNvPr>
            <p:cNvSpPr/>
            <p:nvPr/>
          </p:nvSpPr>
          <p:spPr bwMode="auto">
            <a:xfrm>
              <a:off x="6773837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5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îśľîḋe">
              <a:extLst>
                <a:ext uri="{FF2B5EF4-FFF2-40B4-BE49-F238E27FC236}">
                  <a16:creationId xmlns:a16="http://schemas.microsoft.com/office/drawing/2014/main" id="{81490F41-00A3-42E2-8465-75D5C818B2ED}"/>
                </a:ext>
              </a:extLst>
            </p:cNvPr>
            <p:cNvSpPr/>
            <p:nvPr/>
          </p:nvSpPr>
          <p:spPr bwMode="auto">
            <a:xfrm>
              <a:off x="6915788" y="2907396"/>
              <a:ext cx="128065" cy="84863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ṩḻiḑe">
              <a:extLst>
                <a:ext uri="{FF2B5EF4-FFF2-40B4-BE49-F238E27FC236}">
                  <a16:creationId xmlns:a16="http://schemas.microsoft.com/office/drawing/2014/main" id="{DDE0F8B8-D822-4EB8-9666-502DABC9DC06}"/>
                </a:ext>
              </a:extLst>
            </p:cNvPr>
            <p:cNvSpPr/>
            <p:nvPr/>
          </p:nvSpPr>
          <p:spPr bwMode="auto">
            <a:xfrm>
              <a:off x="7060825" y="2907396"/>
              <a:ext cx="128065" cy="84863"/>
            </a:xfrm>
            <a:custGeom>
              <a:avLst/>
              <a:gdLst>
                <a:gd name="T0" fmla="*/ 33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3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îSľiďé">
              <a:extLst>
                <a:ext uri="{FF2B5EF4-FFF2-40B4-BE49-F238E27FC236}">
                  <a16:creationId xmlns:a16="http://schemas.microsoft.com/office/drawing/2014/main" id="{E36037FA-F2A3-4F09-94B5-734FA3973A19}"/>
                </a:ext>
              </a:extLst>
            </p:cNvPr>
            <p:cNvSpPr/>
            <p:nvPr/>
          </p:nvSpPr>
          <p:spPr bwMode="auto">
            <a:xfrm>
              <a:off x="7207405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5 w 34"/>
                <a:gd name="T3" fmla="*/ 0 h 23"/>
                <a:gd name="T4" fmla="*/ 1 w 34"/>
                <a:gd name="T5" fmla="*/ 11 h 23"/>
                <a:gd name="T6" fmla="*/ 19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ïṡļíḋé">
              <a:extLst>
                <a:ext uri="{FF2B5EF4-FFF2-40B4-BE49-F238E27FC236}">
                  <a16:creationId xmlns:a16="http://schemas.microsoft.com/office/drawing/2014/main" id="{89A4A211-143F-4738-90ED-2674740A025E}"/>
                </a:ext>
              </a:extLst>
            </p:cNvPr>
            <p:cNvSpPr/>
            <p:nvPr/>
          </p:nvSpPr>
          <p:spPr bwMode="auto">
            <a:xfrm>
              <a:off x="6784638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iṧ1ïḋé">
              <a:extLst>
                <a:ext uri="{FF2B5EF4-FFF2-40B4-BE49-F238E27FC236}">
                  <a16:creationId xmlns:a16="http://schemas.microsoft.com/office/drawing/2014/main" id="{402F3E31-AD17-4423-938A-1FB36F1B6546}"/>
                </a:ext>
              </a:extLst>
            </p:cNvPr>
            <p:cNvSpPr/>
            <p:nvPr/>
          </p:nvSpPr>
          <p:spPr bwMode="auto">
            <a:xfrm>
              <a:off x="6929675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20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20" y="23"/>
                  </a:cubicBezTo>
                  <a:cubicBezTo>
                    <a:pt x="29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ïS1iḋê">
              <a:extLst>
                <a:ext uri="{FF2B5EF4-FFF2-40B4-BE49-F238E27FC236}">
                  <a16:creationId xmlns:a16="http://schemas.microsoft.com/office/drawing/2014/main" id="{F82CD42E-0B0D-4DBA-A5CD-BD98076F669C}"/>
                </a:ext>
              </a:extLst>
            </p:cNvPr>
            <p:cNvSpPr/>
            <p:nvPr/>
          </p:nvSpPr>
          <p:spPr bwMode="auto">
            <a:xfrm>
              <a:off x="7079340" y="3010774"/>
              <a:ext cx="128065" cy="83319"/>
            </a:xfrm>
            <a:custGeom>
              <a:avLst/>
              <a:gdLst>
                <a:gd name="T0" fmla="*/ 33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3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išḻídé">
              <a:extLst>
                <a:ext uri="{FF2B5EF4-FFF2-40B4-BE49-F238E27FC236}">
                  <a16:creationId xmlns:a16="http://schemas.microsoft.com/office/drawing/2014/main" id="{DAC02652-602C-42D7-A946-2B349D9F3726}"/>
                </a:ext>
              </a:extLst>
            </p:cNvPr>
            <p:cNvSpPr/>
            <p:nvPr/>
          </p:nvSpPr>
          <p:spPr bwMode="auto">
            <a:xfrm>
              <a:off x="7225921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20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20" y="23"/>
                  </a:cubicBezTo>
                  <a:cubicBezTo>
                    <a:pt x="29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îŝḷiḑé">
              <a:extLst>
                <a:ext uri="{FF2B5EF4-FFF2-40B4-BE49-F238E27FC236}">
                  <a16:creationId xmlns:a16="http://schemas.microsoft.com/office/drawing/2014/main" id="{DFF98010-BFC5-4B87-81C2-FACCA9950406}"/>
                </a:ext>
              </a:extLst>
            </p:cNvPr>
            <p:cNvSpPr/>
            <p:nvPr/>
          </p:nvSpPr>
          <p:spPr bwMode="auto">
            <a:xfrm>
              <a:off x="7664118" y="3010774"/>
              <a:ext cx="131151" cy="83319"/>
            </a:xfrm>
            <a:custGeom>
              <a:avLst/>
              <a:gdLst>
                <a:gd name="T0" fmla="*/ 35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5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î$ļïḋê">
              <a:extLst>
                <a:ext uri="{FF2B5EF4-FFF2-40B4-BE49-F238E27FC236}">
                  <a16:creationId xmlns:a16="http://schemas.microsoft.com/office/drawing/2014/main" id="{68565C1F-7CE7-43F1-BBDD-1AFF7560E5DC}"/>
                </a:ext>
              </a:extLst>
            </p:cNvPr>
            <p:cNvSpPr/>
            <p:nvPr/>
          </p:nvSpPr>
          <p:spPr bwMode="auto">
            <a:xfrm>
              <a:off x="6798524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íṩ1îḑé">
              <a:extLst>
                <a:ext uri="{FF2B5EF4-FFF2-40B4-BE49-F238E27FC236}">
                  <a16:creationId xmlns:a16="http://schemas.microsoft.com/office/drawing/2014/main" id="{91527AFC-82A9-4E98-9F24-994F99A6D6F8}"/>
                </a:ext>
              </a:extLst>
            </p:cNvPr>
            <p:cNvSpPr/>
            <p:nvPr/>
          </p:nvSpPr>
          <p:spPr bwMode="auto">
            <a:xfrm>
              <a:off x="6948190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5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5" y="0"/>
                  </a:cubicBezTo>
                  <a:cubicBezTo>
                    <a:pt x="6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ïş1íḋè">
              <a:extLst>
                <a:ext uri="{FF2B5EF4-FFF2-40B4-BE49-F238E27FC236}">
                  <a16:creationId xmlns:a16="http://schemas.microsoft.com/office/drawing/2014/main" id="{9F47A07A-35E2-4388-A08A-7B16AD3F8940}"/>
                </a:ext>
              </a:extLst>
            </p:cNvPr>
            <p:cNvSpPr/>
            <p:nvPr/>
          </p:nvSpPr>
          <p:spPr bwMode="auto">
            <a:xfrm>
              <a:off x="7637887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iṣḷîde">
              <a:extLst>
                <a:ext uri="{FF2B5EF4-FFF2-40B4-BE49-F238E27FC236}">
                  <a16:creationId xmlns:a16="http://schemas.microsoft.com/office/drawing/2014/main" id="{A3E3ADC7-7B75-4F90-A853-BEDABBCBF0EC}"/>
                </a:ext>
              </a:extLst>
            </p:cNvPr>
            <p:cNvSpPr/>
            <p:nvPr/>
          </p:nvSpPr>
          <p:spPr bwMode="auto">
            <a:xfrm>
              <a:off x="7784467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îṣľïḑé">
              <a:extLst>
                <a:ext uri="{FF2B5EF4-FFF2-40B4-BE49-F238E27FC236}">
                  <a16:creationId xmlns:a16="http://schemas.microsoft.com/office/drawing/2014/main" id="{7883A18D-29E7-4C33-B5D6-2D9A9343A95C}"/>
                </a:ext>
              </a:extLst>
            </p:cNvPr>
            <p:cNvSpPr/>
            <p:nvPr/>
          </p:nvSpPr>
          <p:spPr bwMode="auto">
            <a:xfrm>
              <a:off x="7926418" y="2907396"/>
              <a:ext cx="134237" cy="84863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ïşlíḋe">
              <a:extLst>
                <a:ext uri="{FF2B5EF4-FFF2-40B4-BE49-F238E27FC236}">
                  <a16:creationId xmlns:a16="http://schemas.microsoft.com/office/drawing/2014/main" id="{19FB24A0-4154-441B-8F4F-8C1414BE913B}"/>
                </a:ext>
              </a:extLst>
            </p:cNvPr>
            <p:cNvSpPr/>
            <p:nvPr/>
          </p:nvSpPr>
          <p:spPr bwMode="auto">
            <a:xfrm>
              <a:off x="8072998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isḷíďê">
              <a:extLst>
                <a:ext uri="{FF2B5EF4-FFF2-40B4-BE49-F238E27FC236}">
                  <a16:creationId xmlns:a16="http://schemas.microsoft.com/office/drawing/2014/main" id="{170A9A3D-D6C2-49F4-864B-1B529A06B311}"/>
                </a:ext>
              </a:extLst>
            </p:cNvPr>
            <p:cNvSpPr/>
            <p:nvPr/>
          </p:nvSpPr>
          <p:spPr bwMode="auto">
            <a:xfrm>
              <a:off x="8218035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4 w 36"/>
                <a:gd name="T3" fmla="*/ 0 h 23"/>
                <a:gd name="T4" fmla="*/ 2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ïṩlíḍe">
              <a:extLst>
                <a:ext uri="{FF2B5EF4-FFF2-40B4-BE49-F238E27FC236}">
                  <a16:creationId xmlns:a16="http://schemas.microsoft.com/office/drawing/2014/main" id="{CEB95CB3-238F-479A-8A71-773469CAE105}"/>
                </a:ext>
              </a:extLst>
            </p:cNvPr>
            <p:cNvSpPr/>
            <p:nvPr/>
          </p:nvSpPr>
          <p:spPr bwMode="auto">
            <a:xfrm>
              <a:off x="8359986" y="2907396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îṡļidê">
              <a:extLst>
                <a:ext uri="{FF2B5EF4-FFF2-40B4-BE49-F238E27FC236}">
                  <a16:creationId xmlns:a16="http://schemas.microsoft.com/office/drawing/2014/main" id="{3989FB2B-DE0B-49CA-9F91-5D489BBA53BE}"/>
                </a:ext>
              </a:extLst>
            </p:cNvPr>
            <p:cNvSpPr/>
            <p:nvPr/>
          </p:nvSpPr>
          <p:spPr bwMode="auto">
            <a:xfrm>
              <a:off x="8506566" y="2907396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ï$1îḋé">
              <a:extLst>
                <a:ext uri="{FF2B5EF4-FFF2-40B4-BE49-F238E27FC236}">
                  <a16:creationId xmlns:a16="http://schemas.microsoft.com/office/drawing/2014/main" id="{262F011F-F132-4DB2-8F44-E16D61D4B5E5}"/>
                </a:ext>
              </a:extLst>
            </p:cNvPr>
            <p:cNvSpPr/>
            <p:nvPr/>
          </p:nvSpPr>
          <p:spPr bwMode="auto">
            <a:xfrm>
              <a:off x="8648517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5 w 38"/>
                <a:gd name="T3" fmla="*/ 0 h 23"/>
                <a:gd name="T4" fmla="*/ 3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3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ṡḻîḑé">
              <a:extLst>
                <a:ext uri="{FF2B5EF4-FFF2-40B4-BE49-F238E27FC236}">
                  <a16:creationId xmlns:a16="http://schemas.microsoft.com/office/drawing/2014/main" id="{1B24F3BD-C91F-4CDB-BD70-B577890CEEAB}"/>
                </a:ext>
              </a:extLst>
            </p:cNvPr>
            <p:cNvSpPr/>
            <p:nvPr/>
          </p:nvSpPr>
          <p:spPr bwMode="auto">
            <a:xfrm>
              <a:off x="8795097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íṥḷïḋe">
              <a:extLst>
                <a:ext uri="{FF2B5EF4-FFF2-40B4-BE49-F238E27FC236}">
                  <a16:creationId xmlns:a16="http://schemas.microsoft.com/office/drawing/2014/main" id="{C0939BB6-D2C2-4677-BC10-F354A9B44885}"/>
                </a:ext>
              </a:extLst>
            </p:cNvPr>
            <p:cNvSpPr/>
            <p:nvPr/>
          </p:nvSpPr>
          <p:spPr bwMode="auto">
            <a:xfrm>
              <a:off x="7134886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10" y="20"/>
                    <a:pt x="19" y="20"/>
                  </a:cubicBezTo>
                  <a:cubicBezTo>
                    <a:pt x="27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îṧḷïḓé">
              <a:extLst>
                <a:ext uri="{FF2B5EF4-FFF2-40B4-BE49-F238E27FC236}">
                  <a16:creationId xmlns:a16="http://schemas.microsoft.com/office/drawing/2014/main" id="{7AEB161C-1E6C-4253-A353-1925B870CA31}"/>
                </a:ext>
              </a:extLst>
            </p:cNvPr>
            <p:cNvSpPr/>
            <p:nvPr/>
          </p:nvSpPr>
          <p:spPr bwMode="auto">
            <a:xfrm>
              <a:off x="7273752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10" y="20"/>
                    <a:pt x="18" y="20"/>
                  </a:cubicBezTo>
                  <a:cubicBezTo>
                    <a:pt x="27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î$líḋe">
              <a:extLst>
                <a:ext uri="{FF2B5EF4-FFF2-40B4-BE49-F238E27FC236}">
                  <a16:creationId xmlns:a16="http://schemas.microsoft.com/office/drawing/2014/main" id="{99E33696-24D9-4DD7-BBC5-9B7F86F8F16F}"/>
                </a:ext>
              </a:extLst>
            </p:cNvPr>
            <p:cNvSpPr/>
            <p:nvPr/>
          </p:nvSpPr>
          <p:spPr bwMode="auto">
            <a:xfrm>
              <a:off x="7407988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5 w 34"/>
                <a:gd name="T3" fmla="*/ 0 h 20"/>
                <a:gd name="T4" fmla="*/ 2 w 34"/>
                <a:gd name="T5" fmla="*/ 10 h 20"/>
                <a:gd name="T6" fmla="*/ 19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19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ïṧḻíḑe">
              <a:extLst>
                <a:ext uri="{FF2B5EF4-FFF2-40B4-BE49-F238E27FC236}">
                  <a16:creationId xmlns:a16="http://schemas.microsoft.com/office/drawing/2014/main" id="{AB7BE0E9-BFDB-4461-A5FB-1C8A72495F00}"/>
                </a:ext>
              </a:extLst>
            </p:cNvPr>
            <p:cNvSpPr/>
            <p:nvPr/>
          </p:nvSpPr>
          <p:spPr bwMode="auto">
            <a:xfrm>
              <a:off x="7546854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3" y="15"/>
                    <a:pt x="11" y="20"/>
                    <a:pt x="19" y="20"/>
                  </a:cubicBezTo>
                  <a:cubicBezTo>
                    <a:pt x="28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iṩḻiďè">
              <a:extLst>
                <a:ext uri="{FF2B5EF4-FFF2-40B4-BE49-F238E27FC236}">
                  <a16:creationId xmlns:a16="http://schemas.microsoft.com/office/drawing/2014/main" id="{4417F674-6FD6-419D-B078-15BB66D626EF}"/>
                </a:ext>
              </a:extLst>
            </p:cNvPr>
            <p:cNvSpPr/>
            <p:nvPr/>
          </p:nvSpPr>
          <p:spPr bwMode="auto">
            <a:xfrm>
              <a:off x="7682633" y="2532461"/>
              <a:ext cx="123436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9" y="20"/>
                    <a:pt x="34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śḷïdê">
              <a:extLst>
                <a:ext uri="{FF2B5EF4-FFF2-40B4-BE49-F238E27FC236}">
                  <a16:creationId xmlns:a16="http://schemas.microsoft.com/office/drawing/2014/main" id="{A955F6FD-F7A0-441D-A462-1BD09FF1B59F}"/>
                </a:ext>
              </a:extLst>
            </p:cNvPr>
            <p:cNvSpPr/>
            <p:nvPr/>
          </p:nvSpPr>
          <p:spPr bwMode="auto">
            <a:xfrm>
              <a:off x="7819955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íṣ1îḍè">
              <a:extLst>
                <a:ext uri="{FF2B5EF4-FFF2-40B4-BE49-F238E27FC236}">
                  <a16:creationId xmlns:a16="http://schemas.microsoft.com/office/drawing/2014/main" id="{B003D50B-727E-47E2-A675-A22217854C55}"/>
                </a:ext>
              </a:extLst>
            </p:cNvPr>
            <p:cNvSpPr/>
            <p:nvPr/>
          </p:nvSpPr>
          <p:spPr bwMode="auto">
            <a:xfrm>
              <a:off x="7958820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1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1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iSľíďê">
              <a:extLst>
                <a:ext uri="{FF2B5EF4-FFF2-40B4-BE49-F238E27FC236}">
                  <a16:creationId xmlns:a16="http://schemas.microsoft.com/office/drawing/2014/main" id="{92E69E72-D5CC-4673-99F7-B6D0996F0FA4}"/>
                </a:ext>
              </a:extLst>
            </p:cNvPr>
            <p:cNvSpPr/>
            <p:nvPr/>
          </p:nvSpPr>
          <p:spPr bwMode="auto">
            <a:xfrm>
              <a:off x="8094599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2" y="20"/>
                    <a:pt x="21" y="20"/>
                  </a:cubicBezTo>
                  <a:cubicBezTo>
                    <a:pt x="29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í$1îḑê">
              <a:extLst>
                <a:ext uri="{FF2B5EF4-FFF2-40B4-BE49-F238E27FC236}">
                  <a16:creationId xmlns:a16="http://schemas.microsoft.com/office/drawing/2014/main" id="{C2647CE7-3A13-49E8-98AF-1E9B913F9345}"/>
                </a:ext>
              </a:extLst>
            </p:cNvPr>
            <p:cNvSpPr/>
            <p:nvPr/>
          </p:nvSpPr>
          <p:spPr bwMode="auto">
            <a:xfrm>
              <a:off x="8233464" y="2532461"/>
              <a:ext cx="123436" cy="72519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3" y="15"/>
                    <a:pt x="12" y="20"/>
                    <a:pt x="21" y="20"/>
                  </a:cubicBezTo>
                  <a:cubicBezTo>
                    <a:pt x="29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îşḻîďê">
              <a:extLst>
                <a:ext uri="{FF2B5EF4-FFF2-40B4-BE49-F238E27FC236}">
                  <a16:creationId xmlns:a16="http://schemas.microsoft.com/office/drawing/2014/main" id="{F9A83490-1E33-42E5-A17B-4E338A8E1EC5}"/>
                </a:ext>
              </a:extLst>
            </p:cNvPr>
            <p:cNvSpPr/>
            <p:nvPr/>
          </p:nvSpPr>
          <p:spPr bwMode="auto">
            <a:xfrm>
              <a:off x="8367701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3" y="20"/>
                    <a:pt x="21" y="20"/>
                  </a:cubicBezTo>
                  <a:cubicBezTo>
                    <a:pt x="30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iṣḻíďè">
              <a:extLst>
                <a:ext uri="{FF2B5EF4-FFF2-40B4-BE49-F238E27FC236}">
                  <a16:creationId xmlns:a16="http://schemas.microsoft.com/office/drawing/2014/main" id="{9E1F1224-2AA7-4E0D-B83A-D3E62E4B3E00}"/>
                </a:ext>
              </a:extLst>
            </p:cNvPr>
            <p:cNvSpPr/>
            <p:nvPr/>
          </p:nvSpPr>
          <p:spPr bwMode="auto">
            <a:xfrm>
              <a:off x="8506566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3" y="20"/>
                    <a:pt x="21" y="20"/>
                  </a:cubicBezTo>
                  <a:cubicBezTo>
                    <a:pt x="30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ïş1íďé">
              <a:extLst>
                <a:ext uri="{FF2B5EF4-FFF2-40B4-BE49-F238E27FC236}">
                  <a16:creationId xmlns:a16="http://schemas.microsoft.com/office/drawing/2014/main" id="{13F1FCE0-F5FD-4281-8823-B76BC6BA9D2A}"/>
                </a:ext>
              </a:extLst>
            </p:cNvPr>
            <p:cNvSpPr/>
            <p:nvPr/>
          </p:nvSpPr>
          <p:spPr bwMode="auto">
            <a:xfrm>
              <a:off x="8642346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5"/>
                    <a:pt x="14" y="20"/>
                    <a:pt x="22" y="20"/>
                  </a:cubicBezTo>
                  <a:cubicBezTo>
                    <a:pt x="31" y="20"/>
                    <a:pt x="36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iṡlîḋé">
              <a:extLst>
                <a:ext uri="{FF2B5EF4-FFF2-40B4-BE49-F238E27FC236}">
                  <a16:creationId xmlns:a16="http://schemas.microsoft.com/office/drawing/2014/main" id="{9AA76F48-1E33-4333-841C-ED26CBD18379}"/>
                </a:ext>
              </a:extLst>
            </p:cNvPr>
            <p:cNvSpPr/>
            <p:nvPr/>
          </p:nvSpPr>
          <p:spPr bwMode="auto">
            <a:xfrm>
              <a:off x="7153402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0" y="20"/>
                    <a:pt x="18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îṣļïḑé">
              <a:extLst>
                <a:ext uri="{FF2B5EF4-FFF2-40B4-BE49-F238E27FC236}">
                  <a16:creationId xmlns:a16="http://schemas.microsoft.com/office/drawing/2014/main" id="{019E6601-DC07-4F77-B7CA-5C73112584A7}"/>
                </a:ext>
              </a:extLst>
            </p:cNvPr>
            <p:cNvSpPr/>
            <p:nvPr/>
          </p:nvSpPr>
          <p:spPr bwMode="auto">
            <a:xfrm>
              <a:off x="7290725" y="2623494"/>
              <a:ext cx="121893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0" y="20"/>
                    <a:pt x="19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íśḷïde">
              <a:extLst>
                <a:ext uri="{FF2B5EF4-FFF2-40B4-BE49-F238E27FC236}">
                  <a16:creationId xmlns:a16="http://schemas.microsoft.com/office/drawing/2014/main" id="{538FD5B8-13D4-481E-8366-471917838DFB}"/>
                </a:ext>
              </a:extLst>
            </p:cNvPr>
            <p:cNvSpPr/>
            <p:nvPr/>
          </p:nvSpPr>
          <p:spPr bwMode="auto">
            <a:xfrm>
              <a:off x="7429590" y="2623494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1 w 34"/>
                <a:gd name="T5" fmla="*/ 10 h 20"/>
                <a:gd name="T6" fmla="*/ 19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1" y="20"/>
                    <a:pt x="19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ïṧḷíḍê">
              <a:extLst>
                <a:ext uri="{FF2B5EF4-FFF2-40B4-BE49-F238E27FC236}">
                  <a16:creationId xmlns:a16="http://schemas.microsoft.com/office/drawing/2014/main" id="{E48CB3C3-B809-42DF-A672-1C2DF686605F}"/>
                </a:ext>
              </a:extLst>
            </p:cNvPr>
            <p:cNvSpPr/>
            <p:nvPr/>
          </p:nvSpPr>
          <p:spPr bwMode="auto">
            <a:xfrm>
              <a:off x="7568455" y="2623494"/>
              <a:ext cx="124979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1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8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íṧ1iḑê">
              <a:extLst>
                <a:ext uri="{FF2B5EF4-FFF2-40B4-BE49-F238E27FC236}">
                  <a16:creationId xmlns:a16="http://schemas.microsoft.com/office/drawing/2014/main" id="{729F9EC5-C8ED-4127-9A81-CF9AEE48204B}"/>
                </a:ext>
              </a:extLst>
            </p:cNvPr>
            <p:cNvSpPr/>
            <p:nvPr/>
          </p:nvSpPr>
          <p:spPr bwMode="auto">
            <a:xfrm>
              <a:off x="7707320" y="2623494"/>
              <a:ext cx="123436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9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ïslíḑe">
              <a:extLst>
                <a:ext uri="{FF2B5EF4-FFF2-40B4-BE49-F238E27FC236}">
                  <a16:creationId xmlns:a16="http://schemas.microsoft.com/office/drawing/2014/main" id="{43454F09-B84C-4A1A-9C43-C11BF6E9FFCC}"/>
                </a:ext>
              </a:extLst>
            </p:cNvPr>
            <p:cNvSpPr/>
            <p:nvPr/>
          </p:nvSpPr>
          <p:spPr bwMode="auto">
            <a:xfrm>
              <a:off x="7846185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0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6"/>
                    <a:pt x="12" y="20"/>
                    <a:pt x="20" y="20"/>
                  </a:cubicBezTo>
                  <a:cubicBezTo>
                    <a:pt x="29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îsḷíďè">
              <a:extLst>
                <a:ext uri="{FF2B5EF4-FFF2-40B4-BE49-F238E27FC236}">
                  <a16:creationId xmlns:a16="http://schemas.microsoft.com/office/drawing/2014/main" id="{26EB122C-6B91-4FD9-B5A3-405957EBD7FD}"/>
                </a:ext>
              </a:extLst>
            </p:cNvPr>
            <p:cNvSpPr/>
            <p:nvPr/>
          </p:nvSpPr>
          <p:spPr bwMode="auto">
            <a:xfrm>
              <a:off x="7985050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29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iS1ídé">
              <a:extLst>
                <a:ext uri="{FF2B5EF4-FFF2-40B4-BE49-F238E27FC236}">
                  <a16:creationId xmlns:a16="http://schemas.microsoft.com/office/drawing/2014/main" id="{334D6F98-4867-4FD9-BF04-49A07EBFB250}"/>
                </a:ext>
              </a:extLst>
            </p:cNvPr>
            <p:cNvSpPr/>
            <p:nvPr/>
          </p:nvSpPr>
          <p:spPr bwMode="auto">
            <a:xfrm>
              <a:off x="8123916" y="2623494"/>
              <a:ext cx="126522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îşḻïḍe">
              <a:extLst>
                <a:ext uri="{FF2B5EF4-FFF2-40B4-BE49-F238E27FC236}">
                  <a16:creationId xmlns:a16="http://schemas.microsoft.com/office/drawing/2014/main" id="{00A96206-F293-4C0F-AAF5-85107F0EB014}"/>
                </a:ext>
              </a:extLst>
            </p:cNvPr>
            <p:cNvSpPr/>
            <p:nvPr/>
          </p:nvSpPr>
          <p:spPr bwMode="auto">
            <a:xfrm>
              <a:off x="8262781" y="2623494"/>
              <a:ext cx="126522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ïŝḻídè">
              <a:extLst>
                <a:ext uri="{FF2B5EF4-FFF2-40B4-BE49-F238E27FC236}">
                  <a16:creationId xmlns:a16="http://schemas.microsoft.com/office/drawing/2014/main" id="{9D4C3720-E6CE-4C68-A736-B9B4315C7173}"/>
                </a:ext>
              </a:extLst>
            </p:cNvPr>
            <p:cNvSpPr/>
            <p:nvPr/>
          </p:nvSpPr>
          <p:spPr bwMode="auto">
            <a:xfrm>
              <a:off x="8400103" y="2623494"/>
              <a:ext cx="132693" cy="72519"/>
            </a:xfrm>
            <a:custGeom>
              <a:avLst/>
              <a:gdLst>
                <a:gd name="T0" fmla="*/ 33 w 36"/>
                <a:gd name="T1" fmla="*/ 10 h 20"/>
                <a:gd name="T2" fmla="*/ 14 w 36"/>
                <a:gd name="T3" fmla="*/ 0 h 20"/>
                <a:gd name="T4" fmla="*/ 2 w 36"/>
                <a:gd name="T5" fmla="*/ 10 h 20"/>
                <a:gd name="T6" fmla="*/ 2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3" y="20"/>
                    <a:pt x="22" y="20"/>
                  </a:cubicBezTo>
                  <a:cubicBezTo>
                    <a:pt x="30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îṣ1îdè">
              <a:extLst>
                <a:ext uri="{FF2B5EF4-FFF2-40B4-BE49-F238E27FC236}">
                  <a16:creationId xmlns:a16="http://schemas.microsoft.com/office/drawing/2014/main" id="{2624EF7F-F09B-4C3C-862B-724334D80E34}"/>
                </a:ext>
              </a:extLst>
            </p:cNvPr>
            <p:cNvSpPr/>
            <p:nvPr/>
          </p:nvSpPr>
          <p:spPr bwMode="auto">
            <a:xfrm>
              <a:off x="8538968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2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2" y="20"/>
                  </a:cubicBezTo>
                  <a:cubicBezTo>
                    <a:pt x="31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íšḷîḍê">
              <a:extLst>
                <a:ext uri="{FF2B5EF4-FFF2-40B4-BE49-F238E27FC236}">
                  <a16:creationId xmlns:a16="http://schemas.microsoft.com/office/drawing/2014/main" id="{BF3BF498-1910-4259-B6CA-C0CB4CAD0035}"/>
                </a:ext>
              </a:extLst>
            </p:cNvPr>
            <p:cNvSpPr/>
            <p:nvPr/>
          </p:nvSpPr>
          <p:spPr bwMode="auto">
            <a:xfrm>
              <a:off x="8677833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íṩḻídè">
              <a:extLst>
                <a:ext uri="{FF2B5EF4-FFF2-40B4-BE49-F238E27FC236}">
                  <a16:creationId xmlns:a16="http://schemas.microsoft.com/office/drawing/2014/main" id="{3DC07FC4-1778-49C5-9717-F7DCD54AFFEB}"/>
                </a:ext>
              </a:extLst>
            </p:cNvPr>
            <p:cNvSpPr/>
            <p:nvPr/>
          </p:nvSpPr>
          <p:spPr bwMode="auto">
            <a:xfrm>
              <a:off x="7170375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4 w 33"/>
                <a:gd name="T3" fmla="*/ 0 h 22"/>
                <a:gd name="T4" fmla="*/ 1 w 33"/>
                <a:gd name="T5" fmla="*/ 11 h 22"/>
                <a:gd name="T6" fmla="*/ 19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ïsḷíḋé">
              <a:extLst>
                <a:ext uri="{FF2B5EF4-FFF2-40B4-BE49-F238E27FC236}">
                  <a16:creationId xmlns:a16="http://schemas.microsoft.com/office/drawing/2014/main" id="{BDE39581-C829-4EA1-979B-196FB4DBA06B}"/>
                </a:ext>
              </a:extLst>
            </p:cNvPr>
            <p:cNvSpPr/>
            <p:nvPr/>
          </p:nvSpPr>
          <p:spPr bwMode="auto">
            <a:xfrm>
              <a:off x="7309240" y="2714528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iSļiḑê">
              <a:extLst>
                <a:ext uri="{FF2B5EF4-FFF2-40B4-BE49-F238E27FC236}">
                  <a16:creationId xmlns:a16="http://schemas.microsoft.com/office/drawing/2014/main" id="{AA4317FA-0A16-4C1E-BE25-17F1C8B74129}"/>
                </a:ext>
              </a:extLst>
            </p:cNvPr>
            <p:cNvSpPr/>
            <p:nvPr/>
          </p:nvSpPr>
          <p:spPr bwMode="auto">
            <a:xfrm>
              <a:off x="7452733" y="2714528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1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íSḻíďè">
              <a:extLst>
                <a:ext uri="{FF2B5EF4-FFF2-40B4-BE49-F238E27FC236}">
                  <a16:creationId xmlns:a16="http://schemas.microsoft.com/office/drawing/2014/main" id="{775F9C67-A10F-4FD1-B94B-57B45936A142}"/>
                </a:ext>
              </a:extLst>
            </p:cNvPr>
            <p:cNvSpPr/>
            <p:nvPr/>
          </p:nvSpPr>
          <p:spPr bwMode="auto">
            <a:xfrm>
              <a:off x="7590056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ŝḻîďe">
              <a:extLst>
                <a:ext uri="{FF2B5EF4-FFF2-40B4-BE49-F238E27FC236}">
                  <a16:creationId xmlns:a16="http://schemas.microsoft.com/office/drawing/2014/main" id="{619D7104-19E2-4DD0-BFC3-A420612ADC3F}"/>
                </a:ext>
              </a:extLst>
            </p:cNvPr>
            <p:cNvSpPr/>
            <p:nvPr/>
          </p:nvSpPr>
          <p:spPr bwMode="auto">
            <a:xfrm>
              <a:off x="7733550" y="2714528"/>
              <a:ext cx="126522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i$ļïḍe">
              <a:extLst>
                <a:ext uri="{FF2B5EF4-FFF2-40B4-BE49-F238E27FC236}">
                  <a16:creationId xmlns:a16="http://schemas.microsoft.com/office/drawing/2014/main" id="{4D0DFF95-81AA-4D62-A358-26A6D02F10C1}"/>
                </a:ext>
              </a:extLst>
            </p:cNvPr>
            <p:cNvSpPr/>
            <p:nvPr/>
          </p:nvSpPr>
          <p:spPr bwMode="auto">
            <a:xfrm>
              <a:off x="7872415" y="2714528"/>
              <a:ext cx="126522" cy="80233"/>
            </a:xfrm>
            <a:custGeom>
              <a:avLst/>
              <a:gdLst>
                <a:gd name="T0" fmla="*/ 34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2" y="22"/>
                    <a:pt x="21" y="22"/>
                  </a:cubicBezTo>
                  <a:cubicBezTo>
                    <a:pt x="30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iṥļíḓe">
              <a:extLst>
                <a:ext uri="{FF2B5EF4-FFF2-40B4-BE49-F238E27FC236}">
                  <a16:creationId xmlns:a16="http://schemas.microsoft.com/office/drawing/2014/main" id="{1AAA40B7-9355-4FDE-B195-0A0A6DCD6B29}"/>
                </a:ext>
              </a:extLst>
            </p:cNvPr>
            <p:cNvSpPr/>
            <p:nvPr/>
          </p:nvSpPr>
          <p:spPr bwMode="auto">
            <a:xfrm>
              <a:off x="8014366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3" y="17"/>
                    <a:pt x="12" y="22"/>
                    <a:pt x="21" y="22"/>
                  </a:cubicBezTo>
                  <a:cubicBezTo>
                    <a:pt x="30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îślíḑe">
              <a:extLst>
                <a:ext uri="{FF2B5EF4-FFF2-40B4-BE49-F238E27FC236}">
                  <a16:creationId xmlns:a16="http://schemas.microsoft.com/office/drawing/2014/main" id="{4FA187A8-15C2-47F5-AE3F-7AD95AC6DC8B}"/>
                </a:ext>
              </a:extLst>
            </p:cNvPr>
            <p:cNvSpPr/>
            <p:nvPr/>
          </p:nvSpPr>
          <p:spPr bwMode="auto">
            <a:xfrm>
              <a:off x="815323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5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ïslïḋè">
              <a:extLst>
                <a:ext uri="{FF2B5EF4-FFF2-40B4-BE49-F238E27FC236}">
                  <a16:creationId xmlns:a16="http://schemas.microsoft.com/office/drawing/2014/main" id="{E3E3D8D2-161F-4862-B526-BD6171DBD93D}"/>
                </a:ext>
              </a:extLst>
            </p:cNvPr>
            <p:cNvSpPr/>
            <p:nvPr/>
          </p:nvSpPr>
          <p:spPr bwMode="auto">
            <a:xfrm>
              <a:off x="8295182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ïsļîdè">
              <a:extLst>
                <a:ext uri="{FF2B5EF4-FFF2-40B4-BE49-F238E27FC236}">
                  <a16:creationId xmlns:a16="http://schemas.microsoft.com/office/drawing/2014/main" id="{A1345B08-5384-4698-BBFB-C2D4267C5BBC}"/>
                </a:ext>
              </a:extLst>
            </p:cNvPr>
            <p:cNvSpPr/>
            <p:nvPr/>
          </p:nvSpPr>
          <p:spPr bwMode="auto">
            <a:xfrm>
              <a:off x="8437133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1" y="22"/>
                  </a:cubicBezTo>
                  <a:cubicBezTo>
                    <a:pt x="30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$lîḋe">
              <a:extLst>
                <a:ext uri="{FF2B5EF4-FFF2-40B4-BE49-F238E27FC236}">
                  <a16:creationId xmlns:a16="http://schemas.microsoft.com/office/drawing/2014/main" id="{CBEA2227-5006-450F-B009-F85DDF95CCCD}"/>
                </a:ext>
              </a:extLst>
            </p:cNvPr>
            <p:cNvSpPr/>
            <p:nvPr/>
          </p:nvSpPr>
          <p:spPr bwMode="auto">
            <a:xfrm>
              <a:off x="8575998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ïSļîdê">
              <a:extLst>
                <a:ext uri="{FF2B5EF4-FFF2-40B4-BE49-F238E27FC236}">
                  <a16:creationId xmlns:a16="http://schemas.microsoft.com/office/drawing/2014/main" id="{34A7C5C4-0959-4DF1-9414-0DC1241769FA}"/>
                </a:ext>
              </a:extLst>
            </p:cNvPr>
            <p:cNvSpPr/>
            <p:nvPr/>
          </p:nvSpPr>
          <p:spPr bwMode="auto">
            <a:xfrm>
              <a:off x="871795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3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1" y="5"/>
                    <a:pt x="22" y="0"/>
                    <a:pt x="13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íšľïḓé">
              <a:extLst>
                <a:ext uri="{FF2B5EF4-FFF2-40B4-BE49-F238E27FC236}">
                  <a16:creationId xmlns:a16="http://schemas.microsoft.com/office/drawing/2014/main" id="{7F732BAA-911D-45C9-9438-004BE8A1C53F}"/>
                </a:ext>
              </a:extLst>
            </p:cNvPr>
            <p:cNvSpPr/>
            <p:nvPr/>
          </p:nvSpPr>
          <p:spPr bwMode="auto">
            <a:xfrm>
              <a:off x="7185804" y="2810191"/>
              <a:ext cx="128065" cy="80233"/>
            </a:xfrm>
            <a:custGeom>
              <a:avLst/>
              <a:gdLst>
                <a:gd name="T0" fmla="*/ 34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0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7" y="0"/>
                    <a:pt x="0" y="5"/>
                    <a:pt x="2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ṧ1ïḓé">
              <a:extLst>
                <a:ext uri="{FF2B5EF4-FFF2-40B4-BE49-F238E27FC236}">
                  <a16:creationId xmlns:a16="http://schemas.microsoft.com/office/drawing/2014/main" id="{75610977-62A3-4A65-9B19-9B4E50309889}"/>
                </a:ext>
              </a:extLst>
            </p:cNvPr>
            <p:cNvSpPr/>
            <p:nvPr/>
          </p:nvSpPr>
          <p:spPr bwMode="auto">
            <a:xfrm>
              <a:off x="7330841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ïś1ídè">
              <a:extLst>
                <a:ext uri="{FF2B5EF4-FFF2-40B4-BE49-F238E27FC236}">
                  <a16:creationId xmlns:a16="http://schemas.microsoft.com/office/drawing/2014/main" id="{9BB27F02-A7D3-4893-9F78-3D807658541C}"/>
                </a:ext>
              </a:extLst>
            </p:cNvPr>
            <p:cNvSpPr/>
            <p:nvPr/>
          </p:nvSpPr>
          <p:spPr bwMode="auto">
            <a:xfrm>
              <a:off x="7474336" y="2810191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20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1" y="22"/>
                    <a:pt x="20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îŝľidè">
              <a:extLst>
                <a:ext uri="{FF2B5EF4-FFF2-40B4-BE49-F238E27FC236}">
                  <a16:creationId xmlns:a16="http://schemas.microsoft.com/office/drawing/2014/main" id="{883FA116-BF8B-4DAD-B7EC-822355DB8ED4}"/>
                </a:ext>
              </a:extLst>
            </p:cNvPr>
            <p:cNvSpPr/>
            <p:nvPr/>
          </p:nvSpPr>
          <p:spPr bwMode="auto">
            <a:xfrm>
              <a:off x="7616287" y="2810191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ïş1iḑè">
              <a:extLst>
                <a:ext uri="{FF2B5EF4-FFF2-40B4-BE49-F238E27FC236}">
                  <a16:creationId xmlns:a16="http://schemas.microsoft.com/office/drawing/2014/main" id="{CBA634A0-BBA3-4BF7-A2B9-E267015C8A78}"/>
                </a:ext>
              </a:extLst>
            </p:cNvPr>
            <p:cNvSpPr/>
            <p:nvPr/>
          </p:nvSpPr>
          <p:spPr bwMode="auto">
            <a:xfrm>
              <a:off x="7758238" y="2810191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ś1íḍè">
              <a:extLst>
                <a:ext uri="{FF2B5EF4-FFF2-40B4-BE49-F238E27FC236}">
                  <a16:creationId xmlns:a16="http://schemas.microsoft.com/office/drawing/2014/main" id="{2CC985E2-E6B9-4422-8615-21691FACD18F}"/>
                </a:ext>
              </a:extLst>
            </p:cNvPr>
            <p:cNvSpPr/>
            <p:nvPr/>
          </p:nvSpPr>
          <p:spPr bwMode="auto">
            <a:xfrm>
              <a:off x="7900189" y="2810191"/>
              <a:ext cx="128065" cy="80233"/>
            </a:xfrm>
            <a:custGeom>
              <a:avLst/>
              <a:gdLst>
                <a:gd name="T0" fmla="*/ 34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7"/>
                    <a:pt x="12" y="22"/>
                    <a:pt x="21" y="22"/>
                  </a:cubicBezTo>
                  <a:cubicBezTo>
                    <a:pt x="30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ïşľïḍè">
              <a:extLst>
                <a:ext uri="{FF2B5EF4-FFF2-40B4-BE49-F238E27FC236}">
                  <a16:creationId xmlns:a16="http://schemas.microsoft.com/office/drawing/2014/main" id="{3CBAD3AB-46B4-4162-AA41-B5B918EF5312}"/>
                </a:ext>
              </a:extLst>
            </p:cNvPr>
            <p:cNvSpPr/>
            <p:nvPr/>
          </p:nvSpPr>
          <p:spPr bwMode="auto">
            <a:xfrm>
              <a:off x="8043682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1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2" y="22"/>
                    <a:pt x="21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íṥľîḓê">
              <a:extLst>
                <a:ext uri="{FF2B5EF4-FFF2-40B4-BE49-F238E27FC236}">
                  <a16:creationId xmlns:a16="http://schemas.microsoft.com/office/drawing/2014/main" id="{D61B3BA6-58B9-47DA-9D4B-E813CE508EDB}"/>
                </a:ext>
              </a:extLst>
            </p:cNvPr>
            <p:cNvSpPr/>
            <p:nvPr/>
          </p:nvSpPr>
          <p:spPr bwMode="auto">
            <a:xfrm>
              <a:off x="8185633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iṣḻídè">
              <a:extLst>
                <a:ext uri="{FF2B5EF4-FFF2-40B4-BE49-F238E27FC236}">
                  <a16:creationId xmlns:a16="http://schemas.microsoft.com/office/drawing/2014/main" id="{47FEF1F6-501E-4820-A284-2ABC17C752CC}"/>
                </a:ext>
              </a:extLst>
            </p:cNvPr>
            <p:cNvSpPr/>
            <p:nvPr/>
          </p:nvSpPr>
          <p:spPr bwMode="auto">
            <a:xfrm>
              <a:off x="8327585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îsḷïḋé">
              <a:extLst>
                <a:ext uri="{FF2B5EF4-FFF2-40B4-BE49-F238E27FC236}">
                  <a16:creationId xmlns:a16="http://schemas.microsoft.com/office/drawing/2014/main" id="{E04BD6F4-50A2-48BB-BC86-EC41FCD2B0A8}"/>
                </a:ext>
              </a:extLst>
            </p:cNvPr>
            <p:cNvSpPr/>
            <p:nvPr/>
          </p:nvSpPr>
          <p:spPr bwMode="auto">
            <a:xfrm>
              <a:off x="8469536" y="2810191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2 w 37"/>
                <a:gd name="T5" fmla="*/ 11 h 22"/>
                <a:gd name="T6" fmla="*/ 22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4" y="22"/>
                    <a:pt x="22" y="22"/>
                  </a:cubicBezTo>
                  <a:cubicBezTo>
                    <a:pt x="31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îşlîḍè">
              <a:extLst>
                <a:ext uri="{FF2B5EF4-FFF2-40B4-BE49-F238E27FC236}">
                  <a16:creationId xmlns:a16="http://schemas.microsoft.com/office/drawing/2014/main" id="{4D23A36E-5288-4A6C-80CC-B7C891F25FF3}"/>
                </a:ext>
              </a:extLst>
            </p:cNvPr>
            <p:cNvSpPr/>
            <p:nvPr/>
          </p:nvSpPr>
          <p:spPr bwMode="auto">
            <a:xfrm>
              <a:off x="8613030" y="2810191"/>
              <a:ext cx="134237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2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îṣḷîḍe">
              <a:extLst>
                <a:ext uri="{FF2B5EF4-FFF2-40B4-BE49-F238E27FC236}">
                  <a16:creationId xmlns:a16="http://schemas.microsoft.com/office/drawing/2014/main" id="{E0B565DE-378C-41A0-8A2E-6142EF4A216A}"/>
                </a:ext>
              </a:extLst>
            </p:cNvPr>
            <p:cNvSpPr/>
            <p:nvPr/>
          </p:nvSpPr>
          <p:spPr bwMode="auto">
            <a:xfrm>
              <a:off x="8754981" y="2810191"/>
              <a:ext cx="134237" cy="80233"/>
            </a:xfrm>
            <a:custGeom>
              <a:avLst/>
              <a:gdLst>
                <a:gd name="T0" fmla="*/ 35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3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ŝliďè">
              <a:extLst>
                <a:ext uri="{FF2B5EF4-FFF2-40B4-BE49-F238E27FC236}">
                  <a16:creationId xmlns:a16="http://schemas.microsoft.com/office/drawing/2014/main" id="{84D74228-EECA-4172-AFEA-41775254B467}"/>
                </a:ext>
              </a:extLst>
            </p:cNvPr>
            <p:cNvSpPr/>
            <p:nvPr/>
          </p:nvSpPr>
          <p:spPr bwMode="auto">
            <a:xfrm>
              <a:off x="9889046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12 w 35"/>
                <a:gd name="T3" fmla="*/ 0 h 18"/>
                <a:gd name="T4" fmla="*/ 3 w 35"/>
                <a:gd name="T5" fmla="*/ 9 h 18"/>
                <a:gd name="T6" fmla="*/ 23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8"/>
                    <a:pt x="23" y="18"/>
                  </a:cubicBezTo>
                  <a:cubicBezTo>
                    <a:pt x="31" y="18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ï$lidê">
              <a:extLst>
                <a:ext uri="{FF2B5EF4-FFF2-40B4-BE49-F238E27FC236}">
                  <a16:creationId xmlns:a16="http://schemas.microsoft.com/office/drawing/2014/main" id="{6885540E-BD57-445B-993A-EE8A50F520DF}"/>
                </a:ext>
              </a:extLst>
            </p:cNvPr>
            <p:cNvSpPr/>
            <p:nvPr/>
          </p:nvSpPr>
          <p:spPr bwMode="auto">
            <a:xfrm>
              <a:off x="9808813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íSlïḓè">
              <a:extLst>
                <a:ext uri="{FF2B5EF4-FFF2-40B4-BE49-F238E27FC236}">
                  <a16:creationId xmlns:a16="http://schemas.microsoft.com/office/drawing/2014/main" id="{EC83DFB7-2AF7-44E8-8EFE-666C2D6CB1AD}"/>
                </a:ext>
              </a:extLst>
            </p:cNvPr>
            <p:cNvSpPr/>
            <p:nvPr/>
          </p:nvSpPr>
          <p:spPr bwMode="auto">
            <a:xfrm>
              <a:off x="9939964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îSḷîḋé">
              <a:extLst>
                <a:ext uri="{FF2B5EF4-FFF2-40B4-BE49-F238E27FC236}">
                  <a16:creationId xmlns:a16="http://schemas.microsoft.com/office/drawing/2014/main" id="{B08BC621-F88F-4F68-8BC4-8F7F0DBFDF44}"/>
                </a:ext>
              </a:extLst>
            </p:cNvPr>
            <p:cNvSpPr/>
            <p:nvPr/>
          </p:nvSpPr>
          <p:spPr bwMode="auto">
            <a:xfrm>
              <a:off x="9506396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13 w 36"/>
                <a:gd name="T3" fmla="*/ 0 h 19"/>
                <a:gd name="T4" fmla="*/ 3 w 36"/>
                <a:gd name="T5" fmla="*/ 9 h 19"/>
                <a:gd name="T6" fmla="*/ 24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6" y="15"/>
                    <a:pt x="15" y="19"/>
                    <a:pt x="24" y="19"/>
                  </a:cubicBezTo>
                  <a:cubicBezTo>
                    <a:pt x="32" y="19"/>
                    <a:pt x="36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iṣ1iďe">
              <a:extLst>
                <a:ext uri="{FF2B5EF4-FFF2-40B4-BE49-F238E27FC236}">
                  <a16:creationId xmlns:a16="http://schemas.microsoft.com/office/drawing/2014/main" id="{9538396C-16D3-46C1-A4D0-713AADA496C5}"/>
                </a:ext>
              </a:extLst>
            </p:cNvPr>
            <p:cNvSpPr/>
            <p:nvPr/>
          </p:nvSpPr>
          <p:spPr bwMode="auto">
            <a:xfrm>
              <a:off x="9554228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6" y="16"/>
                    <a:pt x="15" y="20"/>
                    <a:pt x="24" y="20"/>
                  </a:cubicBezTo>
                  <a:cubicBezTo>
                    <a:pt x="32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iṩlïḑè">
              <a:extLst>
                <a:ext uri="{FF2B5EF4-FFF2-40B4-BE49-F238E27FC236}">
                  <a16:creationId xmlns:a16="http://schemas.microsoft.com/office/drawing/2014/main" id="{57FF341F-8D8E-46AC-AD91-A2F93F21FFFB}"/>
                </a:ext>
              </a:extLst>
            </p:cNvPr>
            <p:cNvSpPr/>
            <p:nvPr/>
          </p:nvSpPr>
          <p:spPr bwMode="auto">
            <a:xfrm>
              <a:off x="9600516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3 w 37"/>
                <a:gd name="T5" fmla="*/ 10 h 20"/>
                <a:gd name="T6" fmla="*/ 2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2" y="0"/>
                    <a:pt x="13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6" y="15"/>
                    <a:pt x="16" y="20"/>
                    <a:pt x="24" y="20"/>
                  </a:cubicBezTo>
                  <a:cubicBezTo>
                    <a:pt x="33" y="20"/>
                    <a:pt x="37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iṡlíďê">
              <a:extLst>
                <a:ext uri="{FF2B5EF4-FFF2-40B4-BE49-F238E27FC236}">
                  <a16:creationId xmlns:a16="http://schemas.microsoft.com/office/drawing/2014/main" id="{D14293D8-573D-477D-9342-2BE416BF3F39}"/>
                </a:ext>
              </a:extLst>
            </p:cNvPr>
            <p:cNvSpPr/>
            <p:nvPr/>
          </p:nvSpPr>
          <p:spPr bwMode="auto">
            <a:xfrm>
              <a:off x="9375246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2 w 37"/>
                <a:gd name="T5" fmla="*/ 10 h 20"/>
                <a:gd name="T6" fmla="*/ 2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6"/>
                    <a:pt x="15" y="20"/>
                    <a:pt x="23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ṩḻíḋè">
              <a:extLst>
                <a:ext uri="{FF2B5EF4-FFF2-40B4-BE49-F238E27FC236}">
                  <a16:creationId xmlns:a16="http://schemas.microsoft.com/office/drawing/2014/main" id="{63CA1FAD-5F6B-4D60-84D9-2527AC53A822}"/>
                </a:ext>
              </a:extLst>
            </p:cNvPr>
            <p:cNvSpPr/>
            <p:nvPr/>
          </p:nvSpPr>
          <p:spPr bwMode="auto">
            <a:xfrm>
              <a:off x="9514111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3 w 37"/>
                <a:gd name="T5" fmla="*/ 10 h 20"/>
                <a:gd name="T6" fmla="*/ 2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3" y="10"/>
                  </a:cubicBezTo>
                  <a:cubicBezTo>
                    <a:pt x="6" y="16"/>
                    <a:pt x="15" y="20"/>
                    <a:pt x="24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ṧḻídè">
              <a:extLst>
                <a:ext uri="{FF2B5EF4-FFF2-40B4-BE49-F238E27FC236}">
                  <a16:creationId xmlns:a16="http://schemas.microsoft.com/office/drawing/2014/main" id="{65AB4784-8569-4F0B-994F-8992003623A1}"/>
                </a:ext>
              </a:extLst>
            </p:cNvPr>
            <p:cNvSpPr/>
            <p:nvPr/>
          </p:nvSpPr>
          <p:spPr bwMode="auto">
            <a:xfrm>
              <a:off x="9375246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3 w 34"/>
                <a:gd name="T5" fmla="*/ 9 h 18"/>
                <a:gd name="T6" fmla="*/ 2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4"/>
                    <a:pt x="14" y="18"/>
                    <a:pt x="22" y="18"/>
                  </a:cubicBezTo>
                  <a:cubicBezTo>
                    <a:pt x="30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ísľîde">
              <a:extLst>
                <a:ext uri="{FF2B5EF4-FFF2-40B4-BE49-F238E27FC236}">
                  <a16:creationId xmlns:a16="http://schemas.microsoft.com/office/drawing/2014/main" id="{BEFFB65A-6BE7-467C-952E-072CE214A3B5}"/>
                </a:ext>
              </a:extLst>
            </p:cNvPr>
            <p:cNvSpPr/>
            <p:nvPr/>
          </p:nvSpPr>
          <p:spPr bwMode="auto">
            <a:xfrm>
              <a:off x="9418448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íşľiďé">
              <a:extLst>
                <a:ext uri="{FF2B5EF4-FFF2-40B4-BE49-F238E27FC236}">
                  <a16:creationId xmlns:a16="http://schemas.microsoft.com/office/drawing/2014/main" id="{A5FDA417-2888-4C5E-A7E7-A49032BF2A7D}"/>
                </a:ext>
              </a:extLst>
            </p:cNvPr>
            <p:cNvSpPr/>
            <p:nvPr/>
          </p:nvSpPr>
          <p:spPr bwMode="auto">
            <a:xfrm>
              <a:off x="9463193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4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ïṣļïḓè">
              <a:extLst>
                <a:ext uri="{FF2B5EF4-FFF2-40B4-BE49-F238E27FC236}">
                  <a16:creationId xmlns:a16="http://schemas.microsoft.com/office/drawing/2014/main" id="{B1AF9DB2-4F8B-4F6E-825D-2FD390F34E27}"/>
                </a:ext>
              </a:extLst>
            </p:cNvPr>
            <p:cNvSpPr/>
            <p:nvPr/>
          </p:nvSpPr>
          <p:spPr bwMode="auto">
            <a:xfrm>
              <a:off x="8199520" y="1734757"/>
              <a:ext cx="114178" cy="58632"/>
            </a:xfrm>
            <a:custGeom>
              <a:avLst/>
              <a:gdLst>
                <a:gd name="T0" fmla="*/ 29 w 31"/>
                <a:gd name="T1" fmla="*/ 8 h 16"/>
                <a:gd name="T2" fmla="*/ 13 w 31"/>
                <a:gd name="T3" fmla="*/ 0 h 16"/>
                <a:gd name="T4" fmla="*/ 2 w 31"/>
                <a:gd name="T5" fmla="*/ 8 h 16"/>
                <a:gd name="T6" fmla="*/ 19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2" y="8"/>
                  </a:cubicBezTo>
                  <a:cubicBezTo>
                    <a:pt x="4" y="12"/>
                    <a:pt x="11" y="16"/>
                    <a:pt x="19" y="16"/>
                  </a:cubicBezTo>
                  <a:cubicBezTo>
                    <a:pt x="26" y="16"/>
                    <a:pt x="31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i$1îḋê">
              <a:extLst>
                <a:ext uri="{FF2B5EF4-FFF2-40B4-BE49-F238E27FC236}">
                  <a16:creationId xmlns:a16="http://schemas.microsoft.com/office/drawing/2014/main" id="{92751D47-CA59-4BDC-9039-E982116BEE7E}"/>
                </a:ext>
              </a:extLst>
            </p:cNvPr>
            <p:cNvSpPr/>
            <p:nvPr/>
          </p:nvSpPr>
          <p:spPr bwMode="auto">
            <a:xfrm>
              <a:off x="710865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3 w 29"/>
                <a:gd name="T3" fmla="*/ 0 h 16"/>
                <a:gd name="T4" fmla="*/ 1 w 29"/>
                <a:gd name="T5" fmla="*/ 8 h 16"/>
                <a:gd name="T6" fmla="*/ 16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1" y="8"/>
                  </a:cubicBezTo>
                  <a:cubicBezTo>
                    <a:pt x="2" y="12"/>
                    <a:pt x="8" y="16"/>
                    <a:pt x="16" y="16"/>
                  </a:cubicBezTo>
                  <a:cubicBezTo>
                    <a:pt x="23" y="16"/>
                    <a:pt x="29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îṧľîḓe">
              <a:extLst>
                <a:ext uri="{FF2B5EF4-FFF2-40B4-BE49-F238E27FC236}">
                  <a16:creationId xmlns:a16="http://schemas.microsoft.com/office/drawing/2014/main" id="{DBD4C190-0482-43E5-B8AB-A13E2F2B5867}"/>
                </a:ext>
              </a:extLst>
            </p:cNvPr>
            <p:cNvSpPr/>
            <p:nvPr/>
          </p:nvSpPr>
          <p:spPr bwMode="auto">
            <a:xfrm>
              <a:off x="722900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3 w 29"/>
                <a:gd name="T3" fmla="*/ 0 h 16"/>
                <a:gd name="T4" fmla="*/ 1 w 29"/>
                <a:gd name="T5" fmla="*/ 8 h 16"/>
                <a:gd name="T6" fmla="*/ 16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1" y="8"/>
                  </a:cubicBezTo>
                  <a:cubicBezTo>
                    <a:pt x="2" y="12"/>
                    <a:pt x="9" y="16"/>
                    <a:pt x="16" y="16"/>
                  </a:cubicBezTo>
                  <a:cubicBezTo>
                    <a:pt x="24" y="16"/>
                    <a:pt x="29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íŝlïḍè">
              <a:extLst>
                <a:ext uri="{FF2B5EF4-FFF2-40B4-BE49-F238E27FC236}">
                  <a16:creationId xmlns:a16="http://schemas.microsoft.com/office/drawing/2014/main" id="{0BF10E25-78B7-4B50-9B07-98035C1658F3}"/>
                </a:ext>
              </a:extLst>
            </p:cNvPr>
            <p:cNvSpPr/>
            <p:nvPr/>
          </p:nvSpPr>
          <p:spPr bwMode="auto">
            <a:xfrm>
              <a:off x="6875672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9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ïṡliďê">
              <a:extLst>
                <a:ext uri="{FF2B5EF4-FFF2-40B4-BE49-F238E27FC236}">
                  <a16:creationId xmlns:a16="http://schemas.microsoft.com/office/drawing/2014/main" id="{1D8CFE68-6319-4919-B87A-8D44E4BB12BF}"/>
                </a:ext>
              </a:extLst>
            </p:cNvPr>
            <p:cNvSpPr/>
            <p:nvPr/>
          </p:nvSpPr>
          <p:spPr bwMode="auto">
            <a:xfrm>
              <a:off x="6999108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3 w 29"/>
                <a:gd name="T3" fmla="*/ 0 h 17"/>
                <a:gd name="T4" fmla="*/ 1 w 29"/>
                <a:gd name="T5" fmla="*/ 9 h 17"/>
                <a:gd name="T6" fmla="*/ 16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9" y="17"/>
                    <a:pt x="16" y="17"/>
                  </a:cubicBezTo>
                  <a:cubicBezTo>
                    <a:pt x="24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îṡľiḑé">
              <a:extLst>
                <a:ext uri="{FF2B5EF4-FFF2-40B4-BE49-F238E27FC236}">
                  <a16:creationId xmlns:a16="http://schemas.microsoft.com/office/drawing/2014/main" id="{8B67A93C-8739-4386-B274-45052019C2CB}"/>
                </a:ext>
              </a:extLst>
            </p:cNvPr>
            <p:cNvSpPr/>
            <p:nvPr/>
          </p:nvSpPr>
          <p:spPr bwMode="auto">
            <a:xfrm>
              <a:off x="6889558" y="1878251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3 w 29"/>
                <a:gd name="T3" fmla="*/ 0 h 17"/>
                <a:gd name="T4" fmla="*/ 1 w 29"/>
                <a:gd name="T5" fmla="*/ 9 h 17"/>
                <a:gd name="T6" fmla="*/ 16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ïṡ1íḍê">
              <a:extLst>
                <a:ext uri="{FF2B5EF4-FFF2-40B4-BE49-F238E27FC236}">
                  <a16:creationId xmlns:a16="http://schemas.microsoft.com/office/drawing/2014/main" id="{DFB6D6C3-1CA6-44CB-B891-C2483DD67D16}"/>
                </a:ext>
              </a:extLst>
            </p:cNvPr>
            <p:cNvSpPr/>
            <p:nvPr/>
          </p:nvSpPr>
          <p:spPr bwMode="auto">
            <a:xfrm>
              <a:off x="7137973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íŝḻîdè">
              <a:extLst>
                <a:ext uri="{FF2B5EF4-FFF2-40B4-BE49-F238E27FC236}">
                  <a16:creationId xmlns:a16="http://schemas.microsoft.com/office/drawing/2014/main" id="{7162FC69-BD30-40D9-A89C-BEA61723E34E}"/>
                </a:ext>
              </a:extLst>
            </p:cNvPr>
            <p:cNvSpPr/>
            <p:nvPr/>
          </p:nvSpPr>
          <p:spPr bwMode="auto">
            <a:xfrm>
              <a:off x="7262951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ïšlíḓè">
              <a:extLst>
                <a:ext uri="{FF2B5EF4-FFF2-40B4-BE49-F238E27FC236}">
                  <a16:creationId xmlns:a16="http://schemas.microsoft.com/office/drawing/2014/main" id="{F7BB201B-F3FC-4220-AB95-F40B43258B3B}"/>
                </a:ext>
              </a:extLst>
            </p:cNvPr>
            <p:cNvSpPr/>
            <p:nvPr/>
          </p:nvSpPr>
          <p:spPr bwMode="auto">
            <a:xfrm>
              <a:off x="7386387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íşliďè">
              <a:extLst>
                <a:ext uri="{FF2B5EF4-FFF2-40B4-BE49-F238E27FC236}">
                  <a16:creationId xmlns:a16="http://schemas.microsoft.com/office/drawing/2014/main" id="{AB7BEDEE-8252-4213-85EC-8A29B7EAC887}"/>
                </a:ext>
              </a:extLst>
            </p:cNvPr>
            <p:cNvSpPr/>
            <p:nvPr/>
          </p:nvSpPr>
          <p:spPr bwMode="auto">
            <a:xfrm>
              <a:off x="7634802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iSľidê">
              <a:extLst>
                <a:ext uri="{FF2B5EF4-FFF2-40B4-BE49-F238E27FC236}">
                  <a16:creationId xmlns:a16="http://schemas.microsoft.com/office/drawing/2014/main" id="{60D3D0DE-4A9A-4764-BCFD-59A8DBE958DA}"/>
                </a:ext>
              </a:extLst>
            </p:cNvPr>
            <p:cNvSpPr/>
            <p:nvPr/>
          </p:nvSpPr>
          <p:spPr bwMode="auto">
            <a:xfrm>
              <a:off x="7736637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8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íṩlïḑè">
              <a:extLst>
                <a:ext uri="{FF2B5EF4-FFF2-40B4-BE49-F238E27FC236}">
                  <a16:creationId xmlns:a16="http://schemas.microsoft.com/office/drawing/2014/main" id="{F95F4156-75FA-4E8A-A8BF-DEB8C94A6E1D}"/>
                </a:ext>
              </a:extLst>
            </p:cNvPr>
            <p:cNvSpPr/>
            <p:nvPr/>
          </p:nvSpPr>
          <p:spPr bwMode="auto">
            <a:xfrm>
              <a:off x="7860072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2 w 30"/>
                <a:gd name="T3" fmla="*/ 0 h 17"/>
                <a:gd name="T4" fmla="*/ 1 w 30"/>
                <a:gd name="T5" fmla="*/ 9 h 17"/>
                <a:gd name="T6" fmla="*/ 18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ïṧľíḍé">
              <a:extLst>
                <a:ext uri="{FF2B5EF4-FFF2-40B4-BE49-F238E27FC236}">
                  <a16:creationId xmlns:a16="http://schemas.microsoft.com/office/drawing/2014/main" id="{DCCD9FF4-F4FD-4245-A9CC-974BF241B0B1}"/>
                </a:ext>
              </a:extLst>
            </p:cNvPr>
            <p:cNvSpPr/>
            <p:nvPr/>
          </p:nvSpPr>
          <p:spPr bwMode="auto">
            <a:xfrm>
              <a:off x="7980422" y="1804190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íśľiḋê">
              <a:extLst>
                <a:ext uri="{FF2B5EF4-FFF2-40B4-BE49-F238E27FC236}">
                  <a16:creationId xmlns:a16="http://schemas.microsoft.com/office/drawing/2014/main" id="{E2F3BAD4-0084-453C-A0A0-24E1BA577F30}"/>
                </a:ext>
              </a:extLst>
            </p:cNvPr>
            <p:cNvSpPr/>
            <p:nvPr/>
          </p:nvSpPr>
          <p:spPr bwMode="auto">
            <a:xfrm>
              <a:off x="8105400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ṡļiďé">
              <a:extLst>
                <a:ext uri="{FF2B5EF4-FFF2-40B4-BE49-F238E27FC236}">
                  <a16:creationId xmlns:a16="http://schemas.microsoft.com/office/drawing/2014/main" id="{864B2754-8485-447E-9042-609A1CAE8A0F}"/>
                </a:ext>
              </a:extLst>
            </p:cNvPr>
            <p:cNvSpPr/>
            <p:nvPr/>
          </p:nvSpPr>
          <p:spPr bwMode="auto">
            <a:xfrm>
              <a:off x="8228836" y="1804190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íṧľïḍè">
              <a:extLst>
                <a:ext uri="{FF2B5EF4-FFF2-40B4-BE49-F238E27FC236}">
                  <a16:creationId xmlns:a16="http://schemas.microsoft.com/office/drawing/2014/main" id="{10D6A319-2FB8-4D15-AFC6-2D2B7D27B746}"/>
                </a:ext>
              </a:extLst>
            </p:cNvPr>
            <p:cNvSpPr/>
            <p:nvPr/>
          </p:nvSpPr>
          <p:spPr bwMode="auto">
            <a:xfrm>
              <a:off x="8349186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î$ļiḋé">
              <a:extLst>
                <a:ext uri="{FF2B5EF4-FFF2-40B4-BE49-F238E27FC236}">
                  <a16:creationId xmlns:a16="http://schemas.microsoft.com/office/drawing/2014/main" id="{01482B87-0F6B-417C-AC31-15ABE76D2109}"/>
                </a:ext>
              </a:extLst>
            </p:cNvPr>
            <p:cNvSpPr/>
            <p:nvPr/>
          </p:nvSpPr>
          <p:spPr bwMode="auto">
            <a:xfrm>
              <a:off x="8474165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iSlïḋê">
              <a:extLst>
                <a:ext uri="{FF2B5EF4-FFF2-40B4-BE49-F238E27FC236}">
                  <a16:creationId xmlns:a16="http://schemas.microsoft.com/office/drawing/2014/main" id="{2D7467CB-CCB9-4041-B207-637327481CA2}"/>
                </a:ext>
              </a:extLst>
            </p:cNvPr>
            <p:cNvSpPr/>
            <p:nvPr/>
          </p:nvSpPr>
          <p:spPr bwMode="auto">
            <a:xfrm>
              <a:off x="92903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3 w 33"/>
                <a:gd name="T5" fmla="*/ 8 h 17"/>
                <a:gd name="T6" fmla="*/ 21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5" y="13"/>
                    <a:pt x="14" y="17"/>
                    <a:pt x="21" y="17"/>
                  </a:cubicBezTo>
                  <a:cubicBezTo>
                    <a:pt x="29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ïšľîḓé">
              <a:extLst>
                <a:ext uri="{FF2B5EF4-FFF2-40B4-BE49-F238E27FC236}">
                  <a16:creationId xmlns:a16="http://schemas.microsoft.com/office/drawing/2014/main" id="{85A075AF-85D5-4D9B-A92C-048A329C872C}"/>
                </a:ext>
              </a:extLst>
            </p:cNvPr>
            <p:cNvSpPr/>
            <p:nvPr/>
          </p:nvSpPr>
          <p:spPr bwMode="auto">
            <a:xfrm>
              <a:off x="9415362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3" y="8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ïşḻíḋê">
              <a:extLst>
                <a:ext uri="{FF2B5EF4-FFF2-40B4-BE49-F238E27FC236}">
                  <a16:creationId xmlns:a16="http://schemas.microsoft.com/office/drawing/2014/main" id="{6456CB1A-7324-4874-996D-6DFF616A1C59}"/>
                </a:ext>
              </a:extLst>
            </p:cNvPr>
            <p:cNvSpPr/>
            <p:nvPr/>
          </p:nvSpPr>
          <p:spPr bwMode="auto">
            <a:xfrm>
              <a:off x="9543426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ísļîḍê">
              <a:extLst>
                <a:ext uri="{FF2B5EF4-FFF2-40B4-BE49-F238E27FC236}">
                  <a16:creationId xmlns:a16="http://schemas.microsoft.com/office/drawing/2014/main" id="{F3F75533-7AA3-4378-A91F-75F77057C6C2}"/>
                </a:ext>
              </a:extLst>
            </p:cNvPr>
            <p:cNvSpPr/>
            <p:nvPr/>
          </p:nvSpPr>
          <p:spPr bwMode="auto">
            <a:xfrm>
              <a:off x="9666862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3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ïsľïďe">
              <a:extLst>
                <a:ext uri="{FF2B5EF4-FFF2-40B4-BE49-F238E27FC236}">
                  <a16:creationId xmlns:a16="http://schemas.microsoft.com/office/drawing/2014/main" id="{5D1E2AC4-C3F1-4E09-9354-E2A6A687EAB5}"/>
                </a:ext>
              </a:extLst>
            </p:cNvPr>
            <p:cNvSpPr/>
            <p:nvPr/>
          </p:nvSpPr>
          <p:spPr bwMode="auto">
            <a:xfrm>
              <a:off x="9794927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iś1ïde">
              <a:extLst>
                <a:ext uri="{FF2B5EF4-FFF2-40B4-BE49-F238E27FC236}">
                  <a16:creationId xmlns:a16="http://schemas.microsoft.com/office/drawing/2014/main" id="{EDA889EE-0DDE-42FF-A76F-E856311B75E4}"/>
                </a:ext>
              </a:extLst>
            </p:cNvPr>
            <p:cNvSpPr/>
            <p:nvPr/>
          </p:nvSpPr>
          <p:spPr bwMode="auto">
            <a:xfrm>
              <a:off x="9918363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12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îš1îḋe">
              <a:extLst>
                <a:ext uri="{FF2B5EF4-FFF2-40B4-BE49-F238E27FC236}">
                  <a16:creationId xmlns:a16="http://schemas.microsoft.com/office/drawing/2014/main" id="{C4572A12-4489-4FB1-B00F-2570FF3A8E74}"/>
                </a:ext>
              </a:extLst>
            </p:cNvPr>
            <p:cNvSpPr/>
            <p:nvPr/>
          </p:nvSpPr>
          <p:spPr bwMode="auto">
            <a:xfrm>
              <a:off x="10046427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1 w 34"/>
                <a:gd name="T3" fmla="*/ 0 h 17"/>
                <a:gd name="T4" fmla="*/ 3 w 34"/>
                <a:gd name="T5" fmla="*/ 8 h 17"/>
                <a:gd name="T6" fmla="*/ 23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iṧ1ïďè">
              <a:extLst>
                <a:ext uri="{FF2B5EF4-FFF2-40B4-BE49-F238E27FC236}">
                  <a16:creationId xmlns:a16="http://schemas.microsoft.com/office/drawing/2014/main" id="{E662B834-E958-43A6-8CE8-395D14AFBFDE}"/>
                </a:ext>
              </a:extLst>
            </p:cNvPr>
            <p:cNvSpPr/>
            <p:nvPr/>
          </p:nvSpPr>
          <p:spPr bwMode="auto">
            <a:xfrm>
              <a:off x="10169863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12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7" y="13"/>
                    <a:pt x="16" y="17"/>
                    <a:pt x="23" y="17"/>
                  </a:cubicBezTo>
                  <a:cubicBezTo>
                    <a:pt x="31" y="17"/>
                    <a:pt x="35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sḻïḓe">
              <a:extLst>
                <a:ext uri="{FF2B5EF4-FFF2-40B4-BE49-F238E27FC236}">
                  <a16:creationId xmlns:a16="http://schemas.microsoft.com/office/drawing/2014/main" id="{6736836F-E9BB-4A1E-9080-2A3CE547C031}"/>
                </a:ext>
              </a:extLst>
            </p:cNvPr>
            <p:cNvSpPr/>
            <p:nvPr/>
          </p:nvSpPr>
          <p:spPr bwMode="auto">
            <a:xfrm>
              <a:off x="10297928" y="1953855"/>
              <a:ext cx="128065" cy="63261"/>
            </a:xfrm>
            <a:custGeom>
              <a:avLst/>
              <a:gdLst>
                <a:gd name="T0" fmla="*/ 31 w 35"/>
                <a:gd name="T1" fmla="*/ 8 h 17"/>
                <a:gd name="T2" fmla="*/ 11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1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8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3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ïṡļîďe">
              <a:extLst>
                <a:ext uri="{FF2B5EF4-FFF2-40B4-BE49-F238E27FC236}">
                  <a16:creationId xmlns:a16="http://schemas.microsoft.com/office/drawing/2014/main" id="{66151253-3E51-49F8-86C4-A830CD5BB09B}"/>
                </a:ext>
              </a:extLst>
            </p:cNvPr>
            <p:cNvSpPr/>
            <p:nvPr/>
          </p:nvSpPr>
          <p:spPr bwMode="auto">
            <a:xfrm>
              <a:off x="9330500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şḻiḍè">
              <a:extLst>
                <a:ext uri="{FF2B5EF4-FFF2-40B4-BE49-F238E27FC236}">
                  <a16:creationId xmlns:a16="http://schemas.microsoft.com/office/drawing/2014/main" id="{EBB45B1C-9BD8-41D1-8B96-B312DF8D9149}"/>
                </a:ext>
              </a:extLst>
            </p:cNvPr>
            <p:cNvSpPr/>
            <p:nvPr/>
          </p:nvSpPr>
          <p:spPr bwMode="auto">
            <a:xfrm>
              <a:off x="9458565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îSḻîḓè">
              <a:extLst>
                <a:ext uri="{FF2B5EF4-FFF2-40B4-BE49-F238E27FC236}">
                  <a16:creationId xmlns:a16="http://schemas.microsoft.com/office/drawing/2014/main" id="{7D0EB631-4D00-4FCC-AB58-EB906FF7C469}"/>
                </a:ext>
              </a:extLst>
            </p:cNvPr>
            <p:cNvSpPr/>
            <p:nvPr/>
          </p:nvSpPr>
          <p:spPr bwMode="auto">
            <a:xfrm>
              <a:off x="9586629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îŝḻîḑé">
              <a:extLst>
                <a:ext uri="{FF2B5EF4-FFF2-40B4-BE49-F238E27FC236}">
                  <a16:creationId xmlns:a16="http://schemas.microsoft.com/office/drawing/2014/main" id="{18B56DFD-29F4-45CB-AAD2-384D117112B8}"/>
                </a:ext>
              </a:extLst>
            </p:cNvPr>
            <p:cNvSpPr/>
            <p:nvPr/>
          </p:nvSpPr>
          <p:spPr bwMode="auto">
            <a:xfrm>
              <a:off x="9714694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S1ïḍê">
              <a:extLst>
                <a:ext uri="{FF2B5EF4-FFF2-40B4-BE49-F238E27FC236}">
                  <a16:creationId xmlns:a16="http://schemas.microsoft.com/office/drawing/2014/main" id="{9509F2D0-8A8B-45BA-9792-959C25F5E20B}"/>
                </a:ext>
              </a:extLst>
            </p:cNvPr>
            <p:cNvSpPr/>
            <p:nvPr/>
          </p:nvSpPr>
          <p:spPr bwMode="auto">
            <a:xfrm>
              <a:off x="9842758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í$ļïďé">
              <a:extLst>
                <a:ext uri="{FF2B5EF4-FFF2-40B4-BE49-F238E27FC236}">
                  <a16:creationId xmlns:a16="http://schemas.microsoft.com/office/drawing/2014/main" id="{A80B555D-B8F9-437F-B8E5-187AD30929D0}"/>
                </a:ext>
              </a:extLst>
            </p:cNvPr>
            <p:cNvSpPr/>
            <p:nvPr/>
          </p:nvSpPr>
          <p:spPr bwMode="auto">
            <a:xfrm>
              <a:off x="9969280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1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îsḻïďe">
              <a:extLst>
                <a:ext uri="{FF2B5EF4-FFF2-40B4-BE49-F238E27FC236}">
                  <a16:creationId xmlns:a16="http://schemas.microsoft.com/office/drawing/2014/main" id="{314DECF7-A3C9-43A3-B8C1-D894983CE736}"/>
                </a:ext>
              </a:extLst>
            </p:cNvPr>
            <p:cNvSpPr/>
            <p:nvPr/>
          </p:nvSpPr>
          <p:spPr bwMode="auto">
            <a:xfrm>
              <a:off x="10097345" y="2031003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11 w 35"/>
                <a:gd name="T3" fmla="*/ 0 h 17"/>
                <a:gd name="T4" fmla="*/ 3 w 35"/>
                <a:gd name="T5" fmla="*/ 9 h 17"/>
                <a:gd name="T6" fmla="*/ 23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3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šlîḋê">
              <a:extLst>
                <a:ext uri="{FF2B5EF4-FFF2-40B4-BE49-F238E27FC236}">
                  <a16:creationId xmlns:a16="http://schemas.microsoft.com/office/drawing/2014/main" id="{EF972CAD-B0B1-4B8C-BF10-3F796DB26259}"/>
                </a:ext>
              </a:extLst>
            </p:cNvPr>
            <p:cNvSpPr/>
            <p:nvPr/>
          </p:nvSpPr>
          <p:spPr bwMode="auto">
            <a:xfrm>
              <a:off x="10222323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12 w 36"/>
                <a:gd name="T3" fmla="*/ 0 h 17"/>
                <a:gd name="T4" fmla="*/ 4 w 36"/>
                <a:gd name="T5" fmla="*/ 9 h 17"/>
                <a:gd name="T6" fmla="*/ 24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4" y="9"/>
                  </a:cubicBezTo>
                  <a:cubicBezTo>
                    <a:pt x="7" y="13"/>
                    <a:pt x="16" y="17"/>
                    <a:pt x="24" y="17"/>
                  </a:cubicBezTo>
                  <a:cubicBezTo>
                    <a:pt x="32" y="17"/>
                    <a:pt x="36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íṧľîde">
              <a:extLst>
                <a:ext uri="{FF2B5EF4-FFF2-40B4-BE49-F238E27FC236}">
                  <a16:creationId xmlns:a16="http://schemas.microsoft.com/office/drawing/2014/main" id="{EDF10E6F-6D58-4737-958B-67C5CE855B8D}"/>
                </a:ext>
              </a:extLst>
            </p:cNvPr>
            <p:cNvSpPr/>
            <p:nvPr/>
          </p:nvSpPr>
          <p:spPr bwMode="auto">
            <a:xfrm>
              <a:off x="7758238" y="1878251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iṡḷïďê">
              <a:extLst>
                <a:ext uri="{FF2B5EF4-FFF2-40B4-BE49-F238E27FC236}">
                  <a16:creationId xmlns:a16="http://schemas.microsoft.com/office/drawing/2014/main" id="{C13C1FB3-246B-47BB-9D4E-F65099091A31}"/>
                </a:ext>
              </a:extLst>
            </p:cNvPr>
            <p:cNvSpPr/>
            <p:nvPr/>
          </p:nvSpPr>
          <p:spPr bwMode="auto">
            <a:xfrm>
              <a:off x="7883216" y="1878251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iṣľiďè">
              <a:extLst>
                <a:ext uri="{FF2B5EF4-FFF2-40B4-BE49-F238E27FC236}">
                  <a16:creationId xmlns:a16="http://schemas.microsoft.com/office/drawing/2014/main" id="{C3A67640-9D71-45EA-972E-8904182C4409}"/>
                </a:ext>
              </a:extLst>
            </p:cNvPr>
            <p:cNvSpPr/>
            <p:nvPr/>
          </p:nvSpPr>
          <p:spPr bwMode="auto">
            <a:xfrm>
              <a:off x="8006652" y="1878251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ïṧ1íḋé">
              <a:extLst>
                <a:ext uri="{FF2B5EF4-FFF2-40B4-BE49-F238E27FC236}">
                  <a16:creationId xmlns:a16="http://schemas.microsoft.com/office/drawing/2014/main" id="{8929262F-92EB-464F-B160-57CAFEC73AA4}"/>
                </a:ext>
              </a:extLst>
            </p:cNvPr>
            <p:cNvSpPr/>
            <p:nvPr/>
          </p:nvSpPr>
          <p:spPr bwMode="auto">
            <a:xfrm>
              <a:off x="8130087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íşḷîḍé">
              <a:extLst>
                <a:ext uri="{FF2B5EF4-FFF2-40B4-BE49-F238E27FC236}">
                  <a16:creationId xmlns:a16="http://schemas.microsoft.com/office/drawing/2014/main" id="{C483B790-6A78-4545-8F20-B0C5A31405A3}"/>
                </a:ext>
              </a:extLst>
            </p:cNvPr>
            <p:cNvSpPr/>
            <p:nvPr/>
          </p:nvSpPr>
          <p:spPr bwMode="auto">
            <a:xfrm>
              <a:off x="8255067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íşḷiḍé">
              <a:extLst>
                <a:ext uri="{FF2B5EF4-FFF2-40B4-BE49-F238E27FC236}">
                  <a16:creationId xmlns:a16="http://schemas.microsoft.com/office/drawing/2014/main" id="{AAABD105-8499-4BFC-92CF-6B17D7FA5B8E}"/>
                </a:ext>
              </a:extLst>
            </p:cNvPr>
            <p:cNvSpPr/>
            <p:nvPr/>
          </p:nvSpPr>
          <p:spPr bwMode="auto">
            <a:xfrm>
              <a:off x="8383131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1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1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íṧ1íḑé">
              <a:extLst>
                <a:ext uri="{FF2B5EF4-FFF2-40B4-BE49-F238E27FC236}">
                  <a16:creationId xmlns:a16="http://schemas.microsoft.com/office/drawing/2014/main" id="{FEAEEC4A-0495-4888-978C-73AB25CAEA68}"/>
                </a:ext>
              </a:extLst>
            </p:cNvPr>
            <p:cNvSpPr/>
            <p:nvPr/>
          </p:nvSpPr>
          <p:spPr bwMode="auto">
            <a:xfrm>
              <a:off x="8506566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ïṣlïḑè">
              <a:extLst>
                <a:ext uri="{FF2B5EF4-FFF2-40B4-BE49-F238E27FC236}">
                  <a16:creationId xmlns:a16="http://schemas.microsoft.com/office/drawing/2014/main" id="{1A3FDEFB-A78A-4CEB-A359-23F9858D5B3E}"/>
                </a:ext>
              </a:extLst>
            </p:cNvPr>
            <p:cNvSpPr/>
            <p:nvPr/>
          </p:nvSpPr>
          <p:spPr bwMode="auto">
            <a:xfrm>
              <a:off x="8630002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ïšḻïďè">
              <a:extLst>
                <a:ext uri="{FF2B5EF4-FFF2-40B4-BE49-F238E27FC236}">
                  <a16:creationId xmlns:a16="http://schemas.microsoft.com/office/drawing/2014/main" id="{D4FAD2BC-03B0-4154-A5DC-DBE8AFA2B091}"/>
                </a:ext>
              </a:extLst>
            </p:cNvPr>
            <p:cNvSpPr/>
            <p:nvPr/>
          </p:nvSpPr>
          <p:spPr bwMode="auto">
            <a:xfrm>
              <a:off x="8754981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ï$ļïde">
              <a:extLst>
                <a:ext uri="{FF2B5EF4-FFF2-40B4-BE49-F238E27FC236}">
                  <a16:creationId xmlns:a16="http://schemas.microsoft.com/office/drawing/2014/main" id="{63130BE0-3A98-4F22-A2BA-D5F63EEBEE9F}"/>
                </a:ext>
              </a:extLst>
            </p:cNvPr>
            <p:cNvSpPr/>
            <p:nvPr/>
          </p:nvSpPr>
          <p:spPr bwMode="auto">
            <a:xfrm>
              <a:off x="8878417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ṥḻiḍê">
              <a:extLst>
                <a:ext uri="{FF2B5EF4-FFF2-40B4-BE49-F238E27FC236}">
                  <a16:creationId xmlns:a16="http://schemas.microsoft.com/office/drawing/2014/main" id="{EE3EF354-DDA7-44A6-8FE9-8D9895E6BDD1}"/>
                </a:ext>
              </a:extLst>
            </p:cNvPr>
            <p:cNvSpPr/>
            <p:nvPr/>
          </p:nvSpPr>
          <p:spPr bwMode="auto">
            <a:xfrm>
              <a:off x="9003395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şlîḓe">
              <a:extLst>
                <a:ext uri="{FF2B5EF4-FFF2-40B4-BE49-F238E27FC236}">
                  <a16:creationId xmlns:a16="http://schemas.microsoft.com/office/drawing/2014/main" id="{80959888-75EE-46E1-8217-D4BC6E17DB6C}"/>
                </a:ext>
              </a:extLst>
            </p:cNvPr>
            <p:cNvSpPr/>
            <p:nvPr/>
          </p:nvSpPr>
          <p:spPr bwMode="auto">
            <a:xfrm>
              <a:off x="9126831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iṡ1îḍé">
              <a:extLst>
                <a:ext uri="{FF2B5EF4-FFF2-40B4-BE49-F238E27FC236}">
                  <a16:creationId xmlns:a16="http://schemas.microsoft.com/office/drawing/2014/main" id="{1977A082-9A08-4085-BFE4-0542269F7839}"/>
                </a:ext>
              </a:extLst>
            </p:cNvPr>
            <p:cNvSpPr/>
            <p:nvPr/>
          </p:nvSpPr>
          <p:spPr bwMode="auto">
            <a:xfrm>
              <a:off x="9250267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9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ṥlíďé">
              <a:extLst>
                <a:ext uri="{FF2B5EF4-FFF2-40B4-BE49-F238E27FC236}">
                  <a16:creationId xmlns:a16="http://schemas.microsoft.com/office/drawing/2014/main" id="{CE0D7A5B-58E9-42E5-AB8D-37BD30ABB724}"/>
                </a:ext>
              </a:extLst>
            </p:cNvPr>
            <p:cNvSpPr/>
            <p:nvPr/>
          </p:nvSpPr>
          <p:spPr bwMode="auto">
            <a:xfrm>
              <a:off x="9375246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4" y="17"/>
                    <a:pt x="21" y="17"/>
                  </a:cubicBezTo>
                  <a:cubicBezTo>
                    <a:pt x="29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îṩ1íḍe">
              <a:extLst>
                <a:ext uri="{FF2B5EF4-FFF2-40B4-BE49-F238E27FC236}">
                  <a16:creationId xmlns:a16="http://schemas.microsoft.com/office/drawing/2014/main" id="{C06E6BBA-2737-46DB-B99C-01DCB1EC7159}"/>
                </a:ext>
              </a:extLst>
            </p:cNvPr>
            <p:cNvSpPr/>
            <p:nvPr/>
          </p:nvSpPr>
          <p:spPr bwMode="auto">
            <a:xfrm>
              <a:off x="9498681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29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iṣḷïḋe">
              <a:extLst>
                <a:ext uri="{FF2B5EF4-FFF2-40B4-BE49-F238E27FC236}">
                  <a16:creationId xmlns:a16="http://schemas.microsoft.com/office/drawing/2014/main" id="{5129FB78-A7ED-4A69-950C-F64720CE0E56}"/>
                </a:ext>
              </a:extLst>
            </p:cNvPr>
            <p:cNvSpPr/>
            <p:nvPr/>
          </p:nvSpPr>
          <p:spPr bwMode="auto">
            <a:xfrm>
              <a:off x="962366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ṧlíḓé">
              <a:extLst>
                <a:ext uri="{FF2B5EF4-FFF2-40B4-BE49-F238E27FC236}">
                  <a16:creationId xmlns:a16="http://schemas.microsoft.com/office/drawing/2014/main" id="{20F3411E-9222-475E-9309-1E9A218CBE4F}"/>
                </a:ext>
              </a:extLst>
            </p:cNvPr>
            <p:cNvSpPr/>
            <p:nvPr/>
          </p:nvSpPr>
          <p:spPr bwMode="auto">
            <a:xfrm>
              <a:off x="9747095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iS1ïḓè">
              <a:extLst>
                <a:ext uri="{FF2B5EF4-FFF2-40B4-BE49-F238E27FC236}">
                  <a16:creationId xmlns:a16="http://schemas.microsoft.com/office/drawing/2014/main" id="{1A8B552A-5722-46B7-ADB6-ED8B2010CBC9}"/>
                </a:ext>
              </a:extLst>
            </p:cNvPr>
            <p:cNvSpPr/>
            <p:nvPr/>
          </p:nvSpPr>
          <p:spPr bwMode="auto">
            <a:xfrm>
              <a:off x="9870531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íśḻïḍè">
              <a:extLst>
                <a:ext uri="{FF2B5EF4-FFF2-40B4-BE49-F238E27FC236}">
                  <a16:creationId xmlns:a16="http://schemas.microsoft.com/office/drawing/2014/main" id="{52FDB46F-AB0C-4375-BF10-1EADB40DDB1D}"/>
                </a:ext>
              </a:extLst>
            </p:cNvPr>
            <p:cNvSpPr/>
            <p:nvPr/>
          </p:nvSpPr>
          <p:spPr bwMode="auto">
            <a:xfrm>
              <a:off x="999551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ïšļíḍê">
              <a:extLst>
                <a:ext uri="{FF2B5EF4-FFF2-40B4-BE49-F238E27FC236}">
                  <a16:creationId xmlns:a16="http://schemas.microsoft.com/office/drawing/2014/main" id="{9948E738-9C9E-4F65-BEB8-CE7D85165F85}"/>
                </a:ext>
              </a:extLst>
            </p:cNvPr>
            <p:cNvSpPr/>
            <p:nvPr/>
          </p:nvSpPr>
          <p:spPr bwMode="auto">
            <a:xfrm>
              <a:off x="10118946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12 w 35"/>
                <a:gd name="T3" fmla="*/ 0 h 17"/>
                <a:gd name="T4" fmla="*/ 4 w 35"/>
                <a:gd name="T5" fmla="*/ 9 h 17"/>
                <a:gd name="T6" fmla="*/ 23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4" y="9"/>
                  </a:cubicBezTo>
                  <a:cubicBezTo>
                    <a:pt x="7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ïşļïḑe">
              <a:extLst>
                <a:ext uri="{FF2B5EF4-FFF2-40B4-BE49-F238E27FC236}">
                  <a16:creationId xmlns:a16="http://schemas.microsoft.com/office/drawing/2014/main" id="{21773756-FC8D-4470-97A3-374EA369998B}"/>
                </a:ext>
              </a:extLst>
            </p:cNvPr>
            <p:cNvSpPr/>
            <p:nvPr/>
          </p:nvSpPr>
          <p:spPr bwMode="auto">
            <a:xfrm>
              <a:off x="6648859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4 w 30"/>
                <a:gd name="T3" fmla="*/ 0 h 17"/>
                <a:gd name="T4" fmla="*/ 1 w 30"/>
                <a:gd name="T5" fmla="*/ 8 h 17"/>
                <a:gd name="T6" fmla="*/ 16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í$1iďé">
              <a:extLst>
                <a:ext uri="{FF2B5EF4-FFF2-40B4-BE49-F238E27FC236}">
                  <a16:creationId xmlns:a16="http://schemas.microsoft.com/office/drawing/2014/main" id="{13ACC472-07D0-49E0-8D79-FAD7B15206BA}"/>
                </a:ext>
              </a:extLst>
            </p:cNvPr>
            <p:cNvSpPr/>
            <p:nvPr/>
          </p:nvSpPr>
          <p:spPr bwMode="auto">
            <a:xfrm>
              <a:off x="6776924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3 w 29"/>
                <a:gd name="T3" fmla="*/ 0 h 17"/>
                <a:gd name="T4" fmla="*/ 0 w 29"/>
                <a:gd name="T5" fmla="*/ 8 h 17"/>
                <a:gd name="T6" fmla="*/ 16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íšḻîḋê">
              <a:extLst>
                <a:ext uri="{FF2B5EF4-FFF2-40B4-BE49-F238E27FC236}">
                  <a16:creationId xmlns:a16="http://schemas.microsoft.com/office/drawing/2014/main" id="{B6C06907-A7DA-4AA7-83EF-DCDD35B8BF87}"/>
                </a:ext>
              </a:extLst>
            </p:cNvPr>
            <p:cNvSpPr/>
            <p:nvPr/>
          </p:nvSpPr>
          <p:spPr bwMode="auto">
            <a:xfrm>
              <a:off x="6900360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4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îṧļîďe">
              <a:extLst>
                <a:ext uri="{FF2B5EF4-FFF2-40B4-BE49-F238E27FC236}">
                  <a16:creationId xmlns:a16="http://schemas.microsoft.com/office/drawing/2014/main" id="{BC369511-0C37-4AF8-9274-BE39CF2AFAD6}"/>
                </a:ext>
              </a:extLst>
            </p:cNvPr>
            <p:cNvSpPr/>
            <p:nvPr/>
          </p:nvSpPr>
          <p:spPr bwMode="auto">
            <a:xfrm>
              <a:off x="7028424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0 w 30"/>
                <a:gd name="T5" fmla="*/ 8 h 17"/>
                <a:gd name="T6" fmla="*/ 16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$1ídè">
              <a:extLst>
                <a:ext uri="{FF2B5EF4-FFF2-40B4-BE49-F238E27FC236}">
                  <a16:creationId xmlns:a16="http://schemas.microsoft.com/office/drawing/2014/main" id="{4B14A4C9-34EA-4E73-99BF-F314A367E853}"/>
                </a:ext>
              </a:extLst>
            </p:cNvPr>
            <p:cNvSpPr/>
            <p:nvPr/>
          </p:nvSpPr>
          <p:spPr bwMode="auto">
            <a:xfrm>
              <a:off x="7153403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íṡľíḓé">
              <a:extLst>
                <a:ext uri="{FF2B5EF4-FFF2-40B4-BE49-F238E27FC236}">
                  <a16:creationId xmlns:a16="http://schemas.microsoft.com/office/drawing/2014/main" id="{C9B13DC7-B142-41E0-BECA-A60640226F96}"/>
                </a:ext>
              </a:extLst>
            </p:cNvPr>
            <p:cNvSpPr/>
            <p:nvPr/>
          </p:nvSpPr>
          <p:spPr bwMode="auto">
            <a:xfrm>
              <a:off x="7279924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isľïḑé">
              <a:extLst>
                <a:ext uri="{FF2B5EF4-FFF2-40B4-BE49-F238E27FC236}">
                  <a16:creationId xmlns:a16="http://schemas.microsoft.com/office/drawing/2014/main" id="{2A940969-A993-461C-9A01-2DDFE567DCA7}"/>
                </a:ext>
              </a:extLst>
            </p:cNvPr>
            <p:cNvSpPr/>
            <p:nvPr/>
          </p:nvSpPr>
          <p:spPr bwMode="auto">
            <a:xfrm>
              <a:off x="7404903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7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2" y="13"/>
                    <a:pt x="10" y="17"/>
                    <a:pt x="17" y="17"/>
                  </a:cubicBezTo>
                  <a:cubicBezTo>
                    <a:pt x="25" y="17"/>
                    <a:pt x="31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íślíḑé">
              <a:extLst>
                <a:ext uri="{FF2B5EF4-FFF2-40B4-BE49-F238E27FC236}">
                  <a16:creationId xmlns:a16="http://schemas.microsoft.com/office/drawing/2014/main" id="{90F7B967-1F0D-4515-865A-F41D553D0F02}"/>
                </a:ext>
              </a:extLst>
            </p:cNvPr>
            <p:cNvSpPr/>
            <p:nvPr/>
          </p:nvSpPr>
          <p:spPr bwMode="auto">
            <a:xfrm>
              <a:off x="7528338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4 w 31"/>
                <a:gd name="T3" fmla="*/ 0 h 17"/>
                <a:gd name="T4" fmla="*/ 2 w 31"/>
                <a:gd name="T5" fmla="*/ 8 h 17"/>
                <a:gd name="T6" fmla="*/ 18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2" y="8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îśļïḓé">
              <a:extLst>
                <a:ext uri="{FF2B5EF4-FFF2-40B4-BE49-F238E27FC236}">
                  <a16:creationId xmlns:a16="http://schemas.microsoft.com/office/drawing/2014/main" id="{91AD2C4B-B51A-4FAB-8202-44093EFA174C}"/>
                </a:ext>
              </a:extLst>
            </p:cNvPr>
            <p:cNvSpPr/>
            <p:nvPr/>
          </p:nvSpPr>
          <p:spPr bwMode="auto">
            <a:xfrm>
              <a:off x="7656403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8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s1îḑè">
              <a:extLst>
                <a:ext uri="{FF2B5EF4-FFF2-40B4-BE49-F238E27FC236}">
                  <a16:creationId xmlns:a16="http://schemas.microsoft.com/office/drawing/2014/main" id="{4D5393A0-CABB-460D-9159-38DA9E726856}"/>
                </a:ext>
              </a:extLst>
            </p:cNvPr>
            <p:cNvSpPr/>
            <p:nvPr/>
          </p:nvSpPr>
          <p:spPr bwMode="auto">
            <a:xfrm>
              <a:off x="7779839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6" y="0"/>
                    <a:pt x="0" y="4"/>
                    <a:pt x="2" y="8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şlïḑé">
              <a:extLst>
                <a:ext uri="{FF2B5EF4-FFF2-40B4-BE49-F238E27FC236}">
                  <a16:creationId xmlns:a16="http://schemas.microsoft.com/office/drawing/2014/main" id="{1DDEA112-730A-4D97-BBB0-71EFC26CE64D}"/>
                </a:ext>
              </a:extLst>
            </p:cNvPr>
            <p:cNvSpPr/>
            <p:nvPr/>
          </p:nvSpPr>
          <p:spPr bwMode="auto">
            <a:xfrm>
              <a:off x="7907903" y="1953855"/>
              <a:ext cx="112636" cy="63261"/>
            </a:xfrm>
            <a:custGeom>
              <a:avLst/>
              <a:gdLst>
                <a:gd name="T0" fmla="*/ 30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8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iS1iḑe">
              <a:extLst>
                <a:ext uri="{FF2B5EF4-FFF2-40B4-BE49-F238E27FC236}">
                  <a16:creationId xmlns:a16="http://schemas.microsoft.com/office/drawing/2014/main" id="{DF57FAEE-65F4-44B8-AAFA-1EED5C164AE7}"/>
                </a:ext>
              </a:extLst>
            </p:cNvPr>
            <p:cNvSpPr/>
            <p:nvPr/>
          </p:nvSpPr>
          <p:spPr bwMode="auto">
            <a:xfrm>
              <a:off x="8032882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íṥliḋé">
              <a:extLst>
                <a:ext uri="{FF2B5EF4-FFF2-40B4-BE49-F238E27FC236}">
                  <a16:creationId xmlns:a16="http://schemas.microsoft.com/office/drawing/2014/main" id="{C40BA9A2-2B2B-489F-BF67-49C2C0907D2B}"/>
                </a:ext>
              </a:extLst>
            </p:cNvPr>
            <p:cNvSpPr/>
            <p:nvPr/>
          </p:nvSpPr>
          <p:spPr bwMode="auto">
            <a:xfrm>
              <a:off x="8159404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îSļîḓé">
              <a:extLst>
                <a:ext uri="{FF2B5EF4-FFF2-40B4-BE49-F238E27FC236}">
                  <a16:creationId xmlns:a16="http://schemas.microsoft.com/office/drawing/2014/main" id="{32ED139C-DFF7-4B6F-87BB-26570B068D11}"/>
                </a:ext>
              </a:extLst>
            </p:cNvPr>
            <p:cNvSpPr/>
            <p:nvPr/>
          </p:nvSpPr>
          <p:spPr bwMode="auto">
            <a:xfrm>
              <a:off x="8284382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ïṣļïdé">
              <a:extLst>
                <a:ext uri="{FF2B5EF4-FFF2-40B4-BE49-F238E27FC236}">
                  <a16:creationId xmlns:a16="http://schemas.microsoft.com/office/drawing/2014/main" id="{C4714819-C6C7-4D80-AD6B-99C0275DE2D7}"/>
                </a:ext>
              </a:extLst>
            </p:cNvPr>
            <p:cNvSpPr/>
            <p:nvPr/>
          </p:nvSpPr>
          <p:spPr bwMode="auto">
            <a:xfrm>
              <a:off x="8412447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îṥļiďé">
              <a:extLst>
                <a:ext uri="{FF2B5EF4-FFF2-40B4-BE49-F238E27FC236}">
                  <a16:creationId xmlns:a16="http://schemas.microsoft.com/office/drawing/2014/main" id="{1D0589D1-6EF4-40B3-B1E1-0AB2B4FD0CF2}"/>
                </a:ext>
              </a:extLst>
            </p:cNvPr>
            <p:cNvSpPr/>
            <p:nvPr/>
          </p:nvSpPr>
          <p:spPr bwMode="auto">
            <a:xfrm>
              <a:off x="8535883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íṥļïḋé">
              <a:extLst>
                <a:ext uri="{FF2B5EF4-FFF2-40B4-BE49-F238E27FC236}">
                  <a16:creationId xmlns:a16="http://schemas.microsoft.com/office/drawing/2014/main" id="{DC41F4B2-207D-4201-81F6-F1E033206D6E}"/>
                </a:ext>
              </a:extLst>
            </p:cNvPr>
            <p:cNvSpPr/>
            <p:nvPr/>
          </p:nvSpPr>
          <p:spPr bwMode="auto">
            <a:xfrm>
              <a:off x="8663947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íṩḷíḍe">
              <a:extLst>
                <a:ext uri="{FF2B5EF4-FFF2-40B4-BE49-F238E27FC236}">
                  <a16:creationId xmlns:a16="http://schemas.microsoft.com/office/drawing/2014/main" id="{3653B679-CC78-4CB4-94D5-7B3BD5013FBC}"/>
                </a:ext>
              </a:extLst>
            </p:cNvPr>
            <p:cNvSpPr/>
            <p:nvPr/>
          </p:nvSpPr>
          <p:spPr bwMode="auto">
            <a:xfrm>
              <a:off x="87873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0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3" y="17"/>
                    <a:pt x="20" y="17"/>
                  </a:cubicBezTo>
                  <a:cubicBezTo>
                    <a:pt x="28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í$ḷíḓé">
              <a:extLst>
                <a:ext uri="{FF2B5EF4-FFF2-40B4-BE49-F238E27FC236}">
                  <a16:creationId xmlns:a16="http://schemas.microsoft.com/office/drawing/2014/main" id="{B380EC16-E741-4CEC-A61E-83AAE15C1740}"/>
                </a:ext>
              </a:extLst>
            </p:cNvPr>
            <p:cNvSpPr/>
            <p:nvPr/>
          </p:nvSpPr>
          <p:spPr bwMode="auto">
            <a:xfrm>
              <a:off x="8915448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ïṥlîďe">
              <a:extLst>
                <a:ext uri="{FF2B5EF4-FFF2-40B4-BE49-F238E27FC236}">
                  <a16:creationId xmlns:a16="http://schemas.microsoft.com/office/drawing/2014/main" id="{9BE1085C-D033-41AF-9D55-D2843F4096B5}"/>
                </a:ext>
              </a:extLst>
            </p:cNvPr>
            <p:cNvSpPr/>
            <p:nvPr/>
          </p:nvSpPr>
          <p:spPr bwMode="auto">
            <a:xfrm>
              <a:off x="90388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1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9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ïś1îḑê">
              <a:extLst>
                <a:ext uri="{FF2B5EF4-FFF2-40B4-BE49-F238E27FC236}">
                  <a16:creationId xmlns:a16="http://schemas.microsoft.com/office/drawing/2014/main" id="{12AF5B7F-DE82-4D95-9077-57BB8BED463D}"/>
                </a:ext>
              </a:extLst>
            </p:cNvPr>
            <p:cNvSpPr/>
            <p:nvPr/>
          </p:nvSpPr>
          <p:spPr bwMode="auto">
            <a:xfrm>
              <a:off x="9166947" y="1953855"/>
              <a:ext cx="120350" cy="63261"/>
            </a:xfrm>
            <a:custGeom>
              <a:avLst/>
              <a:gdLst>
                <a:gd name="T0" fmla="*/ 30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1 w 33"/>
                <a:gd name="T7" fmla="*/ 17 h 17"/>
                <a:gd name="T8" fmla="*/ 30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śḷîḓé">
              <a:extLst>
                <a:ext uri="{FF2B5EF4-FFF2-40B4-BE49-F238E27FC236}">
                  <a16:creationId xmlns:a16="http://schemas.microsoft.com/office/drawing/2014/main" id="{619853D9-D428-4AE2-8747-45ABBFA2EED7}"/>
                </a:ext>
              </a:extLst>
            </p:cNvPr>
            <p:cNvSpPr/>
            <p:nvPr/>
          </p:nvSpPr>
          <p:spPr bwMode="auto">
            <a:xfrm>
              <a:off x="6659660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4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işḷidè">
              <a:extLst>
                <a:ext uri="{FF2B5EF4-FFF2-40B4-BE49-F238E27FC236}">
                  <a16:creationId xmlns:a16="http://schemas.microsoft.com/office/drawing/2014/main" id="{EA6A624E-F05D-47BB-AC58-F4BDB35B7325}"/>
                </a:ext>
              </a:extLst>
            </p:cNvPr>
            <p:cNvSpPr/>
            <p:nvPr/>
          </p:nvSpPr>
          <p:spPr bwMode="auto">
            <a:xfrm>
              <a:off x="6787724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ïṩlíḑê">
              <a:extLst>
                <a:ext uri="{FF2B5EF4-FFF2-40B4-BE49-F238E27FC236}">
                  <a16:creationId xmlns:a16="http://schemas.microsoft.com/office/drawing/2014/main" id="{6E896A7B-C2D2-4DEB-9C86-C35087F3A966}"/>
                </a:ext>
              </a:extLst>
            </p:cNvPr>
            <p:cNvSpPr/>
            <p:nvPr/>
          </p:nvSpPr>
          <p:spPr bwMode="auto">
            <a:xfrm>
              <a:off x="6915789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0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ïsḷïḍè">
              <a:extLst>
                <a:ext uri="{FF2B5EF4-FFF2-40B4-BE49-F238E27FC236}">
                  <a16:creationId xmlns:a16="http://schemas.microsoft.com/office/drawing/2014/main" id="{19CEA2A9-D39B-49D0-BF59-E1AA9CE0E260}"/>
                </a:ext>
              </a:extLst>
            </p:cNvPr>
            <p:cNvSpPr/>
            <p:nvPr/>
          </p:nvSpPr>
          <p:spPr bwMode="auto">
            <a:xfrm>
              <a:off x="7043853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0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3"/>
                    <a:pt x="9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íšļîḓê">
              <a:extLst>
                <a:ext uri="{FF2B5EF4-FFF2-40B4-BE49-F238E27FC236}">
                  <a16:creationId xmlns:a16="http://schemas.microsoft.com/office/drawing/2014/main" id="{606D228A-BC15-4E0D-BEB4-C1FDF638D385}"/>
                </a:ext>
              </a:extLst>
            </p:cNvPr>
            <p:cNvSpPr/>
            <p:nvPr/>
          </p:nvSpPr>
          <p:spPr bwMode="auto">
            <a:xfrm>
              <a:off x="7167289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4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10" y="17"/>
                    <a:pt x="18" y="17"/>
                  </a:cubicBezTo>
                  <a:cubicBezTo>
                    <a:pt x="25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îšḻïḓe">
              <a:extLst>
                <a:ext uri="{FF2B5EF4-FFF2-40B4-BE49-F238E27FC236}">
                  <a16:creationId xmlns:a16="http://schemas.microsoft.com/office/drawing/2014/main" id="{835DBA04-5485-45A2-8401-BD432D3952CE}"/>
                </a:ext>
              </a:extLst>
            </p:cNvPr>
            <p:cNvSpPr/>
            <p:nvPr/>
          </p:nvSpPr>
          <p:spPr bwMode="auto">
            <a:xfrm>
              <a:off x="7295354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4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îṣľiḍê">
              <a:extLst>
                <a:ext uri="{FF2B5EF4-FFF2-40B4-BE49-F238E27FC236}">
                  <a16:creationId xmlns:a16="http://schemas.microsoft.com/office/drawing/2014/main" id="{374786DE-8AAE-4AB8-B33A-85B2CD357640}"/>
                </a:ext>
              </a:extLst>
            </p:cNvPr>
            <p:cNvSpPr/>
            <p:nvPr/>
          </p:nvSpPr>
          <p:spPr bwMode="auto">
            <a:xfrm>
              <a:off x="7423418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ïŝľïḑè">
              <a:extLst>
                <a:ext uri="{FF2B5EF4-FFF2-40B4-BE49-F238E27FC236}">
                  <a16:creationId xmlns:a16="http://schemas.microsoft.com/office/drawing/2014/main" id="{454F7FA3-18B0-476F-BC80-2309646E6D9B}"/>
                </a:ext>
              </a:extLst>
            </p:cNvPr>
            <p:cNvSpPr/>
            <p:nvPr/>
          </p:nvSpPr>
          <p:spPr bwMode="auto">
            <a:xfrm>
              <a:off x="7549940" y="2031003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îṥḷiḓè">
              <a:extLst>
                <a:ext uri="{FF2B5EF4-FFF2-40B4-BE49-F238E27FC236}">
                  <a16:creationId xmlns:a16="http://schemas.microsoft.com/office/drawing/2014/main" id="{49F9185D-7356-4942-B754-2ED6F31D3BE4}"/>
                </a:ext>
              </a:extLst>
            </p:cNvPr>
            <p:cNvSpPr/>
            <p:nvPr/>
          </p:nvSpPr>
          <p:spPr bwMode="auto">
            <a:xfrm>
              <a:off x="7678005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iŝḻíḍê">
              <a:extLst>
                <a:ext uri="{FF2B5EF4-FFF2-40B4-BE49-F238E27FC236}">
                  <a16:creationId xmlns:a16="http://schemas.microsoft.com/office/drawing/2014/main" id="{7A1419B8-B488-437A-8827-9F7EBC623DAB}"/>
                </a:ext>
              </a:extLst>
            </p:cNvPr>
            <p:cNvSpPr/>
            <p:nvPr/>
          </p:nvSpPr>
          <p:spPr bwMode="auto">
            <a:xfrm>
              <a:off x="7806069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iṡ1ïḑe">
              <a:extLst>
                <a:ext uri="{FF2B5EF4-FFF2-40B4-BE49-F238E27FC236}">
                  <a16:creationId xmlns:a16="http://schemas.microsoft.com/office/drawing/2014/main" id="{4FD5FF3F-B6ED-4A2F-BFC3-06BD08045851}"/>
                </a:ext>
              </a:extLst>
            </p:cNvPr>
            <p:cNvSpPr/>
            <p:nvPr/>
          </p:nvSpPr>
          <p:spPr bwMode="auto">
            <a:xfrm>
              <a:off x="7934134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íSḷiďê">
              <a:extLst>
                <a:ext uri="{FF2B5EF4-FFF2-40B4-BE49-F238E27FC236}">
                  <a16:creationId xmlns:a16="http://schemas.microsoft.com/office/drawing/2014/main" id="{7478A233-AB4A-4EFC-97FD-06D9B8C0042C}"/>
                </a:ext>
              </a:extLst>
            </p:cNvPr>
            <p:cNvSpPr/>
            <p:nvPr/>
          </p:nvSpPr>
          <p:spPr bwMode="auto">
            <a:xfrm>
              <a:off x="8060655" y="2031003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2 w 31"/>
                <a:gd name="T3" fmla="*/ 0 h 17"/>
                <a:gd name="T4" fmla="*/ 1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íŝḷïdé">
              <a:extLst>
                <a:ext uri="{FF2B5EF4-FFF2-40B4-BE49-F238E27FC236}">
                  <a16:creationId xmlns:a16="http://schemas.microsoft.com/office/drawing/2014/main" id="{B42CD9B7-4B27-4F56-878F-9952C38DA246}"/>
                </a:ext>
              </a:extLst>
            </p:cNvPr>
            <p:cNvSpPr/>
            <p:nvPr/>
          </p:nvSpPr>
          <p:spPr bwMode="auto">
            <a:xfrm>
              <a:off x="818563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ïṡliďè">
              <a:extLst>
                <a:ext uri="{FF2B5EF4-FFF2-40B4-BE49-F238E27FC236}">
                  <a16:creationId xmlns:a16="http://schemas.microsoft.com/office/drawing/2014/main" id="{0D422439-3AA5-474C-BE16-13A4948BFED1}"/>
                </a:ext>
              </a:extLst>
            </p:cNvPr>
            <p:cNvSpPr/>
            <p:nvPr/>
          </p:nvSpPr>
          <p:spPr bwMode="auto">
            <a:xfrm>
              <a:off x="8313699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iś1îḑê">
              <a:extLst>
                <a:ext uri="{FF2B5EF4-FFF2-40B4-BE49-F238E27FC236}">
                  <a16:creationId xmlns:a16="http://schemas.microsoft.com/office/drawing/2014/main" id="{0EBA3CCB-2D06-4D25-AECC-793E9F6563BC}"/>
                </a:ext>
              </a:extLst>
            </p:cNvPr>
            <p:cNvSpPr/>
            <p:nvPr/>
          </p:nvSpPr>
          <p:spPr bwMode="auto">
            <a:xfrm>
              <a:off x="8440220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i$lîďe">
              <a:extLst>
                <a:ext uri="{FF2B5EF4-FFF2-40B4-BE49-F238E27FC236}">
                  <a16:creationId xmlns:a16="http://schemas.microsoft.com/office/drawing/2014/main" id="{F059FE6B-E38C-4F48-A50A-A257BFC7C5DF}"/>
                </a:ext>
              </a:extLst>
            </p:cNvPr>
            <p:cNvSpPr/>
            <p:nvPr/>
          </p:nvSpPr>
          <p:spPr bwMode="auto">
            <a:xfrm>
              <a:off x="8568284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îşlíḑé">
              <a:extLst>
                <a:ext uri="{FF2B5EF4-FFF2-40B4-BE49-F238E27FC236}">
                  <a16:creationId xmlns:a16="http://schemas.microsoft.com/office/drawing/2014/main" id="{F5FD63B8-C863-4155-8BA0-FC47A189843D}"/>
                </a:ext>
              </a:extLst>
            </p:cNvPr>
            <p:cNvSpPr/>
            <p:nvPr/>
          </p:nvSpPr>
          <p:spPr bwMode="auto">
            <a:xfrm>
              <a:off x="8696349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îṥļïďe">
              <a:extLst>
                <a:ext uri="{FF2B5EF4-FFF2-40B4-BE49-F238E27FC236}">
                  <a16:creationId xmlns:a16="http://schemas.microsoft.com/office/drawing/2014/main" id="{F04FC919-50A0-4E93-B87F-002CCC84D761}"/>
                </a:ext>
              </a:extLst>
            </p:cNvPr>
            <p:cNvSpPr/>
            <p:nvPr/>
          </p:nvSpPr>
          <p:spPr bwMode="auto">
            <a:xfrm>
              <a:off x="882441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îṡļíḍe">
              <a:extLst>
                <a:ext uri="{FF2B5EF4-FFF2-40B4-BE49-F238E27FC236}">
                  <a16:creationId xmlns:a16="http://schemas.microsoft.com/office/drawing/2014/main" id="{0AD9D735-22A4-4D56-AD98-4642AC54F816}"/>
                </a:ext>
              </a:extLst>
            </p:cNvPr>
            <p:cNvSpPr/>
            <p:nvPr/>
          </p:nvSpPr>
          <p:spPr bwMode="auto">
            <a:xfrm>
              <a:off x="8952478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îṧļïḑe">
              <a:extLst>
                <a:ext uri="{FF2B5EF4-FFF2-40B4-BE49-F238E27FC236}">
                  <a16:creationId xmlns:a16="http://schemas.microsoft.com/office/drawing/2014/main" id="{B3717ABF-1521-44DF-87E6-47FD5E46DCCC}"/>
                </a:ext>
              </a:extLst>
            </p:cNvPr>
            <p:cNvSpPr/>
            <p:nvPr/>
          </p:nvSpPr>
          <p:spPr bwMode="auto">
            <a:xfrm>
              <a:off x="9079000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9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iŝľïdé">
              <a:extLst>
                <a:ext uri="{FF2B5EF4-FFF2-40B4-BE49-F238E27FC236}">
                  <a16:creationId xmlns:a16="http://schemas.microsoft.com/office/drawing/2014/main" id="{60D773B3-F838-4BA6-8E53-810A80D3560C}"/>
                </a:ext>
              </a:extLst>
            </p:cNvPr>
            <p:cNvSpPr/>
            <p:nvPr/>
          </p:nvSpPr>
          <p:spPr bwMode="auto">
            <a:xfrm>
              <a:off x="9203978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3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ŝḷîḋe">
              <a:extLst>
                <a:ext uri="{FF2B5EF4-FFF2-40B4-BE49-F238E27FC236}">
                  <a16:creationId xmlns:a16="http://schemas.microsoft.com/office/drawing/2014/main" id="{5DE2A862-1390-4606-8B8E-149FC9333E17}"/>
                </a:ext>
              </a:extLst>
            </p:cNvPr>
            <p:cNvSpPr/>
            <p:nvPr/>
          </p:nvSpPr>
          <p:spPr bwMode="auto">
            <a:xfrm>
              <a:off x="6670460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4 w 30"/>
                <a:gd name="T3" fmla="*/ 0 h 18"/>
                <a:gd name="T4" fmla="*/ 0 w 30"/>
                <a:gd name="T5" fmla="*/ 9 h 18"/>
                <a:gd name="T6" fmla="*/ 16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íṣḷîḑè">
              <a:extLst>
                <a:ext uri="{FF2B5EF4-FFF2-40B4-BE49-F238E27FC236}">
                  <a16:creationId xmlns:a16="http://schemas.microsoft.com/office/drawing/2014/main" id="{FBF6375F-57BF-4A8B-886F-8AC39867ABB9}"/>
                </a:ext>
              </a:extLst>
            </p:cNvPr>
            <p:cNvSpPr/>
            <p:nvPr/>
          </p:nvSpPr>
          <p:spPr bwMode="auto">
            <a:xfrm>
              <a:off x="6798525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7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9" y="18"/>
                    <a:pt x="17" y="18"/>
                  </a:cubicBezTo>
                  <a:cubicBezTo>
                    <a:pt x="25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îṡľïďe">
              <a:extLst>
                <a:ext uri="{FF2B5EF4-FFF2-40B4-BE49-F238E27FC236}">
                  <a16:creationId xmlns:a16="http://schemas.microsoft.com/office/drawing/2014/main" id="{43F766B0-EF92-4E08-B575-97593575B888}"/>
                </a:ext>
              </a:extLst>
            </p:cNvPr>
            <p:cNvSpPr/>
            <p:nvPr/>
          </p:nvSpPr>
          <p:spPr bwMode="auto">
            <a:xfrm>
              <a:off x="6926589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4 w 31"/>
                <a:gd name="T3" fmla="*/ 0 h 18"/>
                <a:gd name="T4" fmla="*/ 1 w 31"/>
                <a:gd name="T5" fmla="*/ 9 h 18"/>
                <a:gd name="T6" fmla="*/ 17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8"/>
                    <a:pt x="17" y="18"/>
                  </a:cubicBezTo>
                  <a:cubicBezTo>
                    <a:pt x="25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íšḻiďe">
              <a:extLst>
                <a:ext uri="{FF2B5EF4-FFF2-40B4-BE49-F238E27FC236}">
                  <a16:creationId xmlns:a16="http://schemas.microsoft.com/office/drawing/2014/main" id="{6A8F612E-48FC-42E4-8738-C6F5665CA4AD}"/>
                </a:ext>
              </a:extLst>
            </p:cNvPr>
            <p:cNvSpPr/>
            <p:nvPr/>
          </p:nvSpPr>
          <p:spPr bwMode="auto">
            <a:xfrm>
              <a:off x="7057740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3 w 30"/>
                <a:gd name="T3" fmla="*/ 0 h 18"/>
                <a:gd name="T4" fmla="*/ 0 w 30"/>
                <a:gd name="T5" fmla="*/ 9 h 18"/>
                <a:gd name="T6" fmla="*/ 17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4"/>
                    <a:pt x="9" y="18"/>
                    <a:pt x="17" y="18"/>
                  </a:cubicBezTo>
                  <a:cubicBezTo>
                    <a:pt x="25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îšliḋê">
              <a:extLst>
                <a:ext uri="{FF2B5EF4-FFF2-40B4-BE49-F238E27FC236}">
                  <a16:creationId xmlns:a16="http://schemas.microsoft.com/office/drawing/2014/main" id="{65BF0AAA-31BE-45B5-BA14-1EE9919A6001}"/>
                </a:ext>
              </a:extLst>
            </p:cNvPr>
            <p:cNvSpPr/>
            <p:nvPr/>
          </p:nvSpPr>
          <p:spPr bwMode="auto">
            <a:xfrm>
              <a:off x="7185804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3 w 31"/>
                <a:gd name="T3" fmla="*/ 0 h 18"/>
                <a:gd name="T4" fmla="*/ 1 w 31"/>
                <a:gd name="T5" fmla="*/ 9 h 18"/>
                <a:gd name="T6" fmla="*/ 17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9" y="18"/>
                    <a:pt x="17" y="18"/>
                  </a:cubicBezTo>
                  <a:cubicBezTo>
                    <a:pt x="25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išľïde">
              <a:extLst>
                <a:ext uri="{FF2B5EF4-FFF2-40B4-BE49-F238E27FC236}">
                  <a16:creationId xmlns:a16="http://schemas.microsoft.com/office/drawing/2014/main" id="{4162F1E0-45C4-4560-BECD-AB543F3699B3}"/>
                </a:ext>
              </a:extLst>
            </p:cNvPr>
            <p:cNvSpPr/>
            <p:nvPr/>
          </p:nvSpPr>
          <p:spPr bwMode="auto">
            <a:xfrm>
              <a:off x="7313869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4 w 31"/>
                <a:gd name="T3" fmla="*/ 0 h 18"/>
                <a:gd name="T4" fmla="*/ 1 w 31"/>
                <a:gd name="T5" fmla="*/ 9 h 18"/>
                <a:gd name="T6" fmla="*/ 18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8"/>
                    <a:pt x="18" y="18"/>
                  </a:cubicBezTo>
                  <a:cubicBezTo>
                    <a:pt x="26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íSlîďê">
              <a:extLst>
                <a:ext uri="{FF2B5EF4-FFF2-40B4-BE49-F238E27FC236}">
                  <a16:creationId xmlns:a16="http://schemas.microsoft.com/office/drawing/2014/main" id="{9BF81529-4AB3-4E95-9909-2F4562F60698}"/>
                </a:ext>
              </a:extLst>
            </p:cNvPr>
            <p:cNvSpPr/>
            <p:nvPr/>
          </p:nvSpPr>
          <p:spPr bwMode="auto">
            <a:xfrm>
              <a:off x="7440391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4 w 32"/>
                <a:gd name="T3" fmla="*/ 0 h 18"/>
                <a:gd name="T4" fmla="*/ 2 w 32"/>
                <a:gd name="T5" fmla="*/ 9 h 18"/>
                <a:gd name="T6" fmla="*/ 18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0" y="18"/>
                    <a:pt x="18" y="18"/>
                  </a:cubicBezTo>
                  <a:cubicBezTo>
                    <a:pt x="26" y="18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iSlidè">
              <a:extLst>
                <a:ext uri="{FF2B5EF4-FFF2-40B4-BE49-F238E27FC236}">
                  <a16:creationId xmlns:a16="http://schemas.microsoft.com/office/drawing/2014/main" id="{856D8537-D7ED-42A0-A955-05554D9BE1E2}"/>
                </a:ext>
              </a:extLst>
            </p:cNvPr>
            <p:cNvSpPr/>
            <p:nvPr/>
          </p:nvSpPr>
          <p:spPr bwMode="auto">
            <a:xfrm>
              <a:off x="7573084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3 w 31"/>
                <a:gd name="T3" fmla="*/ 0 h 18"/>
                <a:gd name="T4" fmla="*/ 1 w 31"/>
                <a:gd name="T5" fmla="*/ 9 h 18"/>
                <a:gd name="T6" fmla="*/ 18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8"/>
                    <a:pt x="18" y="18"/>
                  </a:cubicBezTo>
                  <a:cubicBezTo>
                    <a:pt x="26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ï$ḷiḍe">
              <a:extLst>
                <a:ext uri="{FF2B5EF4-FFF2-40B4-BE49-F238E27FC236}">
                  <a16:creationId xmlns:a16="http://schemas.microsoft.com/office/drawing/2014/main" id="{CF06B77C-8878-4995-A704-4714FAB41586}"/>
                </a:ext>
              </a:extLst>
            </p:cNvPr>
            <p:cNvSpPr/>
            <p:nvPr/>
          </p:nvSpPr>
          <p:spPr bwMode="auto">
            <a:xfrm>
              <a:off x="7699606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0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ïṥḷîdè">
              <a:extLst>
                <a:ext uri="{FF2B5EF4-FFF2-40B4-BE49-F238E27FC236}">
                  <a16:creationId xmlns:a16="http://schemas.microsoft.com/office/drawing/2014/main" id="{6BF9CA01-423E-432A-8A73-89CC4D6AFD42}"/>
                </a:ext>
              </a:extLst>
            </p:cNvPr>
            <p:cNvSpPr/>
            <p:nvPr/>
          </p:nvSpPr>
          <p:spPr bwMode="auto">
            <a:xfrm>
              <a:off x="7827670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4 w 32"/>
                <a:gd name="T3" fmla="*/ 0 h 18"/>
                <a:gd name="T4" fmla="*/ 2 w 32"/>
                <a:gd name="T5" fmla="*/ 9 h 18"/>
                <a:gd name="T6" fmla="*/ 19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ïṡľïḍé">
              <a:extLst>
                <a:ext uri="{FF2B5EF4-FFF2-40B4-BE49-F238E27FC236}">
                  <a16:creationId xmlns:a16="http://schemas.microsoft.com/office/drawing/2014/main" id="{E8BFACD4-5843-4871-9CFA-44531CAA3928}"/>
                </a:ext>
              </a:extLst>
            </p:cNvPr>
            <p:cNvSpPr/>
            <p:nvPr/>
          </p:nvSpPr>
          <p:spPr bwMode="auto">
            <a:xfrm>
              <a:off x="7958821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ïṧliḑê">
              <a:extLst>
                <a:ext uri="{FF2B5EF4-FFF2-40B4-BE49-F238E27FC236}">
                  <a16:creationId xmlns:a16="http://schemas.microsoft.com/office/drawing/2014/main" id="{D7F155F1-0A1F-4DFC-8436-6083F20FCBEB}"/>
                </a:ext>
              </a:extLst>
            </p:cNvPr>
            <p:cNvSpPr/>
            <p:nvPr/>
          </p:nvSpPr>
          <p:spPr bwMode="auto">
            <a:xfrm>
              <a:off x="8086885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2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iṧ1iďê">
              <a:extLst>
                <a:ext uri="{FF2B5EF4-FFF2-40B4-BE49-F238E27FC236}">
                  <a16:creationId xmlns:a16="http://schemas.microsoft.com/office/drawing/2014/main" id="{2D56BD27-3A4E-4221-AB22-79EBB9FA0E33}"/>
                </a:ext>
              </a:extLst>
            </p:cNvPr>
            <p:cNvSpPr/>
            <p:nvPr/>
          </p:nvSpPr>
          <p:spPr bwMode="auto">
            <a:xfrm>
              <a:off x="8214950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0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0" y="18"/>
                  </a:cubicBezTo>
                  <a:cubicBezTo>
                    <a:pt x="28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ïṡḷiḋe">
              <a:extLst>
                <a:ext uri="{FF2B5EF4-FFF2-40B4-BE49-F238E27FC236}">
                  <a16:creationId xmlns:a16="http://schemas.microsoft.com/office/drawing/2014/main" id="{FAAE8873-A292-40C0-97E5-E3F3E2E7D138}"/>
                </a:ext>
              </a:extLst>
            </p:cNvPr>
            <p:cNvSpPr/>
            <p:nvPr/>
          </p:nvSpPr>
          <p:spPr bwMode="auto">
            <a:xfrm>
              <a:off x="8346100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2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1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işľidé">
              <a:extLst>
                <a:ext uri="{FF2B5EF4-FFF2-40B4-BE49-F238E27FC236}">
                  <a16:creationId xmlns:a16="http://schemas.microsoft.com/office/drawing/2014/main" id="{CD6DB2C4-25B8-4BCF-9E07-977A9B5E8F10}"/>
                </a:ext>
              </a:extLst>
            </p:cNvPr>
            <p:cNvSpPr/>
            <p:nvPr/>
          </p:nvSpPr>
          <p:spPr bwMode="auto">
            <a:xfrm>
              <a:off x="8474165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0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0" y="18"/>
                  </a:cubicBezTo>
                  <a:cubicBezTo>
                    <a:pt x="28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íšḻïḓè">
              <a:extLst>
                <a:ext uri="{FF2B5EF4-FFF2-40B4-BE49-F238E27FC236}">
                  <a16:creationId xmlns:a16="http://schemas.microsoft.com/office/drawing/2014/main" id="{5B02CD5A-B645-4A44-9CDD-4CFBE1972159}"/>
                </a:ext>
              </a:extLst>
            </p:cNvPr>
            <p:cNvSpPr/>
            <p:nvPr/>
          </p:nvSpPr>
          <p:spPr bwMode="auto">
            <a:xfrm>
              <a:off x="8600687" y="2108150"/>
              <a:ext cx="121893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1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1" y="18"/>
                  </a:cubicBezTo>
                  <a:cubicBezTo>
                    <a:pt x="29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íṡļíḋè">
              <a:extLst>
                <a:ext uri="{FF2B5EF4-FFF2-40B4-BE49-F238E27FC236}">
                  <a16:creationId xmlns:a16="http://schemas.microsoft.com/office/drawing/2014/main" id="{46CC418D-4C6E-4892-B33A-A4520D58F0B9}"/>
                </a:ext>
              </a:extLst>
            </p:cNvPr>
            <p:cNvSpPr/>
            <p:nvPr/>
          </p:nvSpPr>
          <p:spPr bwMode="auto">
            <a:xfrm>
              <a:off x="8728751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13 w 34"/>
                <a:gd name="T3" fmla="*/ 0 h 18"/>
                <a:gd name="T4" fmla="*/ 3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ïṥļïdé">
              <a:extLst>
                <a:ext uri="{FF2B5EF4-FFF2-40B4-BE49-F238E27FC236}">
                  <a16:creationId xmlns:a16="http://schemas.microsoft.com/office/drawing/2014/main" id="{0FADE46D-83C9-4E52-ADD2-F7836CF64298}"/>
                </a:ext>
              </a:extLst>
            </p:cNvPr>
            <p:cNvSpPr/>
            <p:nvPr/>
          </p:nvSpPr>
          <p:spPr bwMode="auto">
            <a:xfrm>
              <a:off x="8859902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2 w 33"/>
                <a:gd name="T3" fmla="*/ 0 h 18"/>
                <a:gd name="T4" fmla="*/ 2 w 33"/>
                <a:gd name="T5" fmla="*/ 9 h 18"/>
                <a:gd name="T6" fmla="*/ 21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4"/>
                    <a:pt x="13" y="18"/>
                    <a:pt x="21" y="18"/>
                  </a:cubicBezTo>
                  <a:cubicBezTo>
                    <a:pt x="29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iṧļïḑé">
              <a:extLst>
                <a:ext uri="{FF2B5EF4-FFF2-40B4-BE49-F238E27FC236}">
                  <a16:creationId xmlns:a16="http://schemas.microsoft.com/office/drawing/2014/main" id="{5153517B-DEE6-42FE-9AD5-4A480A7D8BF6}"/>
                </a:ext>
              </a:extLst>
            </p:cNvPr>
            <p:cNvSpPr/>
            <p:nvPr/>
          </p:nvSpPr>
          <p:spPr bwMode="auto">
            <a:xfrm>
              <a:off x="8987966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2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îṧlíḓé">
              <a:extLst>
                <a:ext uri="{FF2B5EF4-FFF2-40B4-BE49-F238E27FC236}">
                  <a16:creationId xmlns:a16="http://schemas.microsoft.com/office/drawing/2014/main" id="{860E66EE-1582-44D8-AA83-389EDBFE777B}"/>
                </a:ext>
              </a:extLst>
            </p:cNvPr>
            <p:cNvSpPr/>
            <p:nvPr/>
          </p:nvSpPr>
          <p:spPr bwMode="auto">
            <a:xfrm>
              <a:off x="9116031" y="2108150"/>
              <a:ext cx="123436" cy="64804"/>
            </a:xfrm>
            <a:custGeom>
              <a:avLst/>
              <a:gdLst>
                <a:gd name="T0" fmla="*/ 32 w 34"/>
                <a:gd name="T1" fmla="*/ 9 h 18"/>
                <a:gd name="T2" fmla="*/ 13 w 34"/>
                <a:gd name="T3" fmla="*/ 0 h 18"/>
                <a:gd name="T4" fmla="*/ 3 w 34"/>
                <a:gd name="T5" fmla="*/ 9 h 18"/>
                <a:gd name="T6" fmla="*/ 22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8"/>
                    <a:pt x="22" y="18"/>
                  </a:cubicBezTo>
                  <a:cubicBezTo>
                    <a:pt x="30" y="18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íŝḷîďé">
              <a:extLst>
                <a:ext uri="{FF2B5EF4-FFF2-40B4-BE49-F238E27FC236}">
                  <a16:creationId xmlns:a16="http://schemas.microsoft.com/office/drawing/2014/main" id="{B329CAD2-9B34-4DFA-9A8C-3017595346CA}"/>
                </a:ext>
              </a:extLst>
            </p:cNvPr>
            <p:cNvSpPr/>
            <p:nvPr/>
          </p:nvSpPr>
          <p:spPr bwMode="auto">
            <a:xfrm>
              <a:off x="9247181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2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iś1îḓé">
              <a:extLst>
                <a:ext uri="{FF2B5EF4-FFF2-40B4-BE49-F238E27FC236}">
                  <a16:creationId xmlns:a16="http://schemas.microsoft.com/office/drawing/2014/main" id="{6417D947-7DE7-4EBC-A7D5-5913A02FB184}"/>
                </a:ext>
              </a:extLst>
            </p:cNvPr>
            <p:cNvSpPr/>
            <p:nvPr/>
          </p:nvSpPr>
          <p:spPr bwMode="auto">
            <a:xfrm>
              <a:off x="6678175" y="2188383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íṩlídé">
              <a:extLst>
                <a:ext uri="{FF2B5EF4-FFF2-40B4-BE49-F238E27FC236}">
                  <a16:creationId xmlns:a16="http://schemas.microsoft.com/office/drawing/2014/main" id="{8892B960-5977-4973-B20C-47E815A5FCAA}"/>
                </a:ext>
              </a:extLst>
            </p:cNvPr>
            <p:cNvSpPr/>
            <p:nvPr/>
          </p:nvSpPr>
          <p:spPr bwMode="auto">
            <a:xfrm>
              <a:off x="6809325" y="2188383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íṡḻïdè">
              <a:extLst>
                <a:ext uri="{FF2B5EF4-FFF2-40B4-BE49-F238E27FC236}">
                  <a16:creationId xmlns:a16="http://schemas.microsoft.com/office/drawing/2014/main" id="{C8281C7A-2473-4B44-A5EC-FAC7A67B3F6A}"/>
                </a:ext>
              </a:extLst>
            </p:cNvPr>
            <p:cNvSpPr/>
            <p:nvPr/>
          </p:nvSpPr>
          <p:spPr bwMode="auto">
            <a:xfrm>
              <a:off x="6940476" y="2188383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ïṥliḋê">
              <a:extLst>
                <a:ext uri="{FF2B5EF4-FFF2-40B4-BE49-F238E27FC236}">
                  <a16:creationId xmlns:a16="http://schemas.microsoft.com/office/drawing/2014/main" id="{9DB92B6C-3181-497B-B5AF-CA1AD71010A0}"/>
                </a:ext>
              </a:extLst>
            </p:cNvPr>
            <p:cNvSpPr/>
            <p:nvPr/>
          </p:nvSpPr>
          <p:spPr bwMode="auto">
            <a:xfrm>
              <a:off x="7073170" y="2188383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3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íSļidè">
              <a:extLst>
                <a:ext uri="{FF2B5EF4-FFF2-40B4-BE49-F238E27FC236}">
                  <a16:creationId xmlns:a16="http://schemas.microsoft.com/office/drawing/2014/main" id="{19192FBA-847B-4D89-A28E-E36729DC74E0}"/>
                </a:ext>
              </a:extLst>
            </p:cNvPr>
            <p:cNvSpPr/>
            <p:nvPr/>
          </p:nvSpPr>
          <p:spPr bwMode="auto">
            <a:xfrm>
              <a:off x="7199691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îśḷïḓê">
              <a:extLst>
                <a:ext uri="{FF2B5EF4-FFF2-40B4-BE49-F238E27FC236}">
                  <a16:creationId xmlns:a16="http://schemas.microsoft.com/office/drawing/2014/main" id="{07C5157F-A315-4E4A-AFEF-2C8798B58CEA}"/>
                </a:ext>
              </a:extLst>
            </p:cNvPr>
            <p:cNvSpPr/>
            <p:nvPr/>
          </p:nvSpPr>
          <p:spPr bwMode="auto">
            <a:xfrm>
              <a:off x="7330841" y="2188383"/>
              <a:ext cx="117264" cy="69433"/>
            </a:xfrm>
            <a:custGeom>
              <a:avLst/>
              <a:gdLst>
                <a:gd name="T0" fmla="*/ 30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ṣ1ïḍe">
              <a:extLst>
                <a:ext uri="{FF2B5EF4-FFF2-40B4-BE49-F238E27FC236}">
                  <a16:creationId xmlns:a16="http://schemas.microsoft.com/office/drawing/2014/main" id="{448E1618-75A6-4FD9-88FD-634DDD9B2FE1}"/>
                </a:ext>
              </a:extLst>
            </p:cNvPr>
            <p:cNvSpPr/>
            <p:nvPr/>
          </p:nvSpPr>
          <p:spPr bwMode="auto">
            <a:xfrm>
              <a:off x="7463535" y="2188383"/>
              <a:ext cx="115721" cy="69433"/>
            </a:xfrm>
            <a:custGeom>
              <a:avLst/>
              <a:gdLst>
                <a:gd name="T0" fmla="*/ 30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íśḷíďè">
              <a:extLst>
                <a:ext uri="{FF2B5EF4-FFF2-40B4-BE49-F238E27FC236}">
                  <a16:creationId xmlns:a16="http://schemas.microsoft.com/office/drawing/2014/main" id="{91637918-2C92-40C4-8EAC-ECF34D75ABE5}"/>
                </a:ext>
              </a:extLst>
            </p:cNvPr>
            <p:cNvSpPr/>
            <p:nvPr/>
          </p:nvSpPr>
          <p:spPr bwMode="auto">
            <a:xfrm>
              <a:off x="7594685" y="2188383"/>
              <a:ext cx="115721" cy="69433"/>
            </a:xfrm>
            <a:custGeom>
              <a:avLst/>
              <a:gdLst>
                <a:gd name="T0" fmla="*/ 30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îṥḷíḓè">
              <a:extLst>
                <a:ext uri="{FF2B5EF4-FFF2-40B4-BE49-F238E27FC236}">
                  <a16:creationId xmlns:a16="http://schemas.microsoft.com/office/drawing/2014/main" id="{B30173FA-CC70-44B3-95C3-50E479DABBC0}"/>
                </a:ext>
              </a:extLst>
            </p:cNvPr>
            <p:cNvSpPr/>
            <p:nvPr/>
          </p:nvSpPr>
          <p:spPr bwMode="auto">
            <a:xfrm>
              <a:off x="7722750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ṧ1iḋé">
              <a:extLst>
                <a:ext uri="{FF2B5EF4-FFF2-40B4-BE49-F238E27FC236}">
                  <a16:creationId xmlns:a16="http://schemas.microsoft.com/office/drawing/2014/main" id="{FFF93257-AC2C-43E6-B160-D51777ABA167}"/>
                </a:ext>
              </a:extLst>
            </p:cNvPr>
            <p:cNvSpPr/>
            <p:nvPr/>
          </p:nvSpPr>
          <p:spPr bwMode="auto">
            <a:xfrm>
              <a:off x="7853900" y="2188383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2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iślïḓê">
              <a:extLst>
                <a:ext uri="{FF2B5EF4-FFF2-40B4-BE49-F238E27FC236}">
                  <a16:creationId xmlns:a16="http://schemas.microsoft.com/office/drawing/2014/main" id="{FF4C5574-1876-4BCB-91E9-41A6BD7622AE}"/>
                </a:ext>
              </a:extLst>
            </p:cNvPr>
            <p:cNvSpPr/>
            <p:nvPr/>
          </p:nvSpPr>
          <p:spPr bwMode="auto">
            <a:xfrm>
              <a:off x="7985050" y="2188383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iṩļïḋè">
              <a:extLst>
                <a:ext uri="{FF2B5EF4-FFF2-40B4-BE49-F238E27FC236}">
                  <a16:creationId xmlns:a16="http://schemas.microsoft.com/office/drawing/2014/main" id="{3D3B99F4-78E3-48B1-BA88-0DF40890B3D0}"/>
                </a:ext>
              </a:extLst>
            </p:cNvPr>
            <p:cNvSpPr/>
            <p:nvPr/>
          </p:nvSpPr>
          <p:spPr bwMode="auto">
            <a:xfrm>
              <a:off x="8113115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íS1iḓê">
              <a:extLst>
                <a:ext uri="{FF2B5EF4-FFF2-40B4-BE49-F238E27FC236}">
                  <a16:creationId xmlns:a16="http://schemas.microsoft.com/office/drawing/2014/main" id="{A896B981-1F38-4AE1-A0FE-5B15B0D13D5D}"/>
                </a:ext>
              </a:extLst>
            </p:cNvPr>
            <p:cNvSpPr/>
            <p:nvPr/>
          </p:nvSpPr>
          <p:spPr bwMode="auto">
            <a:xfrm>
              <a:off x="8244265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íṧ1iḍé">
              <a:extLst>
                <a:ext uri="{FF2B5EF4-FFF2-40B4-BE49-F238E27FC236}">
                  <a16:creationId xmlns:a16="http://schemas.microsoft.com/office/drawing/2014/main" id="{47883D38-A72B-45F1-B209-3EBFC10BC946}"/>
                </a:ext>
              </a:extLst>
            </p:cNvPr>
            <p:cNvSpPr/>
            <p:nvPr/>
          </p:nvSpPr>
          <p:spPr bwMode="auto">
            <a:xfrm>
              <a:off x="837541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î$ļíḍê">
              <a:extLst>
                <a:ext uri="{FF2B5EF4-FFF2-40B4-BE49-F238E27FC236}">
                  <a16:creationId xmlns:a16="http://schemas.microsoft.com/office/drawing/2014/main" id="{96545D97-F80E-413D-9FA3-7DDDD37AC86E}"/>
                </a:ext>
              </a:extLst>
            </p:cNvPr>
            <p:cNvSpPr/>
            <p:nvPr/>
          </p:nvSpPr>
          <p:spPr bwMode="auto">
            <a:xfrm>
              <a:off x="850656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ïṩlíďe">
              <a:extLst>
                <a:ext uri="{FF2B5EF4-FFF2-40B4-BE49-F238E27FC236}">
                  <a16:creationId xmlns:a16="http://schemas.microsoft.com/office/drawing/2014/main" id="{941A11DB-A3EB-4672-BB31-C53A0CCA9001}"/>
                </a:ext>
              </a:extLst>
            </p:cNvPr>
            <p:cNvSpPr/>
            <p:nvPr/>
          </p:nvSpPr>
          <p:spPr bwMode="auto">
            <a:xfrm>
              <a:off x="8634631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3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ïŝļïḍé">
              <a:extLst>
                <a:ext uri="{FF2B5EF4-FFF2-40B4-BE49-F238E27FC236}">
                  <a16:creationId xmlns:a16="http://schemas.microsoft.com/office/drawing/2014/main" id="{5F4F379D-A9A9-4AAD-AB9C-CE83FD75B800}"/>
                </a:ext>
              </a:extLst>
            </p:cNvPr>
            <p:cNvSpPr/>
            <p:nvPr/>
          </p:nvSpPr>
          <p:spPr bwMode="auto">
            <a:xfrm>
              <a:off x="8765781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ïṣlíḋé">
              <a:extLst>
                <a:ext uri="{FF2B5EF4-FFF2-40B4-BE49-F238E27FC236}">
                  <a16:creationId xmlns:a16="http://schemas.microsoft.com/office/drawing/2014/main" id="{02DF0838-109A-40A0-BB80-74CF0FA252D3}"/>
                </a:ext>
              </a:extLst>
            </p:cNvPr>
            <p:cNvSpPr/>
            <p:nvPr/>
          </p:nvSpPr>
          <p:spPr bwMode="auto">
            <a:xfrm>
              <a:off x="8896932" y="2188383"/>
              <a:ext cx="123436" cy="69433"/>
            </a:xfrm>
            <a:custGeom>
              <a:avLst/>
              <a:gdLst>
                <a:gd name="T0" fmla="*/ 31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íṩ1iḓè">
              <a:extLst>
                <a:ext uri="{FF2B5EF4-FFF2-40B4-BE49-F238E27FC236}">
                  <a16:creationId xmlns:a16="http://schemas.microsoft.com/office/drawing/2014/main" id="{B4DA1B88-CFA3-489A-9C36-DDC51200062A}"/>
                </a:ext>
              </a:extLst>
            </p:cNvPr>
            <p:cNvSpPr/>
            <p:nvPr/>
          </p:nvSpPr>
          <p:spPr bwMode="auto">
            <a:xfrm>
              <a:off x="9028082" y="2188383"/>
              <a:ext cx="124979" cy="69433"/>
            </a:xfrm>
            <a:custGeom>
              <a:avLst/>
              <a:gdLst>
                <a:gd name="T0" fmla="*/ 31 w 34"/>
                <a:gd name="T1" fmla="*/ 9 h 19"/>
                <a:gd name="T2" fmla="*/ 12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4"/>
                    <a:pt x="13" y="19"/>
                    <a:pt x="21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îṧḻîdé">
              <a:extLst>
                <a:ext uri="{FF2B5EF4-FFF2-40B4-BE49-F238E27FC236}">
                  <a16:creationId xmlns:a16="http://schemas.microsoft.com/office/drawing/2014/main" id="{B395955E-464F-45FB-9401-B082BABE5D70}"/>
                </a:ext>
              </a:extLst>
            </p:cNvPr>
            <p:cNvSpPr/>
            <p:nvPr/>
          </p:nvSpPr>
          <p:spPr bwMode="auto">
            <a:xfrm>
              <a:off x="9156147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íŝḻîḋê">
              <a:extLst>
                <a:ext uri="{FF2B5EF4-FFF2-40B4-BE49-F238E27FC236}">
                  <a16:creationId xmlns:a16="http://schemas.microsoft.com/office/drawing/2014/main" id="{EE07B132-347A-46F1-A58B-C5AC48E136FA}"/>
                </a:ext>
              </a:extLst>
            </p:cNvPr>
            <p:cNvSpPr/>
            <p:nvPr/>
          </p:nvSpPr>
          <p:spPr bwMode="auto">
            <a:xfrm>
              <a:off x="9287297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iš1ïde">
              <a:extLst>
                <a:ext uri="{FF2B5EF4-FFF2-40B4-BE49-F238E27FC236}">
                  <a16:creationId xmlns:a16="http://schemas.microsoft.com/office/drawing/2014/main" id="{F1297587-DBB0-4773-A120-DAD2DA9E6B16}"/>
                </a:ext>
              </a:extLst>
            </p:cNvPr>
            <p:cNvSpPr/>
            <p:nvPr/>
          </p:nvSpPr>
          <p:spPr bwMode="auto">
            <a:xfrm>
              <a:off x="6688975" y="2271702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íṡlîḍé">
              <a:extLst>
                <a:ext uri="{FF2B5EF4-FFF2-40B4-BE49-F238E27FC236}">
                  <a16:creationId xmlns:a16="http://schemas.microsoft.com/office/drawing/2014/main" id="{E9C9DC30-C58B-4A2D-8299-235D9C449A46}"/>
                </a:ext>
              </a:extLst>
            </p:cNvPr>
            <p:cNvSpPr/>
            <p:nvPr/>
          </p:nvSpPr>
          <p:spPr bwMode="auto">
            <a:xfrm>
              <a:off x="6824755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íṡ1ïďê">
              <a:extLst>
                <a:ext uri="{FF2B5EF4-FFF2-40B4-BE49-F238E27FC236}">
                  <a16:creationId xmlns:a16="http://schemas.microsoft.com/office/drawing/2014/main" id="{983788B6-3E38-47BC-B047-10D18EB555D4}"/>
                </a:ext>
              </a:extLst>
            </p:cNvPr>
            <p:cNvSpPr/>
            <p:nvPr/>
          </p:nvSpPr>
          <p:spPr bwMode="auto">
            <a:xfrm>
              <a:off x="6955906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ïṣļïḓe">
              <a:extLst>
                <a:ext uri="{FF2B5EF4-FFF2-40B4-BE49-F238E27FC236}">
                  <a16:creationId xmlns:a16="http://schemas.microsoft.com/office/drawing/2014/main" id="{8391CEAC-017B-4E0A-B9D4-FB89C1A802A5}"/>
                </a:ext>
              </a:extLst>
            </p:cNvPr>
            <p:cNvSpPr/>
            <p:nvPr/>
          </p:nvSpPr>
          <p:spPr bwMode="auto">
            <a:xfrm>
              <a:off x="7087056" y="2271702"/>
              <a:ext cx="117264" cy="69433"/>
            </a:xfrm>
            <a:custGeom>
              <a:avLst/>
              <a:gdLst>
                <a:gd name="T0" fmla="*/ 30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7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iśḷiḑê">
              <a:extLst>
                <a:ext uri="{FF2B5EF4-FFF2-40B4-BE49-F238E27FC236}">
                  <a16:creationId xmlns:a16="http://schemas.microsoft.com/office/drawing/2014/main" id="{5F2B1A42-7E0A-40D3-AF17-D4114B377267}"/>
                </a:ext>
              </a:extLst>
            </p:cNvPr>
            <p:cNvSpPr/>
            <p:nvPr/>
          </p:nvSpPr>
          <p:spPr bwMode="auto">
            <a:xfrm>
              <a:off x="721820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î$ľîḋè">
              <a:extLst>
                <a:ext uri="{FF2B5EF4-FFF2-40B4-BE49-F238E27FC236}">
                  <a16:creationId xmlns:a16="http://schemas.microsoft.com/office/drawing/2014/main" id="{DC108F5B-E008-4819-B0C2-2DC251BF653A}"/>
                </a:ext>
              </a:extLst>
            </p:cNvPr>
            <p:cNvSpPr/>
            <p:nvPr/>
          </p:nvSpPr>
          <p:spPr bwMode="auto">
            <a:xfrm>
              <a:off x="7349356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4"/>
                    <a:pt x="10" y="19"/>
                    <a:pt x="18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îṩľïďè">
              <a:extLst>
                <a:ext uri="{FF2B5EF4-FFF2-40B4-BE49-F238E27FC236}">
                  <a16:creationId xmlns:a16="http://schemas.microsoft.com/office/drawing/2014/main" id="{36A3006B-C4FF-4244-9AFB-2D46F2787F79}"/>
                </a:ext>
              </a:extLst>
            </p:cNvPr>
            <p:cNvSpPr/>
            <p:nvPr/>
          </p:nvSpPr>
          <p:spPr bwMode="auto">
            <a:xfrm>
              <a:off x="7480507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işľiḍé">
              <a:extLst>
                <a:ext uri="{FF2B5EF4-FFF2-40B4-BE49-F238E27FC236}">
                  <a16:creationId xmlns:a16="http://schemas.microsoft.com/office/drawing/2014/main" id="{2387CD2D-9C29-4E91-ACE4-81C0E9534A0E}"/>
                </a:ext>
              </a:extLst>
            </p:cNvPr>
            <p:cNvSpPr/>
            <p:nvPr/>
          </p:nvSpPr>
          <p:spPr bwMode="auto">
            <a:xfrm>
              <a:off x="761628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íṩḷïḓé">
              <a:extLst>
                <a:ext uri="{FF2B5EF4-FFF2-40B4-BE49-F238E27FC236}">
                  <a16:creationId xmlns:a16="http://schemas.microsoft.com/office/drawing/2014/main" id="{E6DDB645-12E2-4C79-9BE8-9CA09BA9920D}"/>
                </a:ext>
              </a:extLst>
            </p:cNvPr>
            <p:cNvSpPr/>
            <p:nvPr/>
          </p:nvSpPr>
          <p:spPr bwMode="auto">
            <a:xfrm>
              <a:off x="774743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i$1ïḑê">
              <a:extLst>
                <a:ext uri="{FF2B5EF4-FFF2-40B4-BE49-F238E27FC236}">
                  <a16:creationId xmlns:a16="http://schemas.microsoft.com/office/drawing/2014/main" id="{EF0D2E12-7416-4FA5-BE4F-448FD2BBF298}"/>
                </a:ext>
              </a:extLst>
            </p:cNvPr>
            <p:cNvSpPr/>
            <p:nvPr/>
          </p:nvSpPr>
          <p:spPr bwMode="auto">
            <a:xfrm>
              <a:off x="787858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íśḷîde">
              <a:extLst>
                <a:ext uri="{FF2B5EF4-FFF2-40B4-BE49-F238E27FC236}">
                  <a16:creationId xmlns:a16="http://schemas.microsoft.com/office/drawing/2014/main" id="{B418CE94-B121-4001-9DA9-AC3BCC14BFAC}"/>
                </a:ext>
              </a:extLst>
            </p:cNvPr>
            <p:cNvSpPr/>
            <p:nvPr/>
          </p:nvSpPr>
          <p:spPr bwMode="auto">
            <a:xfrm>
              <a:off x="800973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íŝ1îdè">
              <a:extLst>
                <a:ext uri="{FF2B5EF4-FFF2-40B4-BE49-F238E27FC236}">
                  <a16:creationId xmlns:a16="http://schemas.microsoft.com/office/drawing/2014/main" id="{FA3BDC9A-8AB3-42CB-9080-D29C78B1719C}"/>
                </a:ext>
              </a:extLst>
            </p:cNvPr>
            <p:cNvSpPr/>
            <p:nvPr/>
          </p:nvSpPr>
          <p:spPr bwMode="auto">
            <a:xfrm>
              <a:off x="8142431" y="2271702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îşḷiḓê">
              <a:extLst>
                <a:ext uri="{FF2B5EF4-FFF2-40B4-BE49-F238E27FC236}">
                  <a16:creationId xmlns:a16="http://schemas.microsoft.com/office/drawing/2014/main" id="{001B5F66-4DCD-416B-BFD0-F10824B4B5D6}"/>
                </a:ext>
              </a:extLst>
            </p:cNvPr>
            <p:cNvSpPr/>
            <p:nvPr/>
          </p:nvSpPr>
          <p:spPr bwMode="auto">
            <a:xfrm>
              <a:off x="8273582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4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îSḻiḑe">
              <a:extLst>
                <a:ext uri="{FF2B5EF4-FFF2-40B4-BE49-F238E27FC236}">
                  <a16:creationId xmlns:a16="http://schemas.microsoft.com/office/drawing/2014/main" id="{98CE2CD5-5157-48C5-8CD2-3BA8ECE98F98}"/>
                </a:ext>
              </a:extLst>
            </p:cNvPr>
            <p:cNvSpPr/>
            <p:nvPr/>
          </p:nvSpPr>
          <p:spPr bwMode="auto">
            <a:xfrm>
              <a:off x="840781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iṥļïḍe">
              <a:extLst>
                <a:ext uri="{FF2B5EF4-FFF2-40B4-BE49-F238E27FC236}">
                  <a16:creationId xmlns:a16="http://schemas.microsoft.com/office/drawing/2014/main" id="{28F09A83-6266-4AAA-BB2E-35735E2A9B3F}"/>
                </a:ext>
              </a:extLst>
            </p:cNvPr>
            <p:cNvSpPr/>
            <p:nvPr/>
          </p:nvSpPr>
          <p:spPr bwMode="auto">
            <a:xfrm>
              <a:off x="8538969" y="2271702"/>
              <a:ext cx="124979" cy="69433"/>
            </a:xfrm>
            <a:custGeom>
              <a:avLst/>
              <a:gdLst>
                <a:gd name="T0" fmla="*/ 31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iŝḻîḑé">
              <a:extLst>
                <a:ext uri="{FF2B5EF4-FFF2-40B4-BE49-F238E27FC236}">
                  <a16:creationId xmlns:a16="http://schemas.microsoft.com/office/drawing/2014/main" id="{AE31A74A-F11B-48BF-B24B-9CC42617EE7B}"/>
                </a:ext>
              </a:extLst>
            </p:cNvPr>
            <p:cNvSpPr/>
            <p:nvPr/>
          </p:nvSpPr>
          <p:spPr bwMode="auto">
            <a:xfrm>
              <a:off x="8670119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îṣḻíďé">
              <a:extLst>
                <a:ext uri="{FF2B5EF4-FFF2-40B4-BE49-F238E27FC236}">
                  <a16:creationId xmlns:a16="http://schemas.microsoft.com/office/drawing/2014/main" id="{2DD8FE1E-D43A-43FA-A50E-06705C1EE705}"/>
                </a:ext>
              </a:extLst>
            </p:cNvPr>
            <p:cNvSpPr/>
            <p:nvPr/>
          </p:nvSpPr>
          <p:spPr bwMode="auto">
            <a:xfrm>
              <a:off x="8802812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30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íṧlíḍé">
              <a:extLst>
                <a:ext uri="{FF2B5EF4-FFF2-40B4-BE49-F238E27FC236}">
                  <a16:creationId xmlns:a16="http://schemas.microsoft.com/office/drawing/2014/main" id="{33D646E7-1E9D-4F2E-AF2E-5B6277821288}"/>
                </a:ext>
              </a:extLst>
            </p:cNvPr>
            <p:cNvSpPr/>
            <p:nvPr/>
          </p:nvSpPr>
          <p:spPr bwMode="auto">
            <a:xfrm>
              <a:off x="8933963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ïšļiḋé">
              <a:extLst>
                <a:ext uri="{FF2B5EF4-FFF2-40B4-BE49-F238E27FC236}">
                  <a16:creationId xmlns:a16="http://schemas.microsoft.com/office/drawing/2014/main" id="{28E83926-EA0B-4D4D-816F-E8FFFD6912F5}"/>
                </a:ext>
              </a:extLst>
            </p:cNvPr>
            <p:cNvSpPr/>
            <p:nvPr/>
          </p:nvSpPr>
          <p:spPr bwMode="auto">
            <a:xfrm>
              <a:off x="9065113" y="2271702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1" y="19"/>
                    <a:pt x="35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ïśḷîḑè">
              <a:extLst>
                <a:ext uri="{FF2B5EF4-FFF2-40B4-BE49-F238E27FC236}">
                  <a16:creationId xmlns:a16="http://schemas.microsoft.com/office/drawing/2014/main" id="{FA3113AF-4473-4E16-9F55-A3ED7831A158}"/>
                </a:ext>
              </a:extLst>
            </p:cNvPr>
            <p:cNvSpPr/>
            <p:nvPr/>
          </p:nvSpPr>
          <p:spPr bwMode="auto">
            <a:xfrm>
              <a:off x="9199350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2 w 34"/>
                <a:gd name="T3" fmla="*/ 0 h 19"/>
                <a:gd name="T4" fmla="*/ 2 w 34"/>
                <a:gd name="T5" fmla="*/ 9 h 19"/>
                <a:gd name="T6" fmla="*/ 22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îṡliḑè">
              <a:extLst>
                <a:ext uri="{FF2B5EF4-FFF2-40B4-BE49-F238E27FC236}">
                  <a16:creationId xmlns:a16="http://schemas.microsoft.com/office/drawing/2014/main" id="{1DAFE941-4F2B-48E5-80B3-14BF87B02063}"/>
                </a:ext>
              </a:extLst>
            </p:cNvPr>
            <p:cNvSpPr/>
            <p:nvPr/>
          </p:nvSpPr>
          <p:spPr bwMode="auto">
            <a:xfrm>
              <a:off x="9330500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îşľiḑe">
              <a:extLst>
                <a:ext uri="{FF2B5EF4-FFF2-40B4-BE49-F238E27FC236}">
                  <a16:creationId xmlns:a16="http://schemas.microsoft.com/office/drawing/2014/main" id="{96C87CEA-C9D1-4D6D-A5D9-17E8CE3CDDFB}"/>
                </a:ext>
              </a:extLst>
            </p:cNvPr>
            <p:cNvSpPr/>
            <p:nvPr/>
          </p:nvSpPr>
          <p:spPr bwMode="auto">
            <a:xfrm>
              <a:off x="9375246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5"/>
                    <a:pt x="14" y="19"/>
                    <a:pt x="23" y="19"/>
                  </a:cubicBezTo>
                  <a:cubicBezTo>
                    <a:pt x="31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ïś1íḑê">
              <a:extLst>
                <a:ext uri="{FF2B5EF4-FFF2-40B4-BE49-F238E27FC236}">
                  <a16:creationId xmlns:a16="http://schemas.microsoft.com/office/drawing/2014/main" id="{DD0EC043-D91A-4352-8841-BBC4D3D52E18}"/>
                </a:ext>
              </a:extLst>
            </p:cNvPr>
            <p:cNvSpPr/>
            <p:nvPr/>
          </p:nvSpPr>
          <p:spPr bwMode="auto">
            <a:xfrm>
              <a:off x="6969792" y="2356565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5"/>
                    <a:pt x="9" y="19"/>
                    <a:pt x="17" y="19"/>
                  </a:cubicBezTo>
                  <a:cubicBezTo>
                    <a:pt x="25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ïṧlïdé">
              <a:extLst>
                <a:ext uri="{FF2B5EF4-FFF2-40B4-BE49-F238E27FC236}">
                  <a16:creationId xmlns:a16="http://schemas.microsoft.com/office/drawing/2014/main" id="{C962C8AF-C714-4FE9-ABE9-E4D592D9198C}"/>
                </a:ext>
              </a:extLst>
            </p:cNvPr>
            <p:cNvSpPr/>
            <p:nvPr/>
          </p:nvSpPr>
          <p:spPr bwMode="auto">
            <a:xfrm>
              <a:off x="7102485" y="2356565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10" y="19"/>
                    <a:pt x="18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íSľíḓè">
              <a:extLst>
                <a:ext uri="{FF2B5EF4-FFF2-40B4-BE49-F238E27FC236}">
                  <a16:creationId xmlns:a16="http://schemas.microsoft.com/office/drawing/2014/main" id="{4578A7FB-A441-4D7E-AEF9-E63BAEBD2FF8}"/>
                </a:ext>
              </a:extLst>
            </p:cNvPr>
            <p:cNvSpPr/>
            <p:nvPr/>
          </p:nvSpPr>
          <p:spPr bwMode="auto">
            <a:xfrm>
              <a:off x="7236722" y="2356565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10" y="19"/>
                    <a:pt x="18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ïş1íḓé">
              <a:extLst>
                <a:ext uri="{FF2B5EF4-FFF2-40B4-BE49-F238E27FC236}">
                  <a16:creationId xmlns:a16="http://schemas.microsoft.com/office/drawing/2014/main" id="{364A35F0-B7ED-40D1-B417-D86B4E5B7229}"/>
                </a:ext>
              </a:extLst>
            </p:cNvPr>
            <p:cNvSpPr/>
            <p:nvPr/>
          </p:nvSpPr>
          <p:spPr bwMode="auto">
            <a:xfrm>
              <a:off x="7367872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5"/>
                    <a:pt x="11" y="19"/>
                    <a:pt x="19" y="19"/>
                  </a:cubicBezTo>
                  <a:cubicBezTo>
                    <a:pt x="27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íṡlïḓè">
              <a:extLst>
                <a:ext uri="{FF2B5EF4-FFF2-40B4-BE49-F238E27FC236}">
                  <a16:creationId xmlns:a16="http://schemas.microsoft.com/office/drawing/2014/main" id="{C3C93D20-7F28-412F-939C-0B5B5D54CDAD}"/>
                </a:ext>
              </a:extLst>
            </p:cNvPr>
            <p:cNvSpPr/>
            <p:nvPr/>
          </p:nvSpPr>
          <p:spPr bwMode="auto">
            <a:xfrm>
              <a:off x="7503651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5"/>
                    <a:pt x="10" y="19"/>
                    <a:pt x="19" y="19"/>
                  </a:cubicBezTo>
                  <a:cubicBezTo>
                    <a:pt x="27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ṣlíḋê">
              <a:extLst>
                <a:ext uri="{FF2B5EF4-FFF2-40B4-BE49-F238E27FC236}">
                  <a16:creationId xmlns:a16="http://schemas.microsoft.com/office/drawing/2014/main" id="{6461EB46-FE3E-4E2F-9785-B20B5016BD66}"/>
                </a:ext>
              </a:extLst>
            </p:cNvPr>
            <p:cNvSpPr/>
            <p:nvPr/>
          </p:nvSpPr>
          <p:spPr bwMode="auto">
            <a:xfrm>
              <a:off x="7637888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5"/>
                    <a:pt x="10" y="19"/>
                    <a:pt x="19" y="19"/>
                  </a:cubicBezTo>
                  <a:cubicBezTo>
                    <a:pt x="27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íṣḷïďê">
              <a:extLst>
                <a:ext uri="{FF2B5EF4-FFF2-40B4-BE49-F238E27FC236}">
                  <a16:creationId xmlns:a16="http://schemas.microsoft.com/office/drawing/2014/main" id="{9D56C778-4AA3-4924-A629-39F1757869BF}"/>
                </a:ext>
              </a:extLst>
            </p:cNvPr>
            <p:cNvSpPr/>
            <p:nvPr/>
          </p:nvSpPr>
          <p:spPr bwMode="auto">
            <a:xfrm>
              <a:off x="7769038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5"/>
                    <a:pt x="11" y="19"/>
                    <a:pt x="20" y="19"/>
                  </a:cubicBezTo>
                  <a:cubicBezTo>
                    <a:pt x="28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íṧlïḑé">
              <a:extLst>
                <a:ext uri="{FF2B5EF4-FFF2-40B4-BE49-F238E27FC236}">
                  <a16:creationId xmlns:a16="http://schemas.microsoft.com/office/drawing/2014/main" id="{B4CC1858-2156-439D-9CEB-7C70FD2E24D8}"/>
                </a:ext>
              </a:extLst>
            </p:cNvPr>
            <p:cNvSpPr/>
            <p:nvPr/>
          </p:nvSpPr>
          <p:spPr bwMode="auto">
            <a:xfrm>
              <a:off x="7904817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5"/>
                    <a:pt x="11" y="19"/>
                    <a:pt x="20" y="19"/>
                  </a:cubicBezTo>
                  <a:cubicBezTo>
                    <a:pt x="28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i$liḍé">
              <a:extLst>
                <a:ext uri="{FF2B5EF4-FFF2-40B4-BE49-F238E27FC236}">
                  <a16:creationId xmlns:a16="http://schemas.microsoft.com/office/drawing/2014/main" id="{4865A8BE-28D9-4A63-96E6-E8E89C90E716}"/>
                </a:ext>
              </a:extLst>
            </p:cNvPr>
            <p:cNvSpPr/>
            <p:nvPr/>
          </p:nvSpPr>
          <p:spPr bwMode="auto">
            <a:xfrm>
              <a:off x="8039054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5"/>
                    <a:pt x="11" y="19"/>
                    <a:pt x="19" y="19"/>
                  </a:cubicBezTo>
                  <a:cubicBezTo>
                    <a:pt x="28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iṩļîďe">
              <a:extLst>
                <a:ext uri="{FF2B5EF4-FFF2-40B4-BE49-F238E27FC236}">
                  <a16:creationId xmlns:a16="http://schemas.microsoft.com/office/drawing/2014/main" id="{E47759AB-CE21-43B6-818A-3035970FFA0D}"/>
                </a:ext>
              </a:extLst>
            </p:cNvPr>
            <p:cNvSpPr/>
            <p:nvPr/>
          </p:nvSpPr>
          <p:spPr bwMode="auto">
            <a:xfrm>
              <a:off x="8170204" y="2356565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4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2" y="19"/>
                    <a:pt x="20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îş1ïḑè">
              <a:extLst>
                <a:ext uri="{FF2B5EF4-FFF2-40B4-BE49-F238E27FC236}">
                  <a16:creationId xmlns:a16="http://schemas.microsoft.com/office/drawing/2014/main" id="{C7DA4283-8769-4269-976D-1523AFA12CB0}"/>
                </a:ext>
              </a:extLst>
            </p:cNvPr>
            <p:cNvSpPr/>
            <p:nvPr/>
          </p:nvSpPr>
          <p:spPr bwMode="auto">
            <a:xfrm>
              <a:off x="8305983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2" y="19"/>
                    <a:pt x="20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íSḷíďe">
              <a:extLst>
                <a:ext uri="{FF2B5EF4-FFF2-40B4-BE49-F238E27FC236}">
                  <a16:creationId xmlns:a16="http://schemas.microsoft.com/office/drawing/2014/main" id="{E1F7B821-DEE8-42D5-9B73-0F9C54225105}"/>
                </a:ext>
              </a:extLst>
            </p:cNvPr>
            <p:cNvSpPr/>
            <p:nvPr/>
          </p:nvSpPr>
          <p:spPr bwMode="auto">
            <a:xfrm>
              <a:off x="8437134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4 w 35"/>
                <a:gd name="T3" fmla="*/ 0 h 19"/>
                <a:gd name="T4" fmla="*/ 2 w 35"/>
                <a:gd name="T5" fmla="*/ 9 h 19"/>
                <a:gd name="T6" fmla="*/ 21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îš1ídê">
              <a:extLst>
                <a:ext uri="{FF2B5EF4-FFF2-40B4-BE49-F238E27FC236}">
                  <a16:creationId xmlns:a16="http://schemas.microsoft.com/office/drawing/2014/main" id="{FFAF1DED-DBD4-4C21-BB81-A9EFB07EB500}"/>
                </a:ext>
              </a:extLst>
            </p:cNvPr>
            <p:cNvSpPr/>
            <p:nvPr/>
          </p:nvSpPr>
          <p:spPr bwMode="auto">
            <a:xfrm>
              <a:off x="8572914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iṥḷîḓè">
              <a:extLst>
                <a:ext uri="{FF2B5EF4-FFF2-40B4-BE49-F238E27FC236}">
                  <a16:creationId xmlns:a16="http://schemas.microsoft.com/office/drawing/2014/main" id="{975E3997-36B0-46FB-A896-52D279EB83F9}"/>
                </a:ext>
              </a:extLst>
            </p:cNvPr>
            <p:cNvSpPr/>
            <p:nvPr/>
          </p:nvSpPr>
          <p:spPr bwMode="auto">
            <a:xfrm>
              <a:off x="8707149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iślîḍê">
              <a:extLst>
                <a:ext uri="{FF2B5EF4-FFF2-40B4-BE49-F238E27FC236}">
                  <a16:creationId xmlns:a16="http://schemas.microsoft.com/office/drawing/2014/main" id="{069CC359-94A1-4635-AD73-28864DBE51DD}"/>
                </a:ext>
              </a:extLst>
            </p:cNvPr>
            <p:cNvSpPr/>
            <p:nvPr/>
          </p:nvSpPr>
          <p:spPr bwMode="auto">
            <a:xfrm>
              <a:off x="8838300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5"/>
                    <a:pt x="14" y="19"/>
                    <a:pt x="22" y="19"/>
                  </a:cubicBezTo>
                  <a:cubicBezTo>
                    <a:pt x="30" y="19"/>
                    <a:pt x="35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íšḷîḍê">
              <a:extLst>
                <a:ext uri="{FF2B5EF4-FFF2-40B4-BE49-F238E27FC236}">
                  <a16:creationId xmlns:a16="http://schemas.microsoft.com/office/drawing/2014/main" id="{1E806DB6-F31F-4B50-A3CC-0E81C5CC9E19}"/>
                </a:ext>
              </a:extLst>
            </p:cNvPr>
            <p:cNvSpPr/>
            <p:nvPr/>
          </p:nvSpPr>
          <p:spPr bwMode="auto">
            <a:xfrm>
              <a:off x="8974080" y="2356565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5"/>
                    <a:pt x="14" y="19"/>
                    <a:pt x="22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îṥlïḍé">
              <a:extLst>
                <a:ext uri="{FF2B5EF4-FFF2-40B4-BE49-F238E27FC236}">
                  <a16:creationId xmlns:a16="http://schemas.microsoft.com/office/drawing/2014/main" id="{835F38B5-E19D-4DC4-8D4E-273B2B7E0EFB}"/>
                </a:ext>
              </a:extLst>
            </p:cNvPr>
            <p:cNvSpPr/>
            <p:nvPr/>
          </p:nvSpPr>
          <p:spPr bwMode="auto">
            <a:xfrm>
              <a:off x="9108316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5"/>
                    <a:pt x="13" y="19"/>
                    <a:pt x="22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ïṣľiḍé">
              <a:extLst>
                <a:ext uri="{FF2B5EF4-FFF2-40B4-BE49-F238E27FC236}">
                  <a16:creationId xmlns:a16="http://schemas.microsoft.com/office/drawing/2014/main" id="{743609D9-C06F-4CD0-A37C-C61E75AD060A}"/>
                </a:ext>
              </a:extLst>
            </p:cNvPr>
            <p:cNvSpPr/>
            <p:nvPr/>
          </p:nvSpPr>
          <p:spPr bwMode="auto">
            <a:xfrm>
              <a:off x="9239466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13 w 36"/>
                <a:gd name="T3" fmla="*/ 0 h 19"/>
                <a:gd name="T4" fmla="*/ 3 w 36"/>
                <a:gd name="T5" fmla="*/ 9 h 19"/>
                <a:gd name="T6" fmla="*/ 2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5"/>
                    <a:pt x="14" y="19"/>
                    <a:pt x="23" y="19"/>
                  </a:cubicBezTo>
                  <a:cubicBezTo>
                    <a:pt x="31" y="19"/>
                    <a:pt x="36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îṧľîḍè">
              <a:extLst>
                <a:ext uri="{FF2B5EF4-FFF2-40B4-BE49-F238E27FC236}">
                  <a16:creationId xmlns:a16="http://schemas.microsoft.com/office/drawing/2014/main" id="{1BE52F22-461C-4A29-B0D3-8942D0D0B3EF}"/>
                </a:ext>
              </a:extLst>
            </p:cNvPr>
            <p:cNvSpPr/>
            <p:nvPr/>
          </p:nvSpPr>
          <p:spPr bwMode="auto">
            <a:xfrm>
              <a:off x="6985221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1" y="16"/>
                    <a:pt x="9" y="20"/>
                    <a:pt x="17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îṧ1îḓe">
              <a:extLst>
                <a:ext uri="{FF2B5EF4-FFF2-40B4-BE49-F238E27FC236}">
                  <a16:creationId xmlns:a16="http://schemas.microsoft.com/office/drawing/2014/main" id="{574CECFE-271B-400C-A39E-B8ABC4E5C7A9}"/>
                </a:ext>
              </a:extLst>
            </p:cNvPr>
            <p:cNvSpPr/>
            <p:nvPr/>
          </p:nvSpPr>
          <p:spPr bwMode="auto">
            <a:xfrm>
              <a:off x="7119458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íṧļïde">
              <a:extLst>
                <a:ext uri="{FF2B5EF4-FFF2-40B4-BE49-F238E27FC236}">
                  <a16:creationId xmlns:a16="http://schemas.microsoft.com/office/drawing/2014/main" id="{BBC7033A-4FEB-4047-89A5-0365FCDC6629}"/>
                </a:ext>
              </a:extLst>
            </p:cNvPr>
            <p:cNvSpPr/>
            <p:nvPr/>
          </p:nvSpPr>
          <p:spPr bwMode="auto">
            <a:xfrm>
              <a:off x="725523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10" y="20"/>
                    <a:pt x="18" y="20"/>
                  </a:cubicBezTo>
                  <a:cubicBezTo>
                    <a:pt x="27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íSľiḑé">
              <a:extLst>
                <a:ext uri="{FF2B5EF4-FFF2-40B4-BE49-F238E27FC236}">
                  <a16:creationId xmlns:a16="http://schemas.microsoft.com/office/drawing/2014/main" id="{304C58C8-AC8F-4815-80A3-5E859786E07C}"/>
                </a:ext>
              </a:extLst>
            </p:cNvPr>
            <p:cNvSpPr/>
            <p:nvPr/>
          </p:nvSpPr>
          <p:spPr bwMode="auto">
            <a:xfrm>
              <a:off x="7389473" y="2439884"/>
              <a:ext cx="120350" cy="74061"/>
            </a:xfrm>
            <a:custGeom>
              <a:avLst/>
              <a:gdLst>
                <a:gd name="T0" fmla="*/ 31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1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10" y="20"/>
                    <a:pt x="19" y="20"/>
                  </a:cubicBezTo>
                  <a:cubicBezTo>
                    <a:pt x="27" y="20"/>
                    <a:pt x="33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îṡ1iďe">
              <a:extLst>
                <a:ext uri="{FF2B5EF4-FFF2-40B4-BE49-F238E27FC236}">
                  <a16:creationId xmlns:a16="http://schemas.microsoft.com/office/drawing/2014/main" id="{CE1B1FB4-CBD3-4B11-827C-12CB71222099}"/>
                </a:ext>
              </a:extLst>
            </p:cNvPr>
            <p:cNvSpPr/>
            <p:nvPr/>
          </p:nvSpPr>
          <p:spPr bwMode="auto">
            <a:xfrm>
              <a:off x="7525252" y="2439884"/>
              <a:ext cx="120350" cy="74061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3" y="16"/>
                    <a:pt x="10" y="20"/>
                    <a:pt x="19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išḷîďé">
              <a:extLst>
                <a:ext uri="{FF2B5EF4-FFF2-40B4-BE49-F238E27FC236}">
                  <a16:creationId xmlns:a16="http://schemas.microsoft.com/office/drawing/2014/main" id="{E20AB84C-224D-4F84-A288-1E058CA25C46}"/>
                </a:ext>
              </a:extLst>
            </p:cNvPr>
            <p:cNvSpPr/>
            <p:nvPr/>
          </p:nvSpPr>
          <p:spPr bwMode="auto">
            <a:xfrm>
              <a:off x="7659489" y="2439884"/>
              <a:ext cx="120350" cy="74061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3" y="16"/>
                    <a:pt x="11" y="20"/>
                    <a:pt x="19" y="20"/>
                  </a:cubicBezTo>
                  <a:cubicBezTo>
                    <a:pt x="28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íŝľídé">
              <a:extLst>
                <a:ext uri="{FF2B5EF4-FFF2-40B4-BE49-F238E27FC236}">
                  <a16:creationId xmlns:a16="http://schemas.microsoft.com/office/drawing/2014/main" id="{766A3FFD-B518-410D-862A-2C6158F7C7D0}"/>
                </a:ext>
              </a:extLst>
            </p:cNvPr>
            <p:cNvSpPr/>
            <p:nvPr/>
          </p:nvSpPr>
          <p:spPr bwMode="auto">
            <a:xfrm>
              <a:off x="7795269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ïSḷiḑé">
              <a:extLst>
                <a:ext uri="{FF2B5EF4-FFF2-40B4-BE49-F238E27FC236}">
                  <a16:creationId xmlns:a16="http://schemas.microsoft.com/office/drawing/2014/main" id="{318CF06A-5E03-4645-9FA4-706026C67D8D}"/>
                </a:ext>
              </a:extLst>
            </p:cNvPr>
            <p:cNvSpPr/>
            <p:nvPr/>
          </p:nvSpPr>
          <p:spPr bwMode="auto">
            <a:xfrm>
              <a:off x="7929504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3" y="16"/>
                    <a:pt x="12" y="20"/>
                    <a:pt x="20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işļíďè">
              <a:extLst>
                <a:ext uri="{FF2B5EF4-FFF2-40B4-BE49-F238E27FC236}">
                  <a16:creationId xmlns:a16="http://schemas.microsoft.com/office/drawing/2014/main" id="{D8B4D4DA-342F-4895-BA0B-088E78044EC6}"/>
                </a:ext>
              </a:extLst>
            </p:cNvPr>
            <p:cNvSpPr/>
            <p:nvPr/>
          </p:nvSpPr>
          <p:spPr bwMode="auto">
            <a:xfrm>
              <a:off x="8065284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2" y="20"/>
                    <a:pt x="20" y="20"/>
                  </a:cubicBezTo>
                  <a:cubicBezTo>
                    <a:pt x="29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iṥlîde">
              <a:extLst>
                <a:ext uri="{FF2B5EF4-FFF2-40B4-BE49-F238E27FC236}">
                  <a16:creationId xmlns:a16="http://schemas.microsoft.com/office/drawing/2014/main" id="{6702D12A-409E-4C63-BAE1-02D981A8F749}"/>
                </a:ext>
              </a:extLst>
            </p:cNvPr>
            <p:cNvSpPr/>
            <p:nvPr/>
          </p:nvSpPr>
          <p:spPr bwMode="auto">
            <a:xfrm>
              <a:off x="8199520" y="2439884"/>
              <a:ext cx="124979" cy="74061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29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iṩḻïḑê">
              <a:extLst>
                <a:ext uri="{FF2B5EF4-FFF2-40B4-BE49-F238E27FC236}">
                  <a16:creationId xmlns:a16="http://schemas.microsoft.com/office/drawing/2014/main" id="{2B4D018F-1C1C-470C-A7F7-BDFBA6874AF8}"/>
                </a:ext>
              </a:extLst>
            </p:cNvPr>
            <p:cNvSpPr/>
            <p:nvPr/>
          </p:nvSpPr>
          <p:spPr bwMode="auto">
            <a:xfrm>
              <a:off x="8335300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íṣḻïḍè">
              <a:extLst>
                <a:ext uri="{FF2B5EF4-FFF2-40B4-BE49-F238E27FC236}">
                  <a16:creationId xmlns:a16="http://schemas.microsoft.com/office/drawing/2014/main" id="{AEA56743-6B67-498C-AC18-F55221147A90}"/>
                </a:ext>
              </a:extLst>
            </p:cNvPr>
            <p:cNvSpPr/>
            <p:nvPr/>
          </p:nvSpPr>
          <p:spPr bwMode="auto">
            <a:xfrm>
              <a:off x="8469536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3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3" y="10"/>
                  </a:cubicBezTo>
                  <a:cubicBezTo>
                    <a:pt x="5" y="16"/>
                    <a:pt x="13" y="20"/>
                    <a:pt x="22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îş1ïḋé">
              <a:extLst>
                <a:ext uri="{FF2B5EF4-FFF2-40B4-BE49-F238E27FC236}">
                  <a16:creationId xmlns:a16="http://schemas.microsoft.com/office/drawing/2014/main" id="{8B452EFB-2E3E-453D-85FF-8A873C3D03A7}"/>
                </a:ext>
              </a:extLst>
            </p:cNvPr>
            <p:cNvSpPr/>
            <p:nvPr/>
          </p:nvSpPr>
          <p:spPr bwMode="auto">
            <a:xfrm>
              <a:off x="8608401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29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ïṣḷíde">
              <a:extLst>
                <a:ext uri="{FF2B5EF4-FFF2-40B4-BE49-F238E27FC236}">
                  <a16:creationId xmlns:a16="http://schemas.microsoft.com/office/drawing/2014/main" id="{96EE70F9-9316-4301-BA87-DA33FD211A37}"/>
                </a:ext>
              </a:extLst>
            </p:cNvPr>
            <p:cNvSpPr/>
            <p:nvPr/>
          </p:nvSpPr>
          <p:spPr bwMode="auto">
            <a:xfrm>
              <a:off x="8744180" y="2439884"/>
              <a:ext cx="126522" cy="74061"/>
            </a:xfrm>
            <a:custGeom>
              <a:avLst/>
              <a:gdLst>
                <a:gd name="T0" fmla="*/ 32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îṧḻíḑè">
              <a:extLst>
                <a:ext uri="{FF2B5EF4-FFF2-40B4-BE49-F238E27FC236}">
                  <a16:creationId xmlns:a16="http://schemas.microsoft.com/office/drawing/2014/main" id="{505C292D-97A6-45F8-8C87-D43E71560169}"/>
                </a:ext>
              </a:extLst>
            </p:cNvPr>
            <p:cNvSpPr/>
            <p:nvPr/>
          </p:nvSpPr>
          <p:spPr bwMode="auto">
            <a:xfrm>
              <a:off x="8878417" y="2439884"/>
              <a:ext cx="128065" cy="74061"/>
            </a:xfrm>
            <a:custGeom>
              <a:avLst/>
              <a:gdLst>
                <a:gd name="T0" fmla="*/ 32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5" y="16"/>
                    <a:pt x="13" y="20"/>
                    <a:pt x="22" y="20"/>
                  </a:cubicBezTo>
                  <a:cubicBezTo>
                    <a:pt x="30" y="20"/>
                    <a:pt x="35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íŝḷídé">
              <a:extLst>
                <a:ext uri="{FF2B5EF4-FFF2-40B4-BE49-F238E27FC236}">
                  <a16:creationId xmlns:a16="http://schemas.microsoft.com/office/drawing/2014/main" id="{F9266750-0CFA-4EAF-A1B7-26F701304B0E}"/>
                </a:ext>
              </a:extLst>
            </p:cNvPr>
            <p:cNvSpPr/>
            <p:nvPr/>
          </p:nvSpPr>
          <p:spPr bwMode="auto">
            <a:xfrm>
              <a:off x="9014196" y="2439884"/>
              <a:ext cx="126522" cy="74061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5" y="16"/>
                    <a:pt x="14" y="20"/>
                    <a:pt x="22" y="20"/>
                  </a:cubicBezTo>
                  <a:cubicBezTo>
                    <a:pt x="31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ïšľïḑê">
              <a:extLst>
                <a:ext uri="{FF2B5EF4-FFF2-40B4-BE49-F238E27FC236}">
                  <a16:creationId xmlns:a16="http://schemas.microsoft.com/office/drawing/2014/main" id="{87E364D0-B5C2-4D07-8488-17018FF8EFCB}"/>
                </a:ext>
              </a:extLst>
            </p:cNvPr>
            <p:cNvSpPr/>
            <p:nvPr/>
          </p:nvSpPr>
          <p:spPr bwMode="auto">
            <a:xfrm>
              <a:off x="9148432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ïSļiḓê">
              <a:extLst>
                <a:ext uri="{FF2B5EF4-FFF2-40B4-BE49-F238E27FC236}">
                  <a16:creationId xmlns:a16="http://schemas.microsoft.com/office/drawing/2014/main" id="{7676B6B7-3F7E-4E2D-A9D2-978A1E43300A}"/>
                </a:ext>
              </a:extLst>
            </p:cNvPr>
            <p:cNvSpPr/>
            <p:nvPr/>
          </p:nvSpPr>
          <p:spPr bwMode="auto">
            <a:xfrm>
              <a:off x="9284211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íślîďè">
              <a:extLst>
                <a:ext uri="{FF2B5EF4-FFF2-40B4-BE49-F238E27FC236}">
                  <a16:creationId xmlns:a16="http://schemas.microsoft.com/office/drawing/2014/main" id="{B5054162-08B0-4FE6-8E84-4EFE765A9633}"/>
                </a:ext>
              </a:extLst>
            </p:cNvPr>
            <p:cNvSpPr/>
            <p:nvPr/>
          </p:nvSpPr>
          <p:spPr bwMode="auto">
            <a:xfrm>
              <a:off x="8779668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5" y="15"/>
                    <a:pt x="13" y="20"/>
                    <a:pt x="22" y="20"/>
                  </a:cubicBezTo>
                  <a:cubicBezTo>
                    <a:pt x="31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iṧľïḋê">
              <a:extLst>
                <a:ext uri="{FF2B5EF4-FFF2-40B4-BE49-F238E27FC236}">
                  <a16:creationId xmlns:a16="http://schemas.microsoft.com/office/drawing/2014/main" id="{53CF5FA7-54D0-40B7-958E-63DDE74CE4D0}"/>
                </a:ext>
              </a:extLst>
            </p:cNvPr>
            <p:cNvSpPr/>
            <p:nvPr/>
          </p:nvSpPr>
          <p:spPr bwMode="auto">
            <a:xfrm>
              <a:off x="8915448" y="2532461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5"/>
                    <a:pt x="14" y="20"/>
                    <a:pt x="23" y="20"/>
                  </a:cubicBezTo>
                  <a:cubicBezTo>
                    <a:pt x="31" y="20"/>
                    <a:pt x="36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ïs1îḑé">
              <a:extLst>
                <a:ext uri="{FF2B5EF4-FFF2-40B4-BE49-F238E27FC236}">
                  <a16:creationId xmlns:a16="http://schemas.microsoft.com/office/drawing/2014/main" id="{99781108-BC2F-48C2-A06E-9E740C7AFC0F}"/>
                </a:ext>
              </a:extLst>
            </p:cNvPr>
            <p:cNvSpPr/>
            <p:nvPr/>
          </p:nvSpPr>
          <p:spPr bwMode="auto">
            <a:xfrm>
              <a:off x="9193178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2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5"/>
                    <a:pt x="14" y="20"/>
                    <a:pt x="23" y="20"/>
                  </a:cubicBezTo>
                  <a:cubicBezTo>
                    <a:pt x="31" y="20"/>
                    <a:pt x="36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îsḻídè">
              <a:extLst>
                <a:ext uri="{FF2B5EF4-FFF2-40B4-BE49-F238E27FC236}">
                  <a16:creationId xmlns:a16="http://schemas.microsoft.com/office/drawing/2014/main" id="{7234626A-6B7E-4633-B644-480725EFDC3F}"/>
                </a:ext>
              </a:extLst>
            </p:cNvPr>
            <p:cNvSpPr/>
            <p:nvPr/>
          </p:nvSpPr>
          <p:spPr bwMode="auto">
            <a:xfrm>
              <a:off x="8816699" y="2623495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2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iṧ1ïḓê">
              <a:extLst>
                <a:ext uri="{FF2B5EF4-FFF2-40B4-BE49-F238E27FC236}">
                  <a16:creationId xmlns:a16="http://schemas.microsoft.com/office/drawing/2014/main" id="{54A4EAD9-9C7E-405C-9989-8E2AA8BA8971}"/>
                </a:ext>
              </a:extLst>
            </p:cNvPr>
            <p:cNvSpPr/>
            <p:nvPr/>
          </p:nvSpPr>
          <p:spPr bwMode="auto">
            <a:xfrm>
              <a:off x="8955564" y="2623495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4 w 37"/>
                <a:gd name="T3" fmla="*/ 0 h 20"/>
                <a:gd name="T4" fmla="*/ 3 w 37"/>
                <a:gd name="T5" fmla="*/ 10 h 20"/>
                <a:gd name="T6" fmla="*/ 2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2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6" y="16"/>
                    <a:pt x="15" y="20"/>
                    <a:pt x="23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íṣ1iďe">
              <a:extLst>
                <a:ext uri="{FF2B5EF4-FFF2-40B4-BE49-F238E27FC236}">
                  <a16:creationId xmlns:a16="http://schemas.microsoft.com/office/drawing/2014/main" id="{5179FB61-8716-4DFE-B0EE-6E6F841C24E2}"/>
                </a:ext>
              </a:extLst>
            </p:cNvPr>
            <p:cNvSpPr/>
            <p:nvPr/>
          </p:nvSpPr>
          <p:spPr bwMode="auto">
            <a:xfrm>
              <a:off x="9236381" y="2623495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2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2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ïŝḷíḋè">
              <a:extLst>
                <a:ext uri="{FF2B5EF4-FFF2-40B4-BE49-F238E27FC236}">
                  <a16:creationId xmlns:a16="http://schemas.microsoft.com/office/drawing/2014/main" id="{8858C625-B11F-4CFE-80DA-DB97CAA11BD0}"/>
                </a:ext>
              </a:extLst>
            </p:cNvPr>
            <p:cNvSpPr/>
            <p:nvPr/>
          </p:nvSpPr>
          <p:spPr bwMode="auto">
            <a:xfrm>
              <a:off x="8856816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işḷîdè">
              <a:extLst>
                <a:ext uri="{FF2B5EF4-FFF2-40B4-BE49-F238E27FC236}">
                  <a16:creationId xmlns:a16="http://schemas.microsoft.com/office/drawing/2014/main" id="{A0ED5BDD-48A4-482E-A72E-D223C6EBDCE7}"/>
                </a:ext>
              </a:extLst>
            </p:cNvPr>
            <p:cNvSpPr/>
            <p:nvPr/>
          </p:nvSpPr>
          <p:spPr bwMode="auto">
            <a:xfrm>
              <a:off x="8998767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3 w 37"/>
                <a:gd name="T3" fmla="*/ 0 h 22"/>
                <a:gd name="T4" fmla="*/ 2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1" y="5"/>
                    <a:pt x="22" y="0"/>
                    <a:pt x="13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ïsľïḍé">
              <a:extLst>
                <a:ext uri="{FF2B5EF4-FFF2-40B4-BE49-F238E27FC236}">
                  <a16:creationId xmlns:a16="http://schemas.microsoft.com/office/drawing/2014/main" id="{B434D36B-DAE0-49B7-BF88-569D4191498F}"/>
                </a:ext>
              </a:extLst>
            </p:cNvPr>
            <p:cNvSpPr/>
            <p:nvPr/>
          </p:nvSpPr>
          <p:spPr bwMode="auto">
            <a:xfrm>
              <a:off x="8896932" y="2810191"/>
              <a:ext cx="135779" cy="80233"/>
            </a:xfrm>
            <a:custGeom>
              <a:avLst/>
              <a:gdLst>
                <a:gd name="T0" fmla="*/ 35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4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5" y="22"/>
                    <a:pt x="24" y="22"/>
                  </a:cubicBezTo>
                  <a:cubicBezTo>
                    <a:pt x="32" y="22"/>
                    <a:pt x="37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işlïḑe">
              <a:extLst>
                <a:ext uri="{FF2B5EF4-FFF2-40B4-BE49-F238E27FC236}">
                  <a16:creationId xmlns:a16="http://schemas.microsoft.com/office/drawing/2014/main" id="{B87FBBF5-6A88-45A5-9544-A41763BF46AD}"/>
                </a:ext>
              </a:extLst>
            </p:cNvPr>
            <p:cNvSpPr/>
            <p:nvPr/>
          </p:nvSpPr>
          <p:spPr bwMode="auto">
            <a:xfrm>
              <a:off x="9038883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14 w 38"/>
                <a:gd name="T3" fmla="*/ 0 h 22"/>
                <a:gd name="T4" fmla="*/ 3 w 38"/>
                <a:gd name="T5" fmla="*/ 11 h 22"/>
                <a:gd name="T6" fmla="*/ 2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6" y="17"/>
                    <a:pt x="15" y="22"/>
                    <a:pt x="24" y="22"/>
                  </a:cubicBezTo>
                  <a:cubicBezTo>
                    <a:pt x="33" y="22"/>
                    <a:pt x="38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íś1íḍé">
              <a:extLst>
                <a:ext uri="{FF2B5EF4-FFF2-40B4-BE49-F238E27FC236}">
                  <a16:creationId xmlns:a16="http://schemas.microsoft.com/office/drawing/2014/main" id="{F2E31C74-7C0F-4C60-A8CC-DD655DBFBE17}"/>
                </a:ext>
              </a:extLst>
            </p:cNvPr>
            <p:cNvSpPr/>
            <p:nvPr/>
          </p:nvSpPr>
          <p:spPr bwMode="auto">
            <a:xfrm>
              <a:off x="8940135" y="2907397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îṧlïḓê">
              <a:extLst>
                <a:ext uri="{FF2B5EF4-FFF2-40B4-BE49-F238E27FC236}">
                  <a16:creationId xmlns:a16="http://schemas.microsoft.com/office/drawing/2014/main" id="{33147D75-9329-4456-AEB9-CB0B24EFD2C6}"/>
                </a:ext>
              </a:extLst>
            </p:cNvPr>
            <p:cNvSpPr/>
            <p:nvPr/>
          </p:nvSpPr>
          <p:spPr bwMode="auto">
            <a:xfrm>
              <a:off x="7809155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2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ïṩḷîḋe">
              <a:extLst>
                <a:ext uri="{FF2B5EF4-FFF2-40B4-BE49-F238E27FC236}">
                  <a16:creationId xmlns:a16="http://schemas.microsoft.com/office/drawing/2014/main" id="{664A4CB6-DBD4-4B1D-B19C-98DCE687DFCC}"/>
                </a:ext>
              </a:extLst>
            </p:cNvPr>
            <p:cNvSpPr/>
            <p:nvPr/>
          </p:nvSpPr>
          <p:spPr bwMode="auto">
            <a:xfrm>
              <a:off x="7955735" y="3010774"/>
              <a:ext cx="134237" cy="83319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îṩḷîdé">
              <a:extLst>
                <a:ext uri="{FF2B5EF4-FFF2-40B4-BE49-F238E27FC236}">
                  <a16:creationId xmlns:a16="http://schemas.microsoft.com/office/drawing/2014/main" id="{72F3B9D3-7150-45C5-9063-A6A68FD08D38}"/>
                </a:ext>
              </a:extLst>
            </p:cNvPr>
            <p:cNvSpPr/>
            <p:nvPr/>
          </p:nvSpPr>
          <p:spPr bwMode="auto">
            <a:xfrm>
              <a:off x="8105400" y="3010774"/>
              <a:ext cx="131151" cy="83319"/>
            </a:xfrm>
            <a:custGeom>
              <a:avLst/>
              <a:gdLst>
                <a:gd name="T0" fmla="*/ 34 w 36"/>
                <a:gd name="T1" fmla="*/ 11 h 23"/>
                <a:gd name="T2" fmla="*/ 14 w 36"/>
                <a:gd name="T3" fmla="*/ 0 h 23"/>
                <a:gd name="T4" fmla="*/ 1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1" y="11"/>
                  </a:cubicBezTo>
                  <a:cubicBezTo>
                    <a:pt x="3" y="18"/>
                    <a:pt x="12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îŝlíďê">
              <a:extLst>
                <a:ext uri="{FF2B5EF4-FFF2-40B4-BE49-F238E27FC236}">
                  <a16:creationId xmlns:a16="http://schemas.microsoft.com/office/drawing/2014/main" id="{4C084FFF-3C94-4683-B3B2-289BC32DCCEE}"/>
                </a:ext>
              </a:extLst>
            </p:cNvPr>
            <p:cNvSpPr/>
            <p:nvPr/>
          </p:nvSpPr>
          <p:spPr bwMode="auto">
            <a:xfrm>
              <a:off x="8397018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3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ïSlîďe">
              <a:extLst>
                <a:ext uri="{FF2B5EF4-FFF2-40B4-BE49-F238E27FC236}">
                  <a16:creationId xmlns:a16="http://schemas.microsoft.com/office/drawing/2014/main" id="{71A02621-84EC-4F02-8A58-2856102BF94C}"/>
                </a:ext>
              </a:extLst>
            </p:cNvPr>
            <p:cNvSpPr/>
            <p:nvPr/>
          </p:nvSpPr>
          <p:spPr bwMode="auto">
            <a:xfrm>
              <a:off x="8543597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2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iṧļiďè">
              <a:extLst>
                <a:ext uri="{FF2B5EF4-FFF2-40B4-BE49-F238E27FC236}">
                  <a16:creationId xmlns:a16="http://schemas.microsoft.com/office/drawing/2014/main" id="{0ECD27B5-B77C-4E4E-AEBA-4E2F9A4B6CAA}"/>
                </a:ext>
              </a:extLst>
            </p:cNvPr>
            <p:cNvSpPr/>
            <p:nvPr/>
          </p:nvSpPr>
          <p:spPr bwMode="auto">
            <a:xfrm>
              <a:off x="8688634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8"/>
                    <a:pt x="14" y="23"/>
                    <a:pt x="24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işľîďê">
              <a:extLst>
                <a:ext uri="{FF2B5EF4-FFF2-40B4-BE49-F238E27FC236}">
                  <a16:creationId xmlns:a16="http://schemas.microsoft.com/office/drawing/2014/main" id="{884822AE-5BE8-48A4-9DC2-65593D72FAA3}"/>
                </a:ext>
              </a:extLst>
            </p:cNvPr>
            <p:cNvSpPr/>
            <p:nvPr/>
          </p:nvSpPr>
          <p:spPr bwMode="auto">
            <a:xfrm>
              <a:off x="7838471" y="3112609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2 w 37"/>
                <a:gd name="T5" fmla="*/ 12 h 24"/>
                <a:gd name="T6" fmla="*/ 21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6" y="0"/>
                    <a:pt x="0" y="6"/>
                    <a:pt x="2" y="12"/>
                  </a:cubicBezTo>
                  <a:cubicBezTo>
                    <a:pt x="3" y="19"/>
                    <a:pt x="12" y="24"/>
                    <a:pt x="21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ïṩḷiḋe">
              <a:extLst>
                <a:ext uri="{FF2B5EF4-FFF2-40B4-BE49-F238E27FC236}">
                  <a16:creationId xmlns:a16="http://schemas.microsoft.com/office/drawing/2014/main" id="{3F38917E-2775-4A83-8574-06C7D18199D6}"/>
                </a:ext>
              </a:extLst>
            </p:cNvPr>
            <p:cNvSpPr/>
            <p:nvPr/>
          </p:nvSpPr>
          <p:spPr bwMode="auto">
            <a:xfrm>
              <a:off x="7988136" y="3112609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1 w 37"/>
                <a:gd name="T5" fmla="*/ 12 h 24"/>
                <a:gd name="T6" fmla="*/ 22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5" y="0"/>
                    <a:pt x="0" y="6"/>
                    <a:pt x="1" y="12"/>
                  </a:cubicBezTo>
                  <a:cubicBezTo>
                    <a:pt x="3" y="19"/>
                    <a:pt x="12" y="24"/>
                    <a:pt x="22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íŝ1îďé">
              <a:extLst>
                <a:ext uri="{FF2B5EF4-FFF2-40B4-BE49-F238E27FC236}">
                  <a16:creationId xmlns:a16="http://schemas.microsoft.com/office/drawing/2014/main" id="{3B6D963A-4EE2-4FB8-BDCA-8AE6BD640984}"/>
                </a:ext>
              </a:extLst>
            </p:cNvPr>
            <p:cNvSpPr/>
            <p:nvPr/>
          </p:nvSpPr>
          <p:spPr bwMode="auto">
            <a:xfrm>
              <a:off x="8434048" y="3112609"/>
              <a:ext cx="138865" cy="87948"/>
            </a:xfrm>
            <a:custGeom>
              <a:avLst/>
              <a:gdLst>
                <a:gd name="T0" fmla="*/ 35 w 38"/>
                <a:gd name="T1" fmla="*/ 12 h 24"/>
                <a:gd name="T2" fmla="*/ 14 w 38"/>
                <a:gd name="T3" fmla="*/ 0 h 24"/>
                <a:gd name="T4" fmla="*/ 2 w 38"/>
                <a:gd name="T5" fmla="*/ 12 h 24"/>
                <a:gd name="T6" fmla="*/ 23 w 38"/>
                <a:gd name="T7" fmla="*/ 24 h 24"/>
                <a:gd name="T8" fmla="*/ 35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5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2" y="12"/>
                  </a:cubicBezTo>
                  <a:cubicBezTo>
                    <a:pt x="4" y="19"/>
                    <a:pt x="13" y="24"/>
                    <a:pt x="23" y="24"/>
                  </a:cubicBezTo>
                  <a:cubicBezTo>
                    <a:pt x="32" y="24"/>
                    <a:pt x="38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íśḷíďé">
              <a:extLst>
                <a:ext uri="{FF2B5EF4-FFF2-40B4-BE49-F238E27FC236}">
                  <a16:creationId xmlns:a16="http://schemas.microsoft.com/office/drawing/2014/main" id="{1562D4B7-534B-4402-BE23-82FE283823B5}"/>
                </a:ext>
              </a:extLst>
            </p:cNvPr>
            <p:cNvSpPr/>
            <p:nvPr/>
          </p:nvSpPr>
          <p:spPr bwMode="auto">
            <a:xfrm>
              <a:off x="8579085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3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6" y="0"/>
                    <a:pt x="0" y="6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îsľïḍè">
              <a:extLst>
                <a:ext uri="{FF2B5EF4-FFF2-40B4-BE49-F238E27FC236}">
                  <a16:creationId xmlns:a16="http://schemas.microsoft.com/office/drawing/2014/main" id="{2111939D-4114-480E-B105-208E591AEC4C}"/>
                </a:ext>
              </a:extLst>
            </p:cNvPr>
            <p:cNvSpPr/>
            <p:nvPr/>
          </p:nvSpPr>
          <p:spPr bwMode="auto">
            <a:xfrm>
              <a:off x="8728751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3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5" y="0"/>
                    <a:pt x="0" y="6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íṣļíḍe">
              <a:extLst>
                <a:ext uri="{FF2B5EF4-FFF2-40B4-BE49-F238E27FC236}">
                  <a16:creationId xmlns:a16="http://schemas.microsoft.com/office/drawing/2014/main" id="{13C32E93-5A73-4DAA-8492-83A6198FF5BA}"/>
                </a:ext>
              </a:extLst>
            </p:cNvPr>
            <p:cNvSpPr/>
            <p:nvPr/>
          </p:nvSpPr>
          <p:spPr bwMode="auto">
            <a:xfrm>
              <a:off x="8878417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4 w 38"/>
                <a:gd name="T3" fmla="*/ 0 h 24"/>
                <a:gd name="T4" fmla="*/ 2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2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iSḷíḑé">
              <a:extLst>
                <a:ext uri="{FF2B5EF4-FFF2-40B4-BE49-F238E27FC236}">
                  <a16:creationId xmlns:a16="http://schemas.microsoft.com/office/drawing/2014/main" id="{A4BCE7F9-6913-4D5C-A256-17FDE50CB7FA}"/>
                </a:ext>
              </a:extLst>
            </p:cNvPr>
            <p:cNvSpPr/>
            <p:nvPr/>
          </p:nvSpPr>
          <p:spPr bwMode="auto">
            <a:xfrm>
              <a:off x="7867787" y="3222158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1 w 37"/>
                <a:gd name="T5" fmla="*/ 12 h 24"/>
                <a:gd name="T6" fmla="*/ 22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1" y="12"/>
                  </a:cubicBezTo>
                  <a:cubicBezTo>
                    <a:pt x="3" y="19"/>
                    <a:pt x="12" y="24"/>
                    <a:pt x="22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iṧḷiḋè">
              <a:extLst>
                <a:ext uri="{FF2B5EF4-FFF2-40B4-BE49-F238E27FC236}">
                  <a16:creationId xmlns:a16="http://schemas.microsoft.com/office/drawing/2014/main" id="{3B8B5429-1429-4365-BF0A-DD0F258FB36A}"/>
                </a:ext>
              </a:extLst>
            </p:cNvPr>
            <p:cNvSpPr/>
            <p:nvPr/>
          </p:nvSpPr>
          <p:spPr bwMode="auto">
            <a:xfrm>
              <a:off x="8017453" y="3222158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2 w 38"/>
                <a:gd name="T5" fmla="*/ 12 h 24"/>
                <a:gd name="T6" fmla="*/ 22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2" y="12"/>
                  </a:cubicBezTo>
                  <a:cubicBezTo>
                    <a:pt x="4" y="19"/>
                    <a:pt x="13" y="24"/>
                    <a:pt x="22" y="24"/>
                  </a:cubicBezTo>
                  <a:cubicBezTo>
                    <a:pt x="32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ïṣḻïḓé">
              <a:extLst>
                <a:ext uri="{FF2B5EF4-FFF2-40B4-BE49-F238E27FC236}">
                  <a16:creationId xmlns:a16="http://schemas.microsoft.com/office/drawing/2014/main" id="{EEF0ABBB-BE62-455F-97CE-E48080451348}"/>
                </a:ext>
              </a:extLst>
            </p:cNvPr>
            <p:cNvSpPr/>
            <p:nvPr/>
          </p:nvSpPr>
          <p:spPr bwMode="auto">
            <a:xfrm>
              <a:off x="8619202" y="3222158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15 w 39"/>
                <a:gd name="T3" fmla="*/ 0 h 24"/>
                <a:gd name="T4" fmla="*/ 2 w 39"/>
                <a:gd name="T5" fmla="*/ 12 h 24"/>
                <a:gd name="T6" fmla="*/ 2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19"/>
                    <a:pt x="14" y="24"/>
                    <a:pt x="24" y="24"/>
                  </a:cubicBezTo>
                  <a:cubicBezTo>
                    <a:pt x="33" y="24"/>
                    <a:pt x="39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íṧ1ïḓê">
              <a:extLst>
                <a:ext uri="{FF2B5EF4-FFF2-40B4-BE49-F238E27FC236}">
                  <a16:creationId xmlns:a16="http://schemas.microsoft.com/office/drawing/2014/main" id="{2BA4FA45-D8E9-456C-8923-7D28041A6DDC}"/>
                </a:ext>
              </a:extLst>
            </p:cNvPr>
            <p:cNvSpPr/>
            <p:nvPr/>
          </p:nvSpPr>
          <p:spPr bwMode="auto">
            <a:xfrm>
              <a:off x="8768867" y="3222158"/>
              <a:ext cx="143495" cy="87948"/>
            </a:xfrm>
            <a:custGeom>
              <a:avLst/>
              <a:gdLst>
                <a:gd name="T0" fmla="*/ 37 w 39"/>
                <a:gd name="T1" fmla="*/ 12 h 24"/>
                <a:gd name="T2" fmla="*/ 15 w 39"/>
                <a:gd name="T3" fmla="*/ 0 h 24"/>
                <a:gd name="T4" fmla="*/ 3 w 39"/>
                <a:gd name="T5" fmla="*/ 12 h 24"/>
                <a:gd name="T6" fmla="*/ 24 w 39"/>
                <a:gd name="T7" fmla="*/ 24 h 24"/>
                <a:gd name="T8" fmla="*/ 37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4" y="24"/>
                    <a:pt x="39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íS1íḓé">
              <a:extLst>
                <a:ext uri="{FF2B5EF4-FFF2-40B4-BE49-F238E27FC236}">
                  <a16:creationId xmlns:a16="http://schemas.microsoft.com/office/drawing/2014/main" id="{57F8A300-2DF6-483B-94E6-C88C2D7C2395}"/>
                </a:ext>
              </a:extLst>
            </p:cNvPr>
            <p:cNvSpPr/>
            <p:nvPr/>
          </p:nvSpPr>
          <p:spPr bwMode="auto">
            <a:xfrm>
              <a:off x="8918534" y="3222158"/>
              <a:ext cx="146580" cy="87948"/>
            </a:xfrm>
            <a:custGeom>
              <a:avLst/>
              <a:gdLst>
                <a:gd name="T0" fmla="*/ 37 w 40"/>
                <a:gd name="T1" fmla="*/ 12 h 24"/>
                <a:gd name="T2" fmla="*/ 15 w 40"/>
                <a:gd name="T3" fmla="*/ 0 h 24"/>
                <a:gd name="T4" fmla="*/ 3 w 40"/>
                <a:gd name="T5" fmla="*/ 12 h 24"/>
                <a:gd name="T6" fmla="*/ 25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3" y="12"/>
                  </a:cubicBezTo>
                  <a:cubicBezTo>
                    <a:pt x="6" y="19"/>
                    <a:pt x="16" y="24"/>
                    <a:pt x="25" y="24"/>
                  </a:cubicBezTo>
                  <a:cubicBezTo>
                    <a:pt x="35" y="24"/>
                    <a:pt x="40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îSlïḍê">
              <a:extLst>
                <a:ext uri="{FF2B5EF4-FFF2-40B4-BE49-F238E27FC236}">
                  <a16:creationId xmlns:a16="http://schemas.microsoft.com/office/drawing/2014/main" id="{B42638FA-21DB-44A0-8CBD-F287316E8115}"/>
                </a:ext>
              </a:extLst>
            </p:cNvPr>
            <p:cNvSpPr/>
            <p:nvPr/>
          </p:nvSpPr>
          <p:spPr bwMode="auto">
            <a:xfrm>
              <a:off x="7897103" y="3331707"/>
              <a:ext cx="138865" cy="91034"/>
            </a:xfrm>
            <a:custGeom>
              <a:avLst/>
              <a:gdLst>
                <a:gd name="T0" fmla="*/ 36 w 38"/>
                <a:gd name="T1" fmla="*/ 12 h 25"/>
                <a:gd name="T2" fmla="*/ 15 w 38"/>
                <a:gd name="T3" fmla="*/ 0 h 25"/>
                <a:gd name="T4" fmla="*/ 1 w 38"/>
                <a:gd name="T5" fmla="*/ 12 h 25"/>
                <a:gd name="T6" fmla="*/ 22 w 38"/>
                <a:gd name="T7" fmla="*/ 25 h 25"/>
                <a:gd name="T8" fmla="*/ 36 w 38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5">
                  <a:moveTo>
                    <a:pt x="36" y="12"/>
                  </a:moveTo>
                  <a:cubicBezTo>
                    <a:pt x="34" y="5"/>
                    <a:pt x="25" y="0"/>
                    <a:pt x="15" y="0"/>
                  </a:cubicBezTo>
                  <a:cubicBezTo>
                    <a:pt x="6" y="0"/>
                    <a:pt x="0" y="5"/>
                    <a:pt x="1" y="12"/>
                  </a:cubicBezTo>
                  <a:cubicBezTo>
                    <a:pt x="3" y="19"/>
                    <a:pt x="12" y="25"/>
                    <a:pt x="22" y="25"/>
                  </a:cubicBezTo>
                  <a:cubicBezTo>
                    <a:pt x="32" y="25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ïSļíḋe">
              <a:extLst>
                <a:ext uri="{FF2B5EF4-FFF2-40B4-BE49-F238E27FC236}">
                  <a16:creationId xmlns:a16="http://schemas.microsoft.com/office/drawing/2014/main" id="{BF7206BF-0EE4-4E70-BA55-B0C54337DA6A}"/>
                </a:ext>
              </a:extLst>
            </p:cNvPr>
            <p:cNvSpPr/>
            <p:nvPr/>
          </p:nvSpPr>
          <p:spPr bwMode="auto">
            <a:xfrm>
              <a:off x="8659319" y="3331707"/>
              <a:ext cx="143495" cy="91034"/>
            </a:xfrm>
            <a:custGeom>
              <a:avLst/>
              <a:gdLst>
                <a:gd name="T0" fmla="*/ 37 w 39"/>
                <a:gd name="T1" fmla="*/ 12 h 25"/>
                <a:gd name="T2" fmla="*/ 15 w 39"/>
                <a:gd name="T3" fmla="*/ 0 h 25"/>
                <a:gd name="T4" fmla="*/ 2 w 39"/>
                <a:gd name="T5" fmla="*/ 12 h 25"/>
                <a:gd name="T6" fmla="*/ 24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19"/>
                    <a:pt x="15" y="25"/>
                    <a:pt x="24" y="25"/>
                  </a:cubicBezTo>
                  <a:cubicBezTo>
                    <a:pt x="34" y="25"/>
                    <a:pt x="39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ïṣḻiďê">
              <a:extLst>
                <a:ext uri="{FF2B5EF4-FFF2-40B4-BE49-F238E27FC236}">
                  <a16:creationId xmlns:a16="http://schemas.microsoft.com/office/drawing/2014/main" id="{88996A56-5E68-4964-A194-79C4F34FD782}"/>
                </a:ext>
              </a:extLst>
            </p:cNvPr>
            <p:cNvSpPr/>
            <p:nvPr/>
          </p:nvSpPr>
          <p:spPr bwMode="auto">
            <a:xfrm>
              <a:off x="8856816" y="3445885"/>
              <a:ext cx="146580" cy="94120"/>
            </a:xfrm>
            <a:custGeom>
              <a:avLst/>
              <a:gdLst>
                <a:gd name="T0" fmla="*/ 37 w 40"/>
                <a:gd name="T1" fmla="*/ 12 h 26"/>
                <a:gd name="T2" fmla="*/ 15 w 40"/>
                <a:gd name="T3" fmla="*/ 0 h 26"/>
                <a:gd name="T4" fmla="*/ 2 w 40"/>
                <a:gd name="T5" fmla="*/ 12 h 26"/>
                <a:gd name="T6" fmla="*/ 25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20"/>
                    <a:pt x="15" y="26"/>
                    <a:pt x="25" y="26"/>
                  </a:cubicBezTo>
                  <a:cubicBezTo>
                    <a:pt x="34" y="26"/>
                    <a:pt x="40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îṥḻïďé">
              <a:extLst>
                <a:ext uri="{FF2B5EF4-FFF2-40B4-BE49-F238E27FC236}">
                  <a16:creationId xmlns:a16="http://schemas.microsoft.com/office/drawing/2014/main" id="{0336E6A9-274A-44F8-A18D-BB4349D772AA}"/>
                </a:ext>
              </a:extLst>
            </p:cNvPr>
            <p:cNvSpPr/>
            <p:nvPr/>
          </p:nvSpPr>
          <p:spPr bwMode="auto">
            <a:xfrm>
              <a:off x="5905159" y="2714528"/>
              <a:ext cx="112636" cy="80233"/>
            </a:xfrm>
            <a:custGeom>
              <a:avLst/>
              <a:gdLst>
                <a:gd name="T0" fmla="*/ 31 w 31"/>
                <a:gd name="T1" fmla="*/ 11 h 22"/>
                <a:gd name="T2" fmla="*/ 15 w 31"/>
                <a:gd name="T3" fmla="*/ 0 h 22"/>
                <a:gd name="T4" fmla="*/ 0 w 31"/>
                <a:gd name="T5" fmla="*/ 11 h 22"/>
                <a:gd name="T6" fmla="*/ 16 w 31"/>
                <a:gd name="T7" fmla="*/ 22 h 22"/>
                <a:gd name="T8" fmla="*/ 31 w 31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2">
                  <a:moveTo>
                    <a:pt x="31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4" y="22"/>
                    <a:pt x="31" y="17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iślïďé">
              <a:extLst>
                <a:ext uri="{FF2B5EF4-FFF2-40B4-BE49-F238E27FC236}">
                  <a16:creationId xmlns:a16="http://schemas.microsoft.com/office/drawing/2014/main" id="{F72FF3F8-668A-439C-B140-03F6C63263FB}"/>
                </a:ext>
              </a:extLst>
            </p:cNvPr>
            <p:cNvSpPr/>
            <p:nvPr/>
          </p:nvSpPr>
          <p:spPr bwMode="auto">
            <a:xfrm>
              <a:off x="6044024" y="2714528"/>
              <a:ext cx="115721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7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îṧ1iḑè">
              <a:extLst>
                <a:ext uri="{FF2B5EF4-FFF2-40B4-BE49-F238E27FC236}">
                  <a16:creationId xmlns:a16="http://schemas.microsoft.com/office/drawing/2014/main" id="{5EEA105B-713E-492A-A805-8680ED5A624E}"/>
                </a:ext>
              </a:extLst>
            </p:cNvPr>
            <p:cNvSpPr/>
            <p:nvPr/>
          </p:nvSpPr>
          <p:spPr bwMode="auto">
            <a:xfrm>
              <a:off x="6185975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5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8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işlidé">
              <a:extLst>
                <a:ext uri="{FF2B5EF4-FFF2-40B4-BE49-F238E27FC236}">
                  <a16:creationId xmlns:a16="http://schemas.microsoft.com/office/drawing/2014/main" id="{DD4F832E-6A51-46FD-8E26-AC85ECE1B28C}"/>
                </a:ext>
              </a:extLst>
            </p:cNvPr>
            <p:cNvSpPr/>
            <p:nvPr/>
          </p:nvSpPr>
          <p:spPr bwMode="auto">
            <a:xfrm>
              <a:off x="6324840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7"/>
                    <a:pt x="9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i$ľïďe">
              <a:extLst>
                <a:ext uri="{FF2B5EF4-FFF2-40B4-BE49-F238E27FC236}">
                  <a16:creationId xmlns:a16="http://schemas.microsoft.com/office/drawing/2014/main" id="{C910EB98-C1ED-4D12-B0F9-BA103E66D238}"/>
                </a:ext>
              </a:extLst>
            </p:cNvPr>
            <p:cNvSpPr/>
            <p:nvPr/>
          </p:nvSpPr>
          <p:spPr bwMode="auto">
            <a:xfrm>
              <a:off x="7087056" y="4063064"/>
              <a:ext cx="146580" cy="109550"/>
            </a:xfrm>
            <a:custGeom>
              <a:avLst/>
              <a:gdLst>
                <a:gd name="T0" fmla="*/ 39 w 40"/>
                <a:gd name="T1" fmla="*/ 15 h 30"/>
                <a:gd name="T2" fmla="*/ 18 w 40"/>
                <a:gd name="T3" fmla="*/ 0 h 30"/>
                <a:gd name="T4" fmla="*/ 1 w 40"/>
                <a:gd name="T5" fmla="*/ 15 h 30"/>
                <a:gd name="T6" fmla="*/ 22 w 40"/>
                <a:gd name="T7" fmla="*/ 30 h 30"/>
                <a:gd name="T8" fmla="*/ 39 w 4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39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7" y="0"/>
                    <a:pt x="0" y="6"/>
                    <a:pt x="1" y="15"/>
                  </a:cubicBezTo>
                  <a:cubicBezTo>
                    <a:pt x="2" y="23"/>
                    <a:pt x="12" y="30"/>
                    <a:pt x="22" y="30"/>
                  </a:cubicBezTo>
                  <a:cubicBezTo>
                    <a:pt x="33" y="30"/>
                    <a:pt x="40" y="23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ïśliḓe">
              <a:extLst>
                <a:ext uri="{FF2B5EF4-FFF2-40B4-BE49-F238E27FC236}">
                  <a16:creationId xmlns:a16="http://schemas.microsoft.com/office/drawing/2014/main" id="{E1CCD528-49E3-40CA-9359-90097E032631}"/>
                </a:ext>
              </a:extLst>
            </p:cNvPr>
            <p:cNvSpPr/>
            <p:nvPr/>
          </p:nvSpPr>
          <p:spPr bwMode="auto">
            <a:xfrm>
              <a:off x="6937390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8 w 40"/>
                <a:gd name="T3" fmla="*/ 0 h 31"/>
                <a:gd name="T4" fmla="*/ 1 w 40"/>
                <a:gd name="T5" fmla="*/ 15 h 31"/>
                <a:gd name="T6" fmla="*/ 22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8" y="0"/>
                    <a:pt x="18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2" y="24"/>
                    <a:pt x="12" y="31"/>
                    <a:pt x="22" y="31"/>
                  </a:cubicBezTo>
                  <a:cubicBezTo>
                    <a:pt x="33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îṣ1íḓe">
              <a:extLst>
                <a:ext uri="{FF2B5EF4-FFF2-40B4-BE49-F238E27FC236}">
                  <a16:creationId xmlns:a16="http://schemas.microsoft.com/office/drawing/2014/main" id="{8D3788A6-1DA1-45B8-8F83-089577451948}"/>
                </a:ext>
              </a:extLst>
            </p:cNvPr>
            <p:cNvSpPr/>
            <p:nvPr/>
          </p:nvSpPr>
          <p:spPr bwMode="auto">
            <a:xfrm>
              <a:off x="7105571" y="4198843"/>
              <a:ext cx="149666" cy="112636"/>
            </a:xfrm>
            <a:custGeom>
              <a:avLst/>
              <a:gdLst>
                <a:gd name="T0" fmla="*/ 40 w 41"/>
                <a:gd name="T1" fmla="*/ 15 h 31"/>
                <a:gd name="T2" fmla="*/ 18 w 41"/>
                <a:gd name="T3" fmla="*/ 0 h 31"/>
                <a:gd name="T4" fmla="*/ 2 w 41"/>
                <a:gd name="T5" fmla="*/ 15 h 31"/>
                <a:gd name="T6" fmla="*/ 23 w 41"/>
                <a:gd name="T7" fmla="*/ 31 h 31"/>
                <a:gd name="T8" fmla="*/ 40 w 41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1">
                  <a:moveTo>
                    <a:pt x="40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2" y="15"/>
                  </a:cubicBezTo>
                  <a:cubicBezTo>
                    <a:pt x="3" y="24"/>
                    <a:pt x="13" y="31"/>
                    <a:pt x="23" y="31"/>
                  </a:cubicBezTo>
                  <a:cubicBezTo>
                    <a:pt x="34" y="31"/>
                    <a:pt x="41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íş1iḓè">
              <a:extLst>
                <a:ext uri="{FF2B5EF4-FFF2-40B4-BE49-F238E27FC236}">
                  <a16:creationId xmlns:a16="http://schemas.microsoft.com/office/drawing/2014/main" id="{21A5DB8B-E973-4200-84C5-E8A4FEA5FDC3}"/>
                </a:ext>
              </a:extLst>
            </p:cNvPr>
            <p:cNvSpPr/>
            <p:nvPr/>
          </p:nvSpPr>
          <p:spPr bwMode="auto">
            <a:xfrm>
              <a:off x="6955906" y="4337708"/>
              <a:ext cx="149666" cy="115721"/>
            </a:xfrm>
            <a:custGeom>
              <a:avLst/>
              <a:gdLst>
                <a:gd name="T0" fmla="*/ 40 w 41"/>
                <a:gd name="T1" fmla="*/ 16 h 32"/>
                <a:gd name="T2" fmla="*/ 18 w 41"/>
                <a:gd name="T3" fmla="*/ 0 h 32"/>
                <a:gd name="T4" fmla="*/ 1 w 41"/>
                <a:gd name="T5" fmla="*/ 16 h 32"/>
                <a:gd name="T6" fmla="*/ 23 w 41"/>
                <a:gd name="T7" fmla="*/ 32 h 32"/>
                <a:gd name="T8" fmla="*/ 40 w 41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2">
                  <a:moveTo>
                    <a:pt x="40" y="16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1" y="16"/>
                  </a:cubicBezTo>
                  <a:cubicBezTo>
                    <a:pt x="2" y="25"/>
                    <a:pt x="12" y="32"/>
                    <a:pt x="23" y="32"/>
                  </a:cubicBezTo>
                  <a:cubicBezTo>
                    <a:pt x="33" y="32"/>
                    <a:pt x="41" y="25"/>
                    <a:pt x="40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iŝ1îdê">
              <a:extLst>
                <a:ext uri="{FF2B5EF4-FFF2-40B4-BE49-F238E27FC236}">
                  <a16:creationId xmlns:a16="http://schemas.microsoft.com/office/drawing/2014/main" id="{1C60A108-5E24-4068-9DEE-F416363DCAA4}"/>
                </a:ext>
              </a:extLst>
            </p:cNvPr>
            <p:cNvSpPr/>
            <p:nvPr/>
          </p:nvSpPr>
          <p:spPr bwMode="auto">
            <a:xfrm>
              <a:off x="6963620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16 w 36"/>
                <a:gd name="T3" fmla="*/ 0 h 24"/>
                <a:gd name="T4" fmla="*/ 1 w 36"/>
                <a:gd name="T5" fmla="*/ 12 h 24"/>
                <a:gd name="T6" fmla="*/ 20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4" y="5"/>
                    <a:pt x="25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0" y="24"/>
                    <a:pt x="20" y="24"/>
                  </a:cubicBezTo>
                  <a:cubicBezTo>
                    <a:pt x="29" y="24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îṡļíďé">
              <a:extLst>
                <a:ext uri="{FF2B5EF4-FFF2-40B4-BE49-F238E27FC236}">
                  <a16:creationId xmlns:a16="http://schemas.microsoft.com/office/drawing/2014/main" id="{E6A2AF5B-78A9-4E9F-96F0-3F9269254E37}"/>
                </a:ext>
              </a:extLst>
            </p:cNvPr>
            <p:cNvSpPr/>
            <p:nvPr/>
          </p:nvSpPr>
          <p:spPr bwMode="auto">
            <a:xfrm>
              <a:off x="5343526" y="2623495"/>
              <a:ext cx="115721" cy="72519"/>
            </a:xfrm>
            <a:custGeom>
              <a:avLst/>
              <a:gdLst>
                <a:gd name="T0" fmla="*/ 32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6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2" y="4"/>
                    <a:pt x="26" y="0"/>
                    <a:pt x="17" y="0"/>
                  </a:cubicBezTo>
                  <a:cubicBezTo>
                    <a:pt x="8" y="0"/>
                    <a:pt x="1" y="4"/>
                    <a:pt x="1" y="10"/>
                  </a:cubicBezTo>
                  <a:cubicBezTo>
                    <a:pt x="0" y="16"/>
                    <a:pt x="7" y="20"/>
                    <a:pt x="16" y="20"/>
                  </a:cubicBezTo>
                  <a:cubicBezTo>
                    <a:pt x="24" y="20"/>
                    <a:pt x="32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i$ľidé">
              <a:extLst>
                <a:ext uri="{FF2B5EF4-FFF2-40B4-BE49-F238E27FC236}">
                  <a16:creationId xmlns:a16="http://schemas.microsoft.com/office/drawing/2014/main" id="{4C9BEC31-9FF3-4DBB-A770-2F799A767F95}"/>
                </a:ext>
              </a:extLst>
            </p:cNvPr>
            <p:cNvSpPr/>
            <p:nvPr/>
          </p:nvSpPr>
          <p:spPr bwMode="auto">
            <a:xfrm>
              <a:off x="5485477" y="2623495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íś1ïḍê">
              <a:extLst>
                <a:ext uri="{FF2B5EF4-FFF2-40B4-BE49-F238E27FC236}">
                  <a16:creationId xmlns:a16="http://schemas.microsoft.com/office/drawing/2014/main" id="{C5751955-B9D3-4E30-A921-A2630C1A32F1}"/>
                </a:ext>
              </a:extLst>
            </p:cNvPr>
            <p:cNvSpPr/>
            <p:nvPr/>
          </p:nvSpPr>
          <p:spPr bwMode="auto">
            <a:xfrm>
              <a:off x="5624342" y="2623495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iŝliḑe">
              <a:extLst>
                <a:ext uri="{FF2B5EF4-FFF2-40B4-BE49-F238E27FC236}">
                  <a16:creationId xmlns:a16="http://schemas.microsoft.com/office/drawing/2014/main" id="{7DB156D0-CD84-4C39-9AA2-E1E0713AB9F3}"/>
                </a:ext>
              </a:extLst>
            </p:cNvPr>
            <p:cNvSpPr/>
            <p:nvPr/>
          </p:nvSpPr>
          <p:spPr bwMode="auto">
            <a:xfrm>
              <a:off x="5196947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7 w 32"/>
                <a:gd name="T3" fmla="*/ 0 h 22"/>
                <a:gd name="T4" fmla="*/ 0 w 32"/>
                <a:gd name="T5" fmla="*/ 11 h 22"/>
                <a:gd name="T6" fmla="*/ 15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6" y="22"/>
                    <a:pt x="15" y="22"/>
                  </a:cubicBezTo>
                  <a:cubicBezTo>
                    <a:pt x="24" y="22"/>
                    <a:pt x="31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îşľiďè">
              <a:extLst>
                <a:ext uri="{FF2B5EF4-FFF2-40B4-BE49-F238E27FC236}">
                  <a16:creationId xmlns:a16="http://schemas.microsoft.com/office/drawing/2014/main" id="{A677D4B9-1837-4F3D-8642-22F4DF5EBAFE}"/>
                </a:ext>
              </a:extLst>
            </p:cNvPr>
            <p:cNvSpPr/>
            <p:nvPr/>
          </p:nvSpPr>
          <p:spPr bwMode="auto">
            <a:xfrm>
              <a:off x="5338898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5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7"/>
                    <a:pt x="6" y="22"/>
                    <a:pt x="15" y="22"/>
                  </a:cubicBezTo>
                  <a:cubicBezTo>
                    <a:pt x="24" y="22"/>
                    <a:pt x="31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iṡlíḑè">
              <a:extLst>
                <a:ext uri="{FF2B5EF4-FFF2-40B4-BE49-F238E27FC236}">
                  <a16:creationId xmlns:a16="http://schemas.microsoft.com/office/drawing/2014/main" id="{7D1EB2D0-3BDD-43EF-AA20-40F7545D7FF8}"/>
                </a:ext>
              </a:extLst>
            </p:cNvPr>
            <p:cNvSpPr/>
            <p:nvPr/>
          </p:nvSpPr>
          <p:spPr bwMode="auto">
            <a:xfrm>
              <a:off x="5477763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7 w 32"/>
                <a:gd name="T3" fmla="*/ 0 h 22"/>
                <a:gd name="T4" fmla="*/ 1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îṡḷíḋé">
              <a:extLst>
                <a:ext uri="{FF2B5EF4-FFF2-40B4-BE49-F238E27FC236}">
                  <a16:creationId xmlns:a16="http://schemas.microsoft.com/office/drawing/2014/main" id="{23FF3E1D-936D-49D9-B818-ADC7A62306D7}"/>
                </a:ext>
              </a:extLst>
            </p:cNvPr>
            <p:cNvSpPr/>
            <p:nvPr/>
          </p:nvSpPr>
          <p:spPr bwMode="auto">
            <a:xfrm>
              <a:off x="5619714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îśḻíḓè">
              <a:extLst>
                <a:ext uri="{FF2B5EF4-FFF2-40B4-BE49-F238E27FC236}">
                  <a16:creationId xmlns:a16="http://schemas.microsoft.com/office/drawing/2014/main" id="{1E21C154-A2BA-4496-BA6F-F69F36A3A266}"/>
                </a:ext>
              </a:extLst>
            </p:cNvPr>
            <p:cNvSpPr/>
            <p:nvPr/>
          </p:nvSpPr>
          <p:spPr bwMode="auto">
            <a:xfrm>
              <a:off x="5763207" y="2714528"/>
              <a:ext cx="115721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ísliḋè">
              <a:extLst>
                <a:ext uri="{FF2B5EF4-FFF2-40B4-BE49-F238E27FC236}">
                  <a16:creationId xmlns:a16="http://schemas.microsoft.com/office/drawing/2014/main" id="{00DE366A-2619-41A4-A562-0A9FB08E3B0E}"/>
                </a:ext>
              </a:extLst>
            </p:cNvPr>
            <p:cNvSpPr/>
            <p:nvPr/>
          </p:nvSpPr>
          <p:spPr bwMode="auto">
            <a:xfrm>
              <a:off x="5044194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8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îṩḷíḓê">
              <a:extLst>
                <a:ext uri="{FF2B5EF4-FFF2-40B4-BE49-F238E27FC236}">
                  <a16:creationId xmlns:a16="http://schemas.microsoft.com/office/drawing/2014/main" id="{CD0EE62C-8669-4686-908F-C524E5D4AFE8}"/>
                </a:ext>
              </a:extLst>
            </p:cNvPr>
            <p:cNvSpPr/>
            <p:nvPr/>
          </p:nvSpPr>
          <p:spPr bwMode="auto">
            <a:xfrm>
              <a:off x="5186145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8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í$lidé">
              <a:extLst>
                <a:ext uri="{FF2B5EF4-FFF2-40B4-BE49-F238E27FC236}">
                  <a16:creationId xmlns:a16="http://schemas.microsoft.com/office/drawing/2014/main" id="{2E1D9996-517B-4629-871B-5C08399026C6}"/>
                </a:ext>
              </a:extLst>
            </p:cNvPr>
            <p:cNvSpPr/>
            <p:nvPr/>
          </p:nvSpPr>
          <p:spPr bwMode="auto">
            <a:xfrm>
              <a:off x="5332726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7 w 33"/>
                <a:gd name="T3" fmla="*/ 0 h 22"/>
                <a:gd name="T4" fmla="*/ 0 w 33"/>
                <a:gd name="T5" fmla="*/ 11 h 22"/>
                <a:gd name="T6" fmla="*/ 16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4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íSļîḋe">
              <a:extLst>
                <a:ext uri="{FF2B5EF4-FFF2-40B4-BE49-F238E27FC236}">
                  <a16:creationId xmlns:a16="http://schemas.microsoft.com/office/drawing/2014/main" id="{FDDD513C-D347-4AC0-AB9B-6F68D3F840E8}"/>
                </a:ext>
              </a:extLst>
            </p:cNvPr>
            <p:cNvSpPr/>
            <p:nvPr/>
          </p:nvSpPr>
          <p:spPr bwMode="auto">
            <a:xfrm>
              <a:off x="5474677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7 w 33"/>
                <a:gd name="T3" fmla="*/ 0 h 22"/>
                <a:gd name="T4" fmla="*/ 0 w 33"/>
                <a:gd name="T5" fmla="*/ 11 h 22"/>
                <a:gd name="T6" fmla="*/ 16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išľîḍè">
              <a:extLst>
                <a:ext uri="{FF2B5EF4-FFF2-40B4-BE49-F238E27FC236}">
                  <a16:creationId xmlns:a16="http://schemas.microsoft.com/office/drawing/2014/main" id="{DC9970E6-0C2D-4FE1-85BA-0719D5E45B13}"/>
                </a:ext>
              </a:extLst>
            </p:cNvPr>
            <p:cNvSpPr/>
            <p:nvPr/>
          </p:nvSpPr>
          <p:spPr bwMode="auto">
            <a:xfrm>
              <a:off x="5616628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7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iSlïḓê">
              <a:extLst>
                <a:ext uri="{FF2B5EF4-FFF2-40B4-BE49-F238E27FC236}">
                  <a16:creationId xmlns:a16="http://schemas.microsoft.com/office/drawing/2014/main" id="{7C42176F-9AD7-43E5-A271-D49D24393AC5}"/>
                </a:ext>
              </a:extLst>
            </p:cNvPr>
            <p:cNvSpPr/>
            <p:nvPr/>
          </p:nvSpPr>
          <p:spPr bwMode="auto">
            <a:xfrm>
              <a:off x="5763207" y="2810191"/>
              <a:ext cx="115721" cy="802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1" name="iş1ïḓe">
              <a:extLst>
                <a:ext uri="{FF2B5EF4-FFF2-40B4-BE49-F238E27FC236}">
                  <a16:creationId xmlns:a16="http://schemas.microsoft.com/office/drawing/2014/main" id="{5C88CE7B-C238-4CE7-BCB4-0779BCB732E7}"/>
                </a:ext>
              </a:extLst>
            </p:cNvPr>
            <p:cNvSpPr/>
            <p:nvPr/>
          </p:nvSpPr>
          <p:spPr bwMode="auto">
            <a:xfrm>
              <a:off x="5905159" y="2810191"/>
              <a:ext cx="115721" cy="8023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2" name="î$ļïdê">
              <a:extLst>
                <a:ext uri="{FF2B5EF4-FFF2-40B4-BE49-F238E27FC236}">
                  <a16:creationId xmlns:a16="http://schemas.microsoft.com/office/drawing/2014/main" id="{1890AD5E-0498-4D0E-8BE8-EB34E8C263FD}"/>
                </a:ext>
              </a:extLst>
            </p:cNvPr>
            <p:cNvSpPr/>
            <p:nvPr/>
          </p:nvSpPr>
          <p:spPr bwMode="auto">
            <a:xfrm>
              <a:off x="6047110" y="2810191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7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8" y="22"/>
                    <a:pt x="17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3" name="íṣlidé">
              <a:extLst>
                <a:ext uri="{FF2B5EF4-FFF2-40B4-BE49-F238E27FC236}">
                  <a16:creationId xmlns:a16="http://schemas.microsoft.com/office/drawing/2014/main" id="{D5382104-2FD8-4D00-826B-DD2DD49188D9}"/>
                </a:ext>
              </a:extLst>
            </p:cNvPr>
            <p:cNvSpPr/>
            <p:nvPr/>
          </p:nvSpPr>
          <p:spPr bwMode="auto">
            <a:xfrm>
              <a:off x="6189061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4" name="ïŝḻiďè">
              <a:extLst>
                <a:ext uri="{FF2B5EF4-FFF2-40B4-BE49-F238E27FC236}">
                  <a16:creationId xmlns:a16="http://schemas.microsoft.com/office/drawing/2014/main" id="{E6A8CDA0-49EA-4316-BD0B-455F5C7C9728}"/>
                </a:ext>
              </a:extLst>
            </p:cNvPr>
            <p:cNvSpPr/>
            <p:nvPr/>
          </p:nvSpPr>
          <p:spPr bwMode="auto">
            <a:xfrm>
              <a:off x="6332555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5" name="ïş1íḋê">
              <a:extLst>
                <a:ext uri="{FF2B5EF4-FFF2-40B4-BE49-F238E27FC236}">
                  <a16:creationId xmlns:a16="http://schemas.microsoft.com/office/drawing/2014/main" id="{8E0F2BA2-BE28-48E9-BE83-743BCB9BA844}"/>
                </a:ext>
              </a:extLst>
            </p:cNvPr>
            <p:cNvSpPr/>
            <p:nvPr/>
          </p:nvSpPr>
          <p:spPr bwMode="auto">
            <a:xfrm>
              <a:off x="6474506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7"/>
                    <a:pt x="9" y="22"/>
                    <a:pt x="18" y="22"/>
                  </a:cubicBezTo>
                  <a:cubicBezTo>
                    <a:pt x="27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6" name="îśļîde">
              <a:extLst>
                <a:ext uri="{FF2B5EF4-FFF2-40B4-BE49-F238E27FC236}">
                  <a16:creationId xmlns:a16="http://schemas.microsoft.com/office/drawing/2014/main" id="{142DBE63-17EA-4552-9315-A16D059D0A6B}"/>
                </a:ext>
              </a:extLst>
            </p:cNvPr>
            <p:cNvSpPr/>
            <p:nvPr/>
          </p:nvSpPr>
          <p:spPr bwMode="auto">
            <a:xfrm>
              <a:off x="4886814" y="2907397"/>
              <a:ext cx="123436" cy="84863"/>
            </a:xfrm>
            <a:custGeom>
              <a:avLst/>
              <a:gdLst>
                <a:gd name="T0" fmla="*/ 34 w 34"/>
                <a:gd name="T1" fmla="*/ 11 h 23"/>
                <a:gd name="T2" fmla="*/ 19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9" y="0"/>
                  </a:cubicBezTo>
                  <a:cubicBezTo>
                    <a:pt x="10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7" name="îṥľíďe">
              <a:extLst>
                <a:ext uri="{FF2B5EF4-FFF2-40B4-BE49-F238E27FC236}">
                  <a16:creationId xmlns:a16="http://schemas.microsoft.com/office/drawing/2014/main" id="{0D350E7B-1358-4903-976B-E0EBAD664974}"/>
                </a:ext>
              </a:extLst>
            </p:cNvPr>
            <p:cNvSpPr/>
            <p:nvPr/>
          </p:nvSpPr>
          <p:spPr bwMode="auto">
            <a:xfrm>
              <a:off x="5033394" y="2907397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8" name="í$ḷíḍê">
              <a:extLst>
                <a:ext uri="{FF2B5EF4-FFF2-40B4-BE49-F238E27FC236}">
                  <a16:creationId xmlns:a16="http://schemas.microsoft.com/office/drawing/2014/main" id="{8B5FEE86-5E71-49F4-92B7-D482117EE039}"/>
                </a:ext>
              </a:extLst>
            </p:cNvPr>
            <p:cNvSpPr/>
            <p:nvPr/>
          </p:nvSpPr>
          <p:spPr bwMode="auto">
            <a:xfrm>
              <a:off x="5178431" y="2907397"/>
              <a:ext cx="124979" cy="84863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9" name="işḻîdê">
              <a:extLst>
                <a:ext uri="{FF2B5EF4-FFF2-40B4-BE49-F238E27FC236}">
                  <a16:creationId xmlns:a16="http://schemas.microsoft.com/office/drawing/2014/main" id="{49AEB637-AB82-4B08-BDDD-45EB2DFB0B73}"/>
                </a:ext>
              </a:extLst>
            </p:cNvPr>
            <p:cNvSpPr/>
            <p:nvPr/>
          </p:nvSpPr>
          <p:spPr bwMode="auto">
            <a:xfrm>
              <a:off x="5325011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2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0" name="ïş1îďê">
              <a:extLst>
                <a:ext uri="{FF2B5EF4-FFF2-40B4-BE49-F238E27FC236}">
                  <a16:creationId xmlns:a16="http://schemas.microsoft.com/office/drawing/2014/main" id="{68A74D41-5372-4894-90DF-ADFE3C44B1D4}"/>
                </a:ext>
              </a:extLst>
            </p:cNvPr>
            <p:cNvSpPr/>
            <p:nvPr/>
          </p:nvSpPr>
          <p:spPr bwMode="auto">
            <a:xfrm>
              <a:off x="5470048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2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1" name="iśḻïḋê">
              <a:extLst>
                <a:ext uri="{FF2B5EF4-FFF2-40B4-BE49-F238E27FC236}">
                  <a16:creationId xmlns:a16="http://schemas.microsoft.com/office/drawing/2014/main" id="{343ED9D2-8E03-446F-9E72-50FA2D730350}"/>
                </a:ext>
              </a:extLst>
            </p:cNvPr>
            <p:cNvSpPr/>
            <p:nvPr/>
          </p:nvSpPr>
          <p:spPr bwMode="auto">
            <a:xfrm>
              <a:off x="5616628" y="2907397"/>
              <a:ext cx="117264" cy="84863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2" name="íŝļiḓè">
              <a:extLst>
                <a:ext uri="{FF2B5EF4-FFF2-40B4-BE49-F238E27FC236}">
                  <a16:creationId xmlns:a16="http://schemas.microsoft.com/office/drawing/2014/main" id="{4043BE39-3686-4322-9B5D-C57923B3E07B}"/>
                </a:ext>
              </a:extLst>
            </p:cNvPr>
            <p:cNvSpPr/>
            <p:nvPr/>
          </p:nvSpPr>
          <p:spPr bwMode="auto">
            <a:xfrm>
              <a:off x="5758579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1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3" name="íṡḷïḑé">
              <a:extLst>
                <a:ext uri="{FF2B5EF4-FFF2-40B4-BE49-F238E27FC236}">
                  <a16:creationId xmlns:a16="http://schemas.microsoft.com/office/drawing/2014/main" id="{2D3EDD78-CA5B-4062-B33A-F718BC834D25}"/>
                </a:ext>
              </a:extLst>
            </p:cNvPr>
            <p:cNvSpPr/>
            <p:nvPr/>
          </p:nvSpPr>
          <p:spPr bwMode="auto">
            <a:xfrm>
              <a:off x="5905159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4" name="îṡľiḋè">
              <a:extLst>
                <a:ext uri="{FF2B5EF4-FFF2-40B4-BE49-F238E27FC236}">
                  <a16:creationId xmlns:a16="http://schemas.microsoft.com/office/drawing/2014/main" id="{0208CA6B-CD00-4F9E-897D-F63F93C2E676}"/>
                </a:ext>
              </a:extLst>
            </p:cNvPr>
            <p:cNvSpPr/>
            <p:nvPr/>
          </p:nvSpPr>
          <p:spPr bwMode="auto">
            <a:xfrm>
              <a:off x="6050195" y="2907397"/>
              <a:ext cx="120350" cy="84863"/>
            </a:xfrm>
            <a:custGeom>
              <a:avLst/>
              <a:gdLst>
                <a:gd name="T0" fmla="*/ 32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2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5" name="ï$lîḑe">
              <a:extLst>
                <a:ext uri="{FF2B5EF4-FFF2-40B4-BE49-F238E27FC236}">
                  <a16:creationId xmlns:a16="http://schemas.microsoft.com/office/drawing/2014/main" id="{0931E5AC-E7BE-40AD-8E90-F3096F04E520}"/>
                </a:ext>
              </a:extLst>
            </p:cNvPr>
            <p:cNvSpPr/>
            <p:nvPr/>
          </p:nvSpPr>
          <p:spPr bwMode="auto">
            <a:xfrm>
              <a:off x="6193690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1 w 33"/>
                <a:gd name="T5" fmla="*/ 11 h 23"/>
                <a:gd name="T6" fmla="*/ 18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şļîḍé">
              <a:extLst>
                <a:ext uri="{FF2B5EF4-FFF2-40B4-BE49-F238E27FC236}">
                  <a16:creationId xmlns:a16="http://schemas.microsoft.com/office/drawing/2014/main" id="{FC9E4E2C-D21D-4153-855A-87749E9A245F}"/>
                </a:ext>
              </a:extLst>
            </p:cNvPr>
            <p:cNvSpPr/>
            <p:nvPr/>
          </p:nvSpPr>
          <p:spPr bwMode="auto">
            <a:xfrm>
              <a:off x="6338727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iṣ1ïdé">
              <a:extLst>
                <a:ext uri="{FF2B5EF4-FFF2-40B4-BE49-F238E27FC236}">
                  <a16:creationId xmlns:a16="http://schemas.microsoft.com/office/drawing/2014/main" id="{E475AFF6-4B17-47D8-A161-0208B136E41A}"/>
                </a:ext>
              </a:extLst>
            </p:cNvPr>
            <p:cNvSpPr/>
            <p:nvPr/>
          </p:nvSpPr>
          <p:spPr bwMode="auto">
            <a:xfrm>
              <a:off x="6485306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5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işlíḋê">
              <a:extLst>
                <a:ext uri="{FF2B5EF4-FFF2-40B4-BE49-F238E27FC236}">
                  <a16:creationId xmlns:a16="http://schemas.microsoft.com/office/drawing/2014/main" id="{291711C9-EFB9-4218-AE36-1D928A90AB60}"/>
                </a:ext>
              </a:extLst>
            </p:cNvPr>
            <p:cNvSpPr/>
            <p:nvPr/>
          </p:nvSpPr>
          <p:spPr bwMode="auto">
            <a:xfrm>
              <a:off x="4876014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iSľíďé">
              <a:extLst>
                <a:ext uri="{FF2B5EF4-FFF2-40B4-BE49-F238E27FC236}">
                  <a16:creationId xmlns:a16="http://schemas.microsoft.com/office/drawing/2014/main" id="{05B807AA-D229-45E9-A081-0C9B1529208D}"/>
                </a:ext>
              </a:extLst>
            </p:cNvPr>
            <p:cNvSpPr/>
            <p:nvPr/>
          </p:nvSpPr>
          <p:spPr bwMode="auto">
            <a:xfrm>
              <a:off x="5022593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9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9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íš1îdê">
              <a:extLst>
                <a:ext uri="{FF2B5EF4-FFF2-40B4-BE49-F238E27FC236}">
                  <a16:creationId xmlns:a16="http://schemas.microsoft.com/office/drawing/2014/main" id="{844FC78C-1BC3-4E5E-A845-03EE2E8FD860}"/>
                </a:ext>
              </a:extLst>
            </p:cNvPr>
            <p:cNvSpPr/>
            <p:nvPr/>
          </p:nvSpPr>
          <p:spPr bwMode="auto">
            <a:xfrm>
              <a:off x="5170716" y="3010774"/>
              <a:ext cx="124979" cy="83319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0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îš1ídé">
              <a:extLst>
                <a:ext uri="{FF2B5EF4-FFF2-40B4-BE49-F238E27FC236}">
                  <a16:creationId xmlns:a16="http://schemas.microsoft.com/office/drawing/2014/main" id="{094D72D0-48AE-4F5C-95D3-4E568902A5CA}"/>
                </a:ext>
              </a:extLst>
            </p:cNvPr>
            <p:cNvSpPr/>
            <p:nvPr/>
          </p:nvSpPr>
          <p:spPr bwMode="auto">
            <a:xfrm>
              <a:off x="5317296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0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ïŝḻiḓê">
              <a:extLst>
                <a:ext uri="{FF2B5EF4-FFF2-40B4-BE49-F238E27FC236}">
                  <a16:creationId xmlns:a16="http://schemas.microsoft.com/office/drawing/2014/main" id="{4BA6ED88-D0A1-4B07-8EE1-30A23FA42A5E}"/>
                </a:ext>
              </a:extLst>
            </p:cNvPr>
            <p:cNvSpPr/>
            <p:nvPr/>
          </p:nvSpPr>
          <p:spPr bwMode="auto">
            <a:xfrm>
              <a:off x="5463876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7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îṧľïdè">
              <a:extLst>
                <a:ext uri="{FF2B5EF4-FFF2-40B4-BE49-F238E27FC236}">
                  <a16:creationId xmlns:a16="http://schemas.microsoft.com/office/drawing/2014/main" id="{FE003458-4DFE-4B0C-96B9-ACAA6B3500D1}"/>
                </a:ext>
              </a:extLst>
            </p:cNvPr>
            <p:cNvSpPr/>
            <p:nvPr/>
          </p:nvSpPr>
          <p:spPr bwMode="auto">
            <a:xfrm>
              <a:off x="5613542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iṡḻíḍé">
              <a:extLst>
                <a:ext uri="{FF2B5EF4-FFF2-40B4-BE49-F238E27FC236}">
                  <a16:creationId xmlns:a16="http://schemas.microsoft.com/office/drawing/2014/main" id="{A9E3E1A4-D4D6-4B4A-BFD5-9DF43A9FB52A}"/>
                </a:ext>
              </a:extLst>
            </p:cNvPr>
            <p:cNvSpPr/>
            <p:nvPr/>
          </p:nvSpPr>
          <p:spPr bwMode="auto">
            <a:xfrm>
              <a:off x="5758579" y="3010774"/>
              <a:ext cx="120350" cy="83319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îŝ1iḍè">
              <a:extLst>
                <a:ext uri="{FF2B5EF4-FFF2-40B4-BE49-F238E27FC236}">
                  <a16:creationId xmlns:a16="http://schemas.microsoft.com/office/drawing/2014/main" id="{DBC3BFFA-F44D-42C7-BEF1-71921D76B0AB}"/>
                </a:ext>
              </a:extLst>
            </p:cNvPr>
            <p:cNvSpPr/>
            <p:nvPr/>
          </p:nvSpPr>
          <p:spPr bwMode="auto">
            <a:xfrm>
              <a:off x="5905159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7 w 34"/>
                <a:gd name="T3" fmla="*/ 0 h 23"/>
                <a:gd name="T4" fmla="*/ 1 w 34"/>
                <a:gd name="T5" fmla="*/ 11 h 23"/>
                <a:gd name="T6" fmla="*/ 17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1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îṩļiḍe">
              <a:extLst>
                <a:ext uri="{FF2B5EF4-FFF2-40B4-BE49-F238E27FC236}">
                  <a16:creationId xmlns:a16="http://schemas.microsoft.com/office/drawing/2014/main" id="{F69B6EA4-B227-48BE-9ECA-3EDB38219087}"/>
                </a:ext>
              </a:extLst>
            </p:cNvPr>
            <p:cNvSpPr/>
            <p:nvPr/>
          </p:nvSpPr>
          <p:spPr bwMode="auto">
            <a:xfrm>
              <a:off x="6054825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ŝḻîḑé">
              <a:extLst>
                <a:ext uri="{FF2B5EF4-FFF2-40B4-BE49-F238E27FC236}">
                  <a16:creationId xmlns:a16="http://schemas.microsoft.com/office/drawing/2014/main" id="{13D8BB91-FCF6-4854-83E9-1C6F7D26D41D}"/>
                </a:ext>
              </a:extLst>
            </p:cNvPr>
            <p:cNvSpPr/>
            <p:nvPr/>
          </p:nvSpPr>
          <p:spPr bwMode="auto">
            <a:xfrm>
              <a:off x="6199862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ïSlíḓe">
              <a:extLst>
                <a:ext uri="{FF2B5EF4-FFF2-40B4-BE49-F238E27FC236}">
                  <a16:creationId xmlns:a16="http://schemas.microsoft.com/office/drawing/2014/main" id="{7F88C484-7E43-4277-AD6C-1FCB8376B520}"/>
                </a:ext>
              </a:extLst>
            </p:cNvPr>
            <p:cNvSpPr/>
            <p:nvPr/>
          </p:nvSpPr>
          <p:spPr bwMode="auto">
            <a:xfrm>
              <a:off x="6346441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0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iṩḻîḑé">
              <a:extLst>
                <a:ext uri="{FF2B5EF4-FFF2-40B4-BE49-F238E27FC236}">
                  <a16:creationId xmlns:a16="http://schemas.microsoft.com/office/drawing/2014/main" id="{1DF90F6E-63D1-43C7-B004-621227989D92}"/>
                </a:ext>
              </a:extLst>
            </p:cNvPr>
            <p:cNvSpPr/>
            <p:nvPr/>
          </p:nvSpPr>
          <p:spPr bwMode="auto">
            <a:xfrm>
              <a:off x="6493022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i$ľíḓè">
              <a:extLst>
                <a:ext uri="{FF2B5EF4-FFF2-40B4-BE49-F238E27FC236}">
                  <a16:creationId xmlns:a16="http://schemas.microsoft.com/office/drawing/2014/main" id="{E1F46466-A18E-42DE-AA74-439988D9070C}"/>
                </a:ext>
              </a:extLst>
            </p:cNvPr>
            <p:cNvSpPr/>
            <p:nvPr/>
          </p:nvSpPr>
          <p:spPr bwMode="auto">
            <a:xfrm>
              <a:off x="4860584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6"/>
                    <a:pt x="28" y="0"/>
                    <a:pt x="19" y="0"/>
                  </a:cubicBezTo>
                  <a:cubicBezTo>
                    <a:pt x="10" y="0"/>
                    <a:pt x="2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îšľíḍè">
              <a:extLst>
                <a:ext uri="{FF2B5EF4-FFF2-40B4-BE49-F238E27FC236}">
                  <a16:creationId xmlns:a16="http://schemas.microsoft.com/office/drawing/2014/main" id="{78096E8C-4AB1-4CB4-B693-B4C3270E0A50}"/>
                </a:ext>
              </a:extLst>
            </p:cNvPr>
            <p:cNvSpPr/>
            <p:nvPr/>
          </p:nvSpPr>
          <p:spPr bwMode="auto">
            <a:xfrm>
              <a:off x="5010250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6"/>
                    <a:pt x="28" y="0"/>
                    <a:pt x="19" y="0"/>
                  </a:cubicBezTo>
                  <a:cubicBezTo>
                    <a:pt x="10" y="0"/>
                    <a:pt x="2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íṥľidè">
              <a:extLst>
                <a:ext uri="{FF2B5EF4-FFF2-40B4-BE49-F238E27FC236}">
                  <a16:creationId xmlns:a16="http://schemas.microsoft.com/office/drawing/2014/main" id="{D51A31A1-2573-4FA2-AE3C-C58AACFBD4CE}"/>
                </a:ext>
              </a:extLst>
            </p:cNvPr>
            <p:cNvSpPr/>
            <p:nvPr/>
          </p:nvSpPr>
          <p:spPr bwMode="auto">
            <a:xfrm>
              <a:off x="5159916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1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8" y="0"/>
                  </a:cubicBezTo>
                  <a:cubicBezTo>
                    <a:pt x="9" y="0"/>
                    <a:pt x="1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íṥḷíḑè">
              <a:extLst>
                <a:ext uri="{FF2B5EF4-FFF2-40B4-BE49-F238E27FC236}">
                  <a16:creationId xmlns:a16="http://schemas.microsoft.com/office/drawing/2014/main" id="{17C0F51C-CAB8-46B4-92DB-65001A8EFE0E}"/>
                </a:ext>
              </a:extLst>
            </p:cNvPr>
            <p:cNvSpPr/>
            <p:nvPr/>
          </p:nvSpPr>
          <p:spPr bwMode="auto">
            <a:xfrm>
              <a:off x="5309581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1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8" y="0"/>
                  </a:cubicBezTo>
                  <a:cubicBezTo>
                    <a:pt x="9" y="0"/>
                    <a:pt x="1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ṡ1iḓê">
              <a:extLst>
                <a:ext uri="{FF2B5EF4-FFF2-40B4-BE49-F238E27FC236}">
                  <a16:creationId xmlns:a16="http://schemas.microsoft.com/office/drawing/2014/main" id="{75A8E875-AAD0-4675-B3B6-DC0CEC1EEA13}"/>
                </a:ext>
              </a:extLst>
            </p:cNvPr>
            <p:cNvSpPr/>
            <p:nvPr/>
          </p:nvSpPr>
          <p:spPr bwMode="auto">
            <a:xfrm>
              <a:off x="5459247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7" y="0"/>
                  </a:cubicBezTo>
                  <a:cubicBezTo>
                    <a:pt x="8" y="0"/>
                    <a:pt x="1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îšḻïde">
              <a:extLst>
                <a:ext uri="{FF2B5EF4-FFF2-40B4-BE49-F238E27FC236}">
                  <a16:creationId xmlns:a16="http://schemas.microsoft.com/office/drawing/2014/main" id="{9C574540-54C3-40CC-AD2F-E16B017620F6}"/>
                </a:ext>
              </a:extLst>
            </p:cNvPr>
            <p:cNvSpPr/>
            <p:nvPr/>
          </p:nvSpPr>
          <p:spPr bwMode="auto">
            <a:xfrm>
              <a:off x="5608913" y="3112609"/>
              <a:ext cx="124979" cy="87948"/>
            </a:xfrm>
            <a:custGeom>
              <a:avLst/>
              <a:gdLst>
                <a:gd name="T0" fmla="*/ 33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3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3" y="12"/>
                  </a:moveTo>
                  <a:cubicBezTo>
                    <a:pt x="34" y="6"/>
                    <a:pt x="26" y="0"/>
                    <a:pt x="17" y="0"/>
                  </a:cubicBezTo>
                  <a:cubicBezTo>
                    <a:pt x="8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î$1îďé">
              <a:extLst>
                <a:ext uri="{FF2B5EF4-FFF2-40B4-BE49-F238E27FC236}">
                  <a16:creationId xmlns:a16="http://schemas.microsoft.com/office/drawing/2014/main" id="{9B05581A-1956-48DC-B804-2245DAE7A45B}"/>
                </a:ext>
              </a:extLst>
            </p:cNvPr>
            <p:cNvSpPr/>
            <p:nvPr/>
          </p:nvSpPr>
          <p:spPr bwMode="auto">
            <a:xfrm>
              <a:off x="5758579" y="3112609"/>
              <a:ext cx="120350" cy="87948"/>
            </a:xfrm>
            <a:custGeom>
              <a:avLst/>
              <a:gdLst>
                <a:gd name="T0" fmla="*/ 33 w 33"/>
                <a:gd name="T1" fmla="*/ 12 h 24"/>
                <a:gd name="T2" fmla="*/ 17 w 33"/>
                <a:gd name="T3" fmla="*/ 0 h 24"/>
                <a:gd name="T4" fmla="*/ 0 w 33"/>
                <a:gd name="T5" fmla="*/ 12 h 24"/>
                <a:gd name="T6" fmla="*/ 17 w 33"/>
                <a:gd name="T7" fmla="*/ 24 h 24"/>
                <a:gd name="T8" fmla="*/ 33 w 33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4">
                  <a:moveTo>
                    <a:pt x="33" y="12"/>
                  </a:moveTo>
                  <a:cubicBezTo>
                    <a:pt x="33" y="6"/>
                    <a:pt x="26" y="0"/>
                    <a:pt x="17" y="0"/>
                  </a:cubicBezTo>
                  <a:cubicBezTo>
                    <a:pt x="8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iṡļide">
              <a:extLst>
                <a:ext uri="{FF2B5EF4-FFF2-40B4-BE49-F238E27FC236}">
                  <a16:creationId xmlns:a16="http://schemas.microsoft.com/office/drawing/2014/main" id="{82F5D5F9-4204-4FCD-9F7F-933209140F27}"/>
                </a:ext>
              </a:extLst>
            </p:cNvPr>
            <p:cNvSpPr/>
            <p:nvPr/>
          </p:nvSpPr>
          <p:spPr bwMode="auto">
            <a:xfrm>
              <a:off x="5908244" y="3112609"/>
              <a:ext cx="120350" cy="87948"/>
            </a:xfrm>
            <a:custGeom>
              <a:avLst/>
              <a:gdLst>
                <a:gd name="T0" fmla="*/ 33 w 33"/>
                <a:gd name="T1" fmla="*/ 12 h 24"/>
                <a:gd name="T2" fmla="*/ 16 w 33"/>
                <a:gd name="T3" fmla="*/ 0 h 24"/>
                <a:gd name="T4" fmla="*/ 0 w 33"/>
                <a:gd name="T5" fmla="*/ 12 h 24"/>
                <a:gd name="T6" fmla="*/ 17 w 33"/>
                <a:gd name="T7" fmla="*/ 24 h 24"/>
                <a:gd name="T8" fmla="*/ 33 w 33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4">
                  <a:moveTo>
                    <a:pt x="33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îSlîḋe">
              <a:extLst>
                <a:ext uri="{FF2B5EF4-FFF2-40B4-BE49-F238E27FC236}">
                  <a16:creationId xmlns:a16="http://schemas.microsoft.com/office/drawing/2014/main" id="{3BCB0A90-5D24-4B0A-9CC0-997230F7D4D5}"/>
                </a:ext>
              </a:extLst>
            </p:cNvPr>
            <p:cNvSpPr/>
            <p:nvPr/>
          </p:nvSpPr>
          <p:spPr bwMode="auto">
            <a:xfrm>
              <a:off x="6054825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1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6" y="0"/>
                    <a:pt x="17" y="0"/>
                  </a:cubicBezTo>
                  <a:cubicBezTo>
                    <a:pt x="8" y="0"/>
                    <a:pt x="0" y="6"/>
                    <a:pt x="1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ïṥļidè">
              <a:extLst>
                <a:ext uri="{FF2B5EF4-FFF2-40B4-BE49-F238E27FC236}">
                  <a16:creationId xmlns:a16="http://schemas.microsoft.com/office/drawing/2014/main" id="{06C38B28-B0A9-4896-B4E6-67E3580D771C}"/>
                </a:ext>
              </a:extLst>
            </p:cNvPr>
            <p:cNvSpPr/>
            <p:nvPr/>
          </p:nvSpPr>
          <p:spPr bwMode="auto">
            <a:xfrm>
              <a:off x="6204490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6"/>
                    <a:pt x="26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íṥ1íďé">
              <a:extLst>
                <a:ext uri="{FF2B5EF4-FFF2-40B4-BE49-F238E27FC236}">
                  <a16:creationId xmlns:a16="http://schemas.microsoft.com/office/drawing/2014/main" id="{BF06CC08-8570-4368-86E3-1CD0C28A667D}"/>
                </a:ext>
              </a:extLst>
            </p:cNvPr>
            <p:cNvSpPr/>
            <p:nvPr/>
          </p:nvSpPr>
          <p:spPr bwMode="auto">
            <a:xfrm>
              <a:off x="6354156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íṩľíḑê">
              <a:extLst>
                <a:ext uri="{FF2B5EF4-FFF2-40B4-BE49-F238E27FC236}">
                  <a16:creationId xmlns:a16="http://schemas.microsoft.com/office/drawing/2014/main" id="{DE22FAA0-A0FC-4D0C-9DF5-93124F2BE7D2}"/>
                </a:ext>
              </a:extLst>
            </p:cNvPr>
            <p:cNvSpPr/>
            <p:nvPr/>
          </p:nvSpPr>
          <p:spPr bwMode="auto">
            <a:xfrm>
              <a:off x="6503822" y="3112609"/>
              <a:ext cx="123436" cy="87948"/>
            </a:xfrm>
            <a:custGeom>
              <a:avLst/>
              <a:gdLst>
                <a:gd name="T0" fmla="*/ 33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3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3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íşļiḋe">
              <a:extLst>
                <a:ext uri="{FF2B5EF4-FFF2-40B4-BE49-F238E27FC236}">
                  <a16:creationId xmlns:a16="http://schemas.microsoft.com/office/drawing/2014/main" id="{93155074-CAC2-4DB7-9C5A-CEC007460E75}"/>
                </a:ext>
              </a:extLst>
            </p:cNvPr>
            <p:cNvSpPr/>
            <p:nvPr/>
          </p:nvSpPr>
          <p:spPr bwMode="auto">
            <a:xfrm>
              <a:off x="6648859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ïṡlïḍé">
              <a:extLst>
                <a:ext uri="{FF2B5EF4-FFF2-40B4-BE49-F238E27FC236}">
                  <a16:creationId xmlns:a16="http://schemas.microsoft.com/office/drawing/2014/main" id="{E3AE1C50-6B2A-4AD3-BBF1-66A35EAF45F6}"/>
                </a:ext>
              </a:extLst>
            </p:cNvPr>
            <p:cNvSpPr/>
            <p:nvPr/>
          </p:nvSpPr>
          <p:spPr bwMode="auto">
            <a:xfrm>
              <a:off x="4846697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20 w 36"/>
                <a:gd name="T3" fmla="*/ 0 h 24"/>
                <a:gd name="T4" fmla="*/ 1 w 36"/>
                <a:gd name="T5" fmla="*/ 12 h 24"/>
                <a:gd name="T6" fmla="*/ 17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6" y="5"/>
                    <a:pt x="29" y="0"/>
                    <a:pt x="20" y="0"/>
                  </a:cubicBezTo>
                  <a:cubicBezTo>
                    <a:pt x="10" y="0"/>
                    <a:pt x="2" y="5"/>
                    <a:pt x="1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îSļïďè">
              <a:extLst>
                <a:ext uri="{FF2B5EF4-FFF2-40B4-BE49-F238E27FC236}">
                  <a16:creationId xmlns:a16="http://schemas.microsoft.com/office/drawing/2014/main" id="{1B5B84BF-BAE6-4516-8AE4-5BA49879D431}"/>
                </a:ext>
              </a:extLst>
            </p:cNvPr>
            <p:cNvSpPr/>
            <p:nvPr/>
          </p:nvSpPr>
          <p:spPr bwMode="auto">
            <a:xfrm>
              <a:off x="4999449" y="3222158"/>
              <a:ext cx="128065" cy="87948"/>
            </a:xfrm>
            <a:custGeom>
              <a:avLst/>
              <a:gdLst>
                <a:gd name="T0" fmla="*/ 35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5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10" y="0"/>
                    <a:pt x="1" y="5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íṥ1îḋè">
              <a:extLst>
                <a:ext uri="{FF2B5EF4-FFF2-40B4-BE49-F238E27FC236}">
                  <a16:creationId xmlns:a16="http://schemas.microsoft.com/office/drawing/2014/main" id="{8C8E2946-BCC9-49C0-92DB-CA930DEC5286}"/>
                </a:ext>
              </a:extLst>
            </p:cNvPr>
            <p:cNvSpPr/>
            <p:nvPr/>
          </p:nvSpPr>
          <p:spPr bwMode="auto">
            <a:xfrm>
              <a:off x="5153744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0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5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îṣļïḓé">
              <a:extLst>
                <a:ext uri="{FF2B5EF4-FFF2-40B4-BE49-F238E27FC236}">
                  <a16:creationId xmlns:a16="http://schemas.microsoft.com/office/drawing/2014/main" id="{EF0A6594-AAE4-4F8D-BAB2-5DC4E967CDA7}"/>
                </a:ext>
              </a:extLst>
            </p:cNvPr>
            <p:cNvSpPr/>
            <p:nvPr/>
          </p:nvSpPr>
          <p:spPr bwMode="auto">
            <a:xfrm>
              <a:off x="5303409" y="3222158"/>
              <a:ext cx="126522" cy="87948"/>
            </a:xfrm>
            <a:custGeom>
              <a:avLst/>
              <a:gdLst>
                <a:gd name="T0" fmla="*/ 34 w 35"/>
                <a:gd name="T1" fmla="*/ 12 h 24"/>
                <a:gd name="T2" fmla="*/ 18 w 35"/>
                <a:gd name="T3" fmla="*/ 0 h 24"/>
                <a:gd name="T4" fmla="*/ 1 w 35"/>
                <a:gd name="T5" fmla="*/ 12 h 24"/>
                <a:gd name="T6" fmla="*/ 17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9" y="0"/>
                    <a:pt x="1" y="5"/>
                    <a:pt x="1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îśľíḋè">
              <a:extLst>
                <a:ext uri="{FF2B5EF4-FFF2-40B4-BE49-F238E27FC236}">
                  <a16:creationId xmlns:a16="http://schemas.microsoft.com/office/drawing/2014/main" id="{68BEA1E8-108B-4C2E-AEFB-E5266C5CF344}"/>
                </a:ext>
              </a:extLst>
            </p:cNvPr>
            <p:cNvSpPr/>
            <p:nvPr/>
          </p:nvSpPr>
          <p:spPr bwMode="auto">
            <a:xfrm>
              <a:off x="5456162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íšlíḋé">
              <a:extLst>
                <a:ext uri="{FF2B5EF4-FFF2-40B4-BE49-F238E27FC236}">
                  <a16:creationId xmlns:a16="http://schemas.microsoft.com/office/drawing/2014/main" id="{969EFD31-F8FF-4950-9AD2-89907517ED6A}"/>
                </a:ext>
              </a:extLst>
            </p:cNvPr>
            <p:cNvSpPr/>
            <p:nvPr/>
          </p:nvSpPr>
          <p:spPr bwMode="auto">
            <a:xfrm>
              <a:off x="5605827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iṡ1íďê">
              <a:extLst>
                <a:ext uri="{FF2B5EF4-FFF2-40B4-BE49-F238E27FC236}">
                  <a16:creationId xmlns:a16="http://schemas.microsoft.com/office/drawing/2014/main" id="{CD9DF3E4-289E-480B-AF7C-1A80014B565E}"/>
                </a:ext>
              </a:extLst>
            </p:cNvPr>
            <p:cNvSpPr/>
            <p:nvPr/>
          </p:nvSpPr>
          <p:spPr bwMode="auto">
            <a:xfrm>
              <a:off x="5758579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ïśľïďê">
              <a:extLst>
                <a:ext uri="{FF2B5EF4-FFF2-40B4-BE49-F238E27FC236}">
                  <a16:creationId xmlns:a16="http://schemas.microsoft.com/office/drawing/2014/main" id="{F7BCC689-C4F8-474A-8622-DE1EAB4ECB78}"/>
                </a:ext>
              </a:extLst>
            </p:cNvPr>
            <p:cNvSpPr/>
            <p:nvPr/>
          </p:nvSpPr>
          <p:spPr bwMode="auto">
            <a:xfrm>
              <a:off x="5908244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0" y="19"/>
                    <a:pt x="8" y="24"/>
                    <a:pt x="17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ïṣḷiḑé">
              <a:extLst>
                <a:ext uri="{FF2B5EF4-FFF2-40B4-BE49-F238E27FC236}">
                  <a16:creationId xmlns:a16="http://schemas.microsoft.com/office/drawing/2014/main" id="{D6535E0B-4A73-4DCB-B0CF-69AD0E209460}"/>
                </a:ext>
              </a:extLst>
            </p:cNvPr>
            <p:cNvSpPr/>
            <p:nvPr/>
          </p:nvSpPr>
          <p:spPr bwMode="auto">
            <a:xfrm>
              <a:off x="6057911" y="3222158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7 w 35"/>
                <a:gd name="T3" fmla="*/ 0 h 24"/>
                <a:gd name="T4" fmla="*/ 1 w 35"/>
                <a:gd name="T5" fmla="*/ 12 h 24"/>
                <a:gd name="T6" fmla="*/ 18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8" y="0"/>
                    <a:pt x="0" y="5"/>
                    <a:pt x="1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îšļîḋe">
              <a:extLst>
                <a:ext uri="{FF2B5EF4-FFF2-40B4-BE49-F238E27FC236}">
                  <a16:creationId xmlns:a16="http://schemas.microsoft.com/office/drawing/2014/main" id="{4780979C-F844-4353-90EB-849ACEE184AB}"/>
                </a:ext>
              </a:extLst>
            </p:cNvPr>
            <p:cNvSpPr/>
            <p:nvPr/>
          </p:nvSpPr>
          <p:spPr bwMode="auto">
            <a:xfrm>
              <a:off x="6210662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19"/>
                    <a:pt x="8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iśḷíḑe">
              <a:extLst>
                <a:ext uri="{FF2B5EF4-FFF2-40B4-BE49-F238E27FC236}">
                  <a16:creationId xmlns:a16="http://schemas.microsoft.com/office/drawing/2014/main" id="{E97D26C8-63AE-4B80-B35A-C54A8DC44D07}"/>
                </a:ext>
              </a:extLst>
            </p:cNvPr>
            <p:cNvSpPr/>
            <p:nvPr/>
          </p:nvSpPr>
          <p:spPr bwMode="auto">
            <a:xfrm>
              <a:off x="6360328" y="3222158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0 w 35"/>
                <a:gd name="T5" fmla="*/ 12 h 24"/>
                <a:gd name="T6" fmla="*/ 18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iSlíḑê">
              <a:extLst>
                <a:ext uri="{FF2B5EF4-FFF2-40B4-BE49-F238E27FC236}">
                  <a16:creationId xmlns:a16="http://schemas.microsoft.com/office/drawing/2014/main" id="{7180C71E-E61A-4B5D-95E8-A1C89F858866}"/>
                </a:ext>
              </a:extLst>
            </p:cNvPr>
            <p:cNvSpPr/>
            <p:nvPr/>
          </p:nvSpPr>
          <p:spPr bwMode="auto">
            <a:xfrm>
              <a:off x="6509994" y="3222158"/>
              <a:ext cx="128065" cy="87948"/>
            </a:xfrm>
            <a:custGeom>
              <a:avLst/>
              <a:gdLst>
                <a:gd name="T0" fmla="*/ 35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5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19"/>
                    <a:pt x="9" y="24"/>
                    <a:pt x="19" y="24"/>
                  </a:cubicBezTo>
                  <a:cubicBezTo>
                    <a:pt x="28" y="24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isḷîdè">
              <a:extLst>
                <a:ext uri="{FF2B5EF4-FFF2-40B4-BE49-F238E27FC236}">
                  <a16:creationId xmlns:a16="http://schemas.microsoft.com/office/drawing/2014/main" id="{49B0E75E-A6B2-40AB-86F7-5C011DE2CA1B}"/>
                </a:ext>
              </a:extLst>
            </p:cNvPr>
            <p:cNvSpPr/>
            <p:nvPr/>
          </p:nvSpPr>
          <p:spPr bwMode="auto">
            <a:xfrm>
              <a:off x="6659660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17 w 36"/>
                <a:gd name="T3" fmla="*/ 0 h 24"/>
                <a:gd name="T4" fmla="*/ 1 w 36"/>
                <a:gd name="T5" fmla="*/ 12 h 24"/>
                <a:gd name="T6" fmla="*/ 19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9" y="24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iŝľîḍé">
              <a:extLst>
                <a:ext uri="{FF2B5EF4-FFF2-40B4-BE49-F238E27FC236}">
                  <a16:creationId xmlns:a16="http://schemas.microsoft.com/office/drawing/2014/main" id="{19F9152A-D4EA-4165-BFB7-9A59A40EA2FB}"/>
                </a:ext>
              </a:extLst>
            </p:cNvPr>
            <p:cNvSpPr/>
            <p:nvPr/>
          </p:nvSpPr>
          <p:spPr bwMode="auto">
            <a:xfrm>
              <a:off x="6813955" y="3222158"/>
              <a:ext cx="126522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îśľîḓè">
              <a:extLst>
                <a:ext uri="{FF2B5EF4-FFF2-40B4-BE49-F238E27FC236}">
                  <a16:creationId xmlns:a16="http://schemas.microsoft.com/office/drawing/2014/main" id="{7B5284B6-E7C1-49D3-84B1-ACCB55E79C14}"/>
                </a:ext>
              </a:extLst>
            </p:cNvPr>
            <p:cNvSpPr/>
            <p:nvPr/>
          </p:nvSpPr>
          <p:spPr bwMode="auto">
            <a:xfrm>
              <a:off x="4988648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9 w 35"/>
                <a:gd name="T3" fmla="*/ 0 h 25"/>
                <a:gd name="T4" fmla="*/ 0 w 35"/>
                <a:gd name="T5" fmla="*/ 12 h 25"/>
                <a:gd name="T6" fmla="*/ 16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6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iṡ1idé">
              <a:extLst>
                <a:ext uri="{FF2B5EF4-FFF2-40B4-BE49-F238E27FC236}">
                  <a16:creationId xmlns:a16="http://schemas.microsoft.com/office/drawing/2014/main" id="{00141746-0A54-4517-902E-A7C82103F635}"/>
                </a:ext>
              </a:extLst>
            </p:cNvPr>
            <p:cNvSpPr/>
            <p:nvPr/>
          </p:nvSpPr>
          <p:spPr bwMode="auto">
            <a:xfrm>
              <a:off x="5142943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9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7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iṥḷíḓê">
              <a:extLst>
                <a:ext uri="{FF2B5EF4-FFF2-40B4-BE49-F238E27FC236}">
                  <a16:creationId xmlns:a16="http://schemas.microsoft.com/office/drawing/2014/main" id="{611D6888-3484-4E73-BBE6-9E443EE2B883}"/>
                </a:ext>
              </a:extLst>
            </p:cNvPr>
            <p:cNvSpPr/>
            <p:nvPr/>
          </p:nvSpPr>
          <p:spPr bwMode="auto">
            <a:xfrm>
              <a:off x="5295695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7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îṩ1ïďè">
              <a:extLst>
                <a:ext uri="{FF2B5EF4-FFF2-40B4-BE49-F238E27FC236}">
                  <a16:creationId xmlns:a16="http://schemas.microsoft.com/office/drawing/2014/main" id="{F4B208D1-8C55-40D4-8D31-92455762843E}"/>
                </a:ext>
              </a:extLst>
            </p:cNvPr>
            <p:cNvSpPr/>
            <p:nvPr/>
          </p:nvSpPr>
          <p:spPr bwMode="auto">
            <a:xfrm>
              <a:off x="5448446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8" y="25"/>
                    <a:pt x="17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ïSḷíḑé">
              <a:extLst>
                <a:ext uri="{FF2B5EF4-FFF2-40B4-BE49-F238E27FC236}">
                  <a16:creationId xmlns:a16="http://schemas.microsoft.com/office/drawing/2014/main" id="{FF4BA20C-4BF5-4DE5-821D-5C384178BB49}"/>
                </a:ext>
              </a:extLst>
            </p:cNvPr>
            <p:cNvSpPr/>
            <p:nvPr/>
          </p:nvSpPr>
          <p:spPr bwMode="auto">
            <a:xfrm>
              <a:off x="5602741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5"/>
                    <a:pt x="17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îŝḷiḓè">
              <a:extLst>
                <a:ext uri="{FF2B5EF4-FFF2-40B4-BE49-F238E27FC236}">
                  <a16:creationId xmlns:a16="http://schemas.microsoft.com/office/drawing/2014/main" id="{7DD474CC-0A57-423D-946C-EAF9BFDE1F25}"/>
                </a:ext>
              </a:extLst>
            </p:cNvPr>
            <p:cNvSpPr/>
            <p:nvPr/>
          </p:nvSpPr>
          <p:spPr bwMode="auto">
            <a:xfrm>
              <a:off x="5755493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5"/>
                    <a:pt x="18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îṥlïḍe">
              <a:extLst>
                <a:ext uri="{FF2B5EF4-FFF2-40B4-BE49-F238E27FC236}">
                  <a16:creationId xmlns:a16="http://schemas.microsoft.com/office/drawing/2014/main" id="{890363B1-17C5-4869-836F-EB82D9A09813}"/>
                </a:ext>
              </a:extLst>
            </p:cNvPr>
            <p:cNvSpPr/>
            <p:nvPr/>
          </p:nvSpPr>
          <p:spPr bwMode="auto">
            <a:xfrm>
              <a:off x="5908244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19"/>
                    <a:pt x="8" y="25"/>
                    <a:pt x="18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ï$ḻiḑè">
              <a:extLst>
                <a:ext uri="{FF2B5EF4-FFF2-40B4-BE49-F238E27FC236}">
                  <a16:creationId xmlns:a16="http://schemas.microsoft.com/office/drawing/2014/main" id="{B84907F8-9101-4AF7-A72E-6ADA509D058F}"/>
                </a:ext>
              </a:extLst>
            </p:cNvPr>
            <p:cNvSpPr/>
            <p:nvPr/>
          </p:nvSpPr>
          <p:spPr bwMode="auto">
            <a:xfrm>
              <a:off x="6062539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19"/>
                    <a:pt x="9" y="25"/>
                    <a:pt x="18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ŝḻîďê">
              <a:extLst>
                <a:ext uri="{FF2B5EF4-FFF2-40B4-BE49-F238E27FC236}">
                  <a16:creationId xmlns:a16="http://schemas.microsoft.com/office/drawing/2014/main" id="{9C23AE88-91C1-4D2B-9D4C-CF599E4AA379}"/>
                </a:ext>
              </a:extLst>
            </p:cNvPr>
            <p:cNvSpPr/>
            <p:nvPr/>
          </p:nvSpPr>
          <p:spPr bwMode="auto">
            <a:xfrm>
              <a:off x="6215291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8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îŝľiḓé">
              <a:extLst>
                <a:ext uri="{FF2B5EF4-FFF2-40B4-BE49-F238E27FC236}">
                  <a16:creationId xmlns:a16="http://schemas.microsoft.com/office/drawing/2014/main" id="{2843F56B-217A-4529-8657-7941A5CDF7E9}"/>
                </a:ext>
              </a:extLst>
            </p:cNvPr>
            <p:cNvSpPr/>
            <p:nvPr/>
          </p:nvSpPr>
          <p:spPr bwMode="auto">
            <a:xfrm>
              <a:off x="6368042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9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9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îṧḻîḍè">
              <a:extLst>
                <a:ext uri="{FF2B5EF4-FFF2-40B4-BE49-F238E27FC236}">
                  <a16:creationId xmlns:a16="http://schemas.microsoft.com/office/drawing/2014/main" id="{58F30B68-15C8-4983-9856-29796D3EA952}"/>
                </a:ext>
              </a:extLst>
            </p:cNvPr>
            <p:cNvSpPr/>
            <p:nvPr/>
          </p:nvSpPr>
          <p:spPr bwMode="auto">
            <a:xfrm>
              <a:off x="6520795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6 w 35"/>
                <a:gd name="T3" fmla="*/ 0 h 25"/>
                <a:gd name="T4" fmla="*/ 0 w 35"/>
                <a:gd name="T5" fmla="*/ 12 h 25"/>
                <a:gd name="T6" fmla="*/ 19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9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ïSḷîḓe">
              <a:extLst>
                <a:ext uri="{FF2B5EF4-FFF2-40B4-BE49-F238E27FC236}">
                  <a16:creationId xmlns:a16="http://schemas.microsoft.com/office/drawing/2014/main" id="{561079AE-C3B3-4363-BFB0-4002232F84AC}"/>
                </a:ext>
              </a:extLst>
            </p:cNvPr>
            <p:cNvSpPr/>
            <p:nvPr/>
          </p:nvSpPr>
          <p:spPr bwMode="auto">
            <a:xfrm>
              <a:off x="6675089" y="3331707"/>
              <a:ext cx="131151" cy="91034"/>
            </a:xfrm>
            <a:custGeom>
              <a:avLst/>
              <a:gdLst>
                <a:gd name="T0" fmla="*/ 35 w 36"/>
                <a:gd name="T1" fmla="*/ 12 h 25"/>
                <a:gd name="T2" fmla="*/ 16 w 36"/>
                <a:gd name="T3" fmla="*/ 0 h 25"/>
                <a:gd name="T4" fmla="*/ 0 w 36"/>
                <a:gd name="T5" fmla="*/ 12 h 25"/>
                <a:gd name="T6" fmla="*/ 19 w 36"/>
                <a:gd name="T7" fmla="*/ 25 h 25"/>
                <a:gd name="T8" fmla="*/ 35 w 36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5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10" y="25"/>
                    <a:pt x="19" y="25"/>
                  </a:cubicBezTo>
                  <a:cubicBezTo>
                    <a:pt x="29" y="25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îŝ1ïdé">
              <a:extLst>
                <a:ext uri="{FF2B5EF4-FFF2-40B4-BE49-F238E27FC236}">
                  <a16:creationId xmlns:a16="http://schemas.microsoft.com/office/drawing/2014/main" id="{564546E5-43DC-4BC5-AA00-05AFB973D9DA}"/>
                </a:ext>
              </a:extLst>
            </p:cNvPr>
            <p:cNvSpPr/>
            <p:nvPr/>
          </p:nvSpPr>
          <p:spPr bwMode="auto">
            <a:xfrm>
              <a:off x="6827841" y="3331707"/>
              <a:ext cx="131151" cy="91034"/>
            </a:xfrm>
            <a:custGeom>
              <a:avLst/>
              <a:gdLst>
                <a:gd name="T0" fmla="*/ 35 w 36"/>
                <a:gd name="T1" fmla="*/ 12 h 25"/>
                <a:gd name="T2" fmla="*/ 16 w 36"/>
                <a:gd name="T3" fmla="*/ 0 h 25"/>
                <a:gd name="T4" fmla="*/ 0 w 36"/>
                <a:gd name="T5" fmla="*/ 12 h 25"/>
                <a:gd name="T6" fmla="*/ 19 w 36"/>
                <a:gd name="T7" fmla="*/ 25 h 25"/>
                <a:gd name="T8" fmla="*/ 35 w 36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5">
                  <a:moveTo>
                    <a:pt x="35" y="12"/>
                  </a:moveTo>
                  <a:cubicBezTo>
                    <a:pt x="34" y="5"/>
                    <a:pt x="25" y="0"/>
                    <a:pt x="16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1" y="19"/>
                    <a:pt x="10" y="25"/>
                    <a:pt x="19" y="25"/>
                  </a:cubicBezTo>
                  <a:cubicBezTo>
                    <a:pt x="29" y="25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íšľíḑê">
              <a:extLst>
                <a:ext uri="{FF2B5EF4-FFF2-40B4-BE49-F238E27FC236}">
                  <a16:creationId xmlns:a16="http://schemas.microsoft.com/office/drawing/2014/main" id="{5FC172C3-2134-4549-A9E7-337C41B3BB23}"/>
                </a:ext>
              </a:extLst>
            </p:cNvPr>
            <p:cNvSpPr/>
            <p:nvPr/>
          </p:nvSpPr>
          <p:spPr bwMode="auto">
            <a:xfrm>
              <a:off x="6977507" y="3331707"/>
              <a:ext cx="135779" cy="91034"/>
            </a:xfrm>
            <a:custGeom>
              <a:avLst/>
              <a:gdLst>
                <a:gd name="T0" fmla="*/ 36 w 37"/>
                <a:gd name="T1" fmla="*/ 12 h 25"/>
                <a:gd name="T2" fmla="*/ 17 w 37"/>
                <a:gd name="T3" fmla="*/ 0 h 25"/>
                <a:gd name="T4" fmla="*/ 1 w 37"/>
                <a:gd name="T5" fmla="*/ 12 h 25"/>
                <a:gd name="T6" fmla="*/ 21 w 37"/>
                <a:gd name="T7" fmla="*/ 25 h 25"/>
                <a:gd name="T8" fmla="*/ 36 w 37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5">
                  <a:moveTo>
                    <a:pt x="36" y="12"/>
                  </a:moveTo>
                  <a:cubicBezTo>
                    <a:pt x="35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1" y="25"/>
                    <a:pt x="21" y="25"/>
                  </a:cubicBezTo>
                  <a:cubicBezTo>
                    <a:pt x="30" y="25"/>
                    <a:pt x="37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îSḻïḍe">
              <a:extLst>
                <a:ext uri="{FF2B5EF4-FFF2-40B4-BE49-F238E27FC236}">
                  <a16:creationId xmlns:a16="http://schemas.microsoft.com/office/drawing/2014/main" id="{D3198A90-B2DF-419C-9DE4-DB79FC2C2B21}"/>
                </a:ext>
              </a:extLst>
            </p:cNvPr>
            <p:cNvSpPr/>
            <p:nvPr/>
          </p:nvSpPr>
          <p:spPr bwMode="auto">
            <a:xfrm>
              <a:off x="5755493" y="3445885"/>
              <a:ext cx="128065" cy="9412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ïŝḻîḍé">
              <a:extLst>
                <a:ext uri="{FF2B5EF4-FFF2-40B4-BE49-F238E27FC236}">
                  <a16:creationId xmlns:a16="http://schemas.microsoft.com/office/drawing/2014/main" id="{F0D784FA-1AE6-4AFC-A368-5707917D0FB2}"/>
                </a:ext>
              </a:extLst>
            </p:cNvPr>
            <p:cNvSpPr/>
            <p:nvPr/>
          </p:nvSpPr>
          <p:spPr bwMode="auto">
            <a:xfrm>
              <a:off x="5912874" y="3445885"/>
              <a:ext cx="126522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7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20"/>
                    <a:pt x="8" y="26"/>
                    <a:pt x="17" y="26"/>
                  </a:cubicBezTo>
                  <a:cubicBezTo>
                    <a:pt x="27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íśḷîḋé">
              <a:extLst>
                <a:ext uri="{FF2B5EF4-FFF2-40B4-BE49-F238E27FC236}">
                  <a16:creationId xmlns:a16="http://schemas.microsoft.com/office/drawing/2014/main" id="{AFF8CF96-E378-4DFF-B267-15B765218729}"/>
                </a:ext>
              </a:extLst>
            </p:cNvPr>
            <p:cNvSpPr/>
            <p:nvPr/>
          </p:nvSpPr>
          <p:spPr bwMode="auto">
            <a:xfrm>
              <a:off x="6065625" y="3445885"/>
              <a:ext cx="128065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8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20"/>
                    <a:pt x="9" y="26"/>
                    <a:pt x="18" y="26"/>
                  </a:cubicBezTo>
                  <a:cubicBezTo>
                    <a:pt x="28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s1îde">
              <a:extLst>
                <a:ext uri="{FF2B5EF4-FFF2-40B4-BE49-F238E27FC236}">
                  <a16:creationId xmlns:a16="http://schemas.microsoft.com/office/drawing/2014/main" id="{E19257FA-8649-430C-A7F4-6D3B775E8C0C}"/>
                </a:ext>
              </a:extLst>
            </p:cNvPr>
            <p:cNvSpPr/>
            <p:nvPr/>
          </p:nvSpPr>
          <p:spPr bwMode="auto">
            <a:xfrm>
              <a:off x="6223006" y="3445885"/>
              <a:ext cx="126522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8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20"/>
                    <a:pt x="8" y="26"/>
                    <a:pt x="18" y="26"/>
                  </a:cubicBezTo>
                  <a:cubicBezTo>
                    <a:pt x="28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ïṥļîḑê">
              <a:extLst>
                <a:ext uri="{FF2B5EF4-FFF2-40B4-BE49-F238E27FC236}">
                  <a16:creationId xmlns:a16="http://schemas.microsoft.com/office/drawing/2014/main" id="{CDBADEFA-7392-42D1-9144-1CC664166EF1}"/>
                </a:ext>
              </a:extLst>
            </p:cNvPr>
            <p:cNvSpPr/>
            <p:nvPr/>
          </p:nvSpPr>
          <p:spPr bwMode="auto">
            <a:xfrm>
              <a:off x="6375758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7 w 36"/>
                <a:gd name="T3" fmla="*/ 0 h 26"/>
                <a:gd name="T4" fmla="*/ 1 w 36"/>
                <a:gd name="T5" fmla="*/ 12 h 26"/>
                <a:gd name="T6" fmla="*/ 19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20"/>
                    <a:pt x="9" y="26"/>
                    <a:pt x="19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í$1iḓè">
              <a:extLst>
                <a:ext uri="{FF2B5EF4-FFF2-40B4-BE49-F238E27FC236}">
                  <a16:creationId xmlns:a16="http://schemas.microsoft.com/office/drawing/2014/main" id="{478FC694-CF53-4739-AB51-C423608A3388}"/>
                </a:ext>
              </a:extLst>
            </p:cNvPr>
            <p:cNvSpPr/>
            <p:nvPr/>
          </p:nvSpPr>
          <p:spPr bwMode="auto">
            <a:xfrm>
              <a:off x="6533138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6 w 36"/>
                <a:gd name="T3" fmla="*/ 0 h 26"/>
                <a:gd name="T4" fmla="*/ 0 w 36"/>
                <a:gd name="T5" fmla="*/ 12 h 26"/>
                <a:gd name="T6" fmla="*/ 19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20"/>
                    <a:pt x="9" y="26"/>
                    <a:pt x="19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îşļîḑe">
              <a:extLst>
                <a:ext uri="{FF2B5EF4-FFF2-40B4-BE49-F238E27FC236}">
                  <a16:creationId xmlns:a16="http://schemas.microsoft.com/office/drawing/2014/main" id="{ED6EE8A9-6630-4413-845B-DE65AAFC6C90}"/>
                </a:ext>
              </a:extLst>
            </p:cNvPr>
            <p:cNvSpPr/>
            <p:nvPr/>
          </p:nvSpPr>
          <p:spPr bwMode="auto">
            <a:xfrm>
              <a:off x="6685889" y="3445885"/>
              <a:ext cx="131151" cy="94120"/>
            </a:xfrm>
            <a:custGeom>
              <a:avLst/>
              <a:gdLst>
                <a:gd name="T0" fmla="*/ 36 w 36"/>
                <a:gd name="T1" fmla="*/ 12 h 26"/>
                <a:gd name="T2" fmla="*/ 17 w 36"/>
                <a:gd name="T3" fmla="*/ 0 h 26"/>
                <a:gd name="T4" fmla="*/ 1 w 36"/>
                <a:gd name="T5" fmla="*/ 12 h 26"/>
                <a:gd name="T6" fmla="*/ 20 w 36"/>
                <a:gd name="T7" fmla="*/ 26 h 26"/>
                <a:gd name="T8" fmla="*/ 36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12"/>
                  </a:moveTo>
                  <a:cubicBezTo>
                    <a:pt x="35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20"/>
                    <a:pt x="10" y="26"/>
                    <a:pt x="20" y="26"/>
                  </a:cubicBezTo>
                  <a:cubicBezTo>
                    <a:pt x="29" y="26"/>
                    <a:pt x="36" y="20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íSľîḓê">
              <a:extLst>
                <a:ext uri="{FF2B5EF4-FFF2-40B4-BE49-F238E27FC236}">
                  <a16:creationId xmlns:a16="http://schemas.microsoft.com/office/drawing/2014/main" id="{EFBF5ADB-2C05-4841-8263-DFE307CAB414}"/>
                </a:ext>
              </a:extLst>
            </p:cNvPr>
            <p:cNvSpPr/>
            <p:nvPr/>
          </p:nvSpPr>
          <p:spPr bwMode="auto">
            <a:xfrm>
              <a:off x="6843270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6 w 36"/>
                <a:gd name="T3" fmla="*/ 0 h 26"/>
                <a:gd name="T4" fmla="*/ 0 w 36"/>
                <a:gd name="T5" fmla="*/ 12 h 26"/>
                <a:gd name="T6" fmla="*/ 20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20"/>
                    <a:pt x="10" y="26"/>
                    <a:pt x="20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ïṧļïḑé">
              <a:extLst>
                <a:ext uri="{FF2B5EF4-FFF2-40B4-BE49-F238E27FC236}">
                  <a16:creationId xmlns:a16="http://schemas.microsoft.com/office/drawing/2014/main" id="{53960451-9FA9-40D9-BDBE-30A1D078381D}"/>
                </a:ext>
              </a:extLst>
            </p:cNvPr>
            <p:cNvSpPr/>
            <p:nvPr/>
          </p:nvSpPr>
          <p:spPr bwMode="auto">
            <a:xfrm>
              <a:off x="5755493" y="3558521"/>
              <a:ext cx="128065" cy="98749"/>
            </a:xfrm>
            <a:custGeom>
              <a:avLst/>
              <a:gdLst>
                <a:gd name="T0" fmla="*/ 35 w 35"/>
                <a:gd name="T1" fmla="*/ 14 h 27"/>
                <a:gd name="T2" fmla="*/ 18 w 35"/>
                <a:gd name="T3" fmla="*/ 0 h 27"/>
                <a:gd name="T4" fmla="*/ 0 w 35"/>
                <a:gd name="T5" fmla="*/ 14 h 27"/>
                <a:gd name="T6" fmla="*/ 17 w 35"/>
                <a:gd name="T7" fmla="*/ 27 h 27"/>
                <a:gd name="T8" fmla="*/ 35 w 35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7">
                  <a:moveTo>
                    <a:pt x="35" y="14"/>
                  </a:moveTo>
                  <a:cubicBezTo>
                    <a:pt x="35" y="6"/>
                    <a:pt x="27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1"/>
                    <a:pt x="8" y="27"/>
                    <a:pt x="17" y="27"/>
                  </a:cubicBezTo>
                  <a:cubicBezTo>
                    <a:pt x="27" y="27"/>
                    <a:pt x="35" y="21"/>
                    <a:pt x="3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ïSḻîdê">
              <a:extLst>
                <a:ext uri="{FF2B5EF4-FFF2-40B4-BE49-F238E27FC236}">
                  <a16:creationId xmlns:a16="http://schemas.microsoft.com/office/drawing/2014/main" id="{838CC728-9166-4872-9BEB-A769682660DD}"/>
                </a:ext>
              </a:extLst>
            </p:cNvPr>
            <p:cNvSpPr/>
            <p:nvPr/>
          </p:nvSpPr>
          <p:spPr bwMode="auto">
            <a:xfrm>
              <a:off x="5912874" y="3558521"/>
              <a:ext cx="131151" cy="98749"/>
            </a:xfrm>
            <a:custGeom>
              <a:avLst/>
              <a:gdLst>
                <a:gd name="T0" fmla="*/ 35 w 36"/>
                <a:gd name="T1" fmla="*/ 14 h 27"/>
                <a:gd name="T2" fmla="*/ 18 w 36"/>
                <a:gd name="T3" fmla="*/ 0 h 27"/>
                <a:gd name="T4" fmla="*/ 0 w 36"/>
                <a:gd name="T5" fmla="*/ 14 h 27"/>
                <a:gd name="T6" fmla="*/ 18 w 36"/>
                <a:gd name="T7" fmla="*/ 27 h 27"/>
                <a:gd name="T8" fmla="*/ 35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5" y="14"/>
                  </a:moveTo>
                  <a:cubicBezTo>
                    <a:pt x="35" y="6"/>
                    <a:pt x="27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1"/>
                    <a:pt x="8" y="27"/>
                    <a:pt x="18" y="27"/>
                  </a:cubicBezTo>
                  <a:cubicBezTo>
                    <a:pt x="28" y="27"/>
                    <a:pt x="36" y="21"/>
                    <a:pt x="3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îṡ1iḋe">
              <a:extLst>
                <a:ext uri="{FF2B5EF4-FFF2-40B4-BE49-F238E27FC236}">
                  <a16:creationId xmlns:a16="http://schemas.microsoft.com/office/drawing/2014/main" id="{F89230D9-1D6A-4FCF-B09A-B2ADC016CD93}"/>
                </a:ext>
              </a:extLst>
            </p:cNvPr>
            <p:cNvSpPr/>
            <p:nvPr/>
          </p:nvSpPr>
          <p:spPr bwMode="auto">
            <a:xfrm>
              <a:off x="6068711" y="3558521"/>
              <a:ext cx="131151" cy="98749"/>
            </a:xfrm>
            <a:custGeom>
              <a:avLst/>
              <a:gdLst>
                <a:gd name="T0" fmla="*/ 36 w 36"/>
                <a:gd name="T1" fmla="*/ 14 h 27"/>
                <a:gd name="T2" fmla="*/ 17 w 36"/>
                <a:gd name="T3" fmla="*/ 0 h 27"/>
                <a:gd name="T4" fmla="*/ 0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1"/>
                    <a:pt x="9" y="27"/>
                    <a:pt x="19" y="27"/>
                  </a:cubicBezTo>
                  <a:cubicBezTo>
                    <a:pt x="28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íśľíďè">
              <a:extLst>
                <a:ext uri="{FF2B5EF4-FFF2-40B4-BE49-F238E27FC236}">
                  <a16:creationId xmlns:a16="http://schemas.microsoft.com/office/drawing/2014/main" id="{D7D5EAE1-0B92-4168-A31E-BBB17F74EDA2}"/>
                </a:ext>
              </a:extLst>
            </p:cNvPr>
            <p:cNvSpPr/>
            <p:nvPr/>
          </p:nvSpPr>
          <p:spPr bwMode="auto">
            <a:xfrm>
              <a:off x="6226091" y="3558521"/>
              <a:ext cx="131151" cy="98749"/>
            </a:xfrm>
            <a:custGeom>
              <a:avLst/>
              <a:gdLst>
                <a:gd name="T0" fmla="*/ 36 w 36"/>
                <a:gd name="T1" fmla="*/ 14 h 27"/>
                <a:gd name="T2" fmla="*/ 17 w 36"/>
                <a:gd name="T3" fmla="*/ 0 h 27"/>
                <a:gd name="T4" fmla="*/ 1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1"/>
                    <a:pt x="9" y="27"/>
                    <a:pt x="19" y="27"/>
                  </a:cubicBezTo>
                  <a:cubicBezTo>
                    <a:pt x="29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i$ļïḋe">
              <a:extLst>
                <a:ext uri="{FF2B5EF4-FFF2-40B4-BE49-F238E27FC236}">
                  <a16:creationId xmlns:a16="http://schemas.microsoft.com/office/drawing/2014/main" id="{03153CE1-05FD-4775-97BF-577B43104FD0}"/>
                </a:ext>
              </a:extLst>
            </p:cNvPr>
            <p:cNvSpPr/>
            <p:nvPr/>
          </p:nvSpPr>
          <p:spPr bwMode="auto">
            <a:xfrm>
              <a:off x="6383472" y="3558521"/>
              <a:ext cx="134237" cy="98749"/>
            </a:xfrm>
            <a:custGeom>
              <a:avLst/>
              <a:gdLst>
                <a:gd name="T0" fmla="*/ 36 w 37"/>
                <a:gd name="T1" fmla="*/ 14 h 27"/>
                <a:gd name="T2" fmla="*/ 17 w 37"/>
                <a:gd name="T3" fmla="*/ 0 h 27"/>
                <a:gd name="T4" fmla="*/ 1 w 37"/>
                <a:gd name="T5" fmla="*/ 14 h 27"/>
                <a:gd name="T6" fmla="*/ 20 w 37"/>
                <a:gd name="T7" fmla="*/ 27 h 27"/>
                <a:gd name="T8" fmla="*/ 36 w 37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1"/>
                    <a:pt x="10" y="27"/>
                    <a:pt x="20" y="27"/>
                  </a:cubicBezTo>
                  <a:cubicBezTo>
                    <a:pt x="29" y="27"/>
                    <a:pt x="37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ï$ḻîḑê">
              <a:extLst>
                <a:ext uri="{FF2B5EF4-FFF2-40B4-BE49-F238E27FC236}">
                  <a16:creationId xmlns:a16="http://schemas.microsoft.com/office/drawing/2014/main" id="{C71A2BCA-1F8D-4780-B820-C4A3A71C84B5}"/>
                </a:ext>
              </a:extLst>
            </p:cNvPr>
            <p:cNvSpPr/>
            <p:nvPr/>
          </p:nvSpPr>
          <p:spPr bwMode="auto">
            <a:xfrm>
              <a:off x="6539310" y="3558521"/>
              <a:ext cx="135779" cy="98749"/>
            </a:xfrm>
            <a:custGeom>
              <a:avLst/>
              <a:gdLst>
                <a:gd name="T0" fmla="*/ 36 w 37"/>
                <a:gd name="T1" fmla="*/ 14 h 27"/>
                <a:gd name="T2" fmla="*/ 17 w 37"/>
                <a:gd name="T3" fmla="*/ 0 h 27"/>
                <a:gd name="T4" fmla="*/ 1 w 37"/>
                <a:gd name="T5" fmla="*/ 14 h 27"/>
                <a:gd name="T6" fmla="*/ 20 w 37"/>
                <a:gd name="T7" fmla="*/ 27 h 27"/>
                <a:gd name="T8" fmla="*/ 36 w 37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1"/>
                    <a:pt x="10" y="27"/>
                    <a:pt x="20" y="27"/>
                  </a:cubicBezTo>
                  <a:cubicBezTo>
                    <a:pt x="30" y="27"/>
                    <a:pt x="37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iṣḷîḋê">
              <a:extLst>
                <a:ext uri="{FF2B5EF4-FFF2-40B4-BE49-F238E27FC236}">
                  <a16:creationId xmlns:a16="http://schemas.microsoft.com/office/drawing/2014/main" id="{0082B465-F106-4570-945E-B8903663F42C}"/>
                </a:ext>
              </a:extLst>
            </p:cNvPr>
            <p:cNvSpPr/>
            <p:nvPr/>
          </p:nvSpPr>
          <p:spPr bwMode="auto">
            <a:xfrm>
              <a:off x="6699776" y="3558521"/>
              <a:ext cx="132693" cy="98749"/>
            </a:xfrm>
            <a:custGeom>
              <a:avLst/>
              <a:gdLst>
                <a:gd name="T0" fmla="*/ 36 w 36"/>
                <a:gd name="T1" fmla="*/ 14 h 27"/>
                <a:gd name="T2" fmla="*/ 16 w 36"/>
                <a:gd name="T3" fmla="*/ 0 h 27"/>
                <a:gd name="T4" fmla="*/ 0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6" y="0"/>
                    <a:pt x="16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1"/>
                    <a:pt x="10" y="27"/>
                    <a:pt x="19" y="27"/>
                  </a:cubicBezTo>
                  <a:cubicBezTo>
                    <a:pt x="29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íšḷîďe">
              <a:extLst>
                <a:ext uri="{FF2B5EF4-FFF2-40B4-BE49-F238E27FC236}">
                  <a16:creationId xmlns:a16="http://schemas.microsoft.com/office/drawing/2014/main" id="{268D0269-80AC-4F28-B059-6D1C034C6CEF}"/>
                </a:ext>
              </a:extLst>
            </p:cNvPr>
            <p:cNvSpPr/>
            <p:nvPr/>
          </p:nvSpPr>
          <p:spPr bwMode="auto">
            <a:xfrm>
              <a:off x="5750864" y="3678870"/>
              <a:ext cx="132693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1 w 36"/>
                <a:gd name="T5" fmla="*/ 14 h 28"/>
                <a:gd name="T6" fmla="*/ 18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9" y="0"/>
                    <a:pt x="1" y="6"/>
                    <a:pt x="1" y="14"/>
                  </a:cubicBezTo>
                  <a:cubicBezTo>
                    <a:pt x="0" y="22"/>
                    <a:pt x="8" y="28"/>
                    <a:pt x="18" y="28"/>
                  </a:cubicBezTo>
                  <a:cubicBezTo>
                    <a:pt x="28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iśḷidè">
              <a:extLst>
                <a:ext uri="{FF2B5EF4-FFF2-40B4-BE49-F238E27FC236}">
                  <a16:creationId xmlns:a16="http://schemas.microsoft.com/office/drawing/2014/main" id="{BD615014-AB8C-4777-B5D0-549D86911B8F}"/>
                </a:ext>
              </a:extLst>
            </p:cNvPr>
            <p:cNvSpPr/>
            <p:nvPr/>
          </p:nvSpPr>
          <p:spPr bwMode="auto">
            <a:xfrm>
              <a:off x="5912874" y="3678870"/>
              <a:ext cx="131151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0 w 36"/>
                <a:gd name="T5" fmla="*/ 14 h 28"/>
                <a:gd name="T6" fmla="*/ 19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ṣḻíḓè">
              <a:extLst>
                <a:ext uri="{FF2B5EF4-FFF2-40B4-BE49-F238E27FC236}">
                  <a16:creationId xmlns:a16="http://schemas.microsoft.com/office/drawing/2014/main" id="{7C2FD8F4-F707-4203-B24A-54E3F160AE07}"/>
                </a:ext>
              </a:extLst>
            </p:cNvPr>
            <p:cNvSpPr/>
            <p:nvPr/>
          </p:nvSpPr>
          <p:spPr bwMode="auto">
            <a:xfrm>
              <a:off x="6073340" y="3678870"/>
              <a:ext cx="131151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0 w 36"/>
                <a:gd name="T5" fmla="*/ 14 h 28"/>
                <a:gd name="T6" fmla="*/ 19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ṧḷïďê">
              <a:extLst>
                <a:ext uri="{FF2B5EF4-FFF2-40B4-BE49-F238E27FC236}">
                  <a16:creationId xmlns:a16="http://schemas.microsoft.com/office/drawing/2014/main" id="{149794D7-EC3D-48A6-86A1-85773B45CEF0}"/>
                </a:ext>
              </a:extLst>
            </p:cNvPr>
            <p:cNvSpPr/>
            <p:nvPr/>
          </p:nvSpPr>
          <p:spPr bwMode="auto">
            <a:xfrm>
              <a:off x="6233807" y="3678870"/>
              <a:ext cx="134237" cy="103378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išḷiďé">
              <a:extLst>
                <a:ext uri="{FF2B5EF4-FFF2-40B4-BE49-F238E27FC236}">
                  <a16:creationId xmlns:a16="http://schemas.microsoft.com/office/drawing/2014/main" id="{81470E6E-E94A-4D07-A6D3-2D940A80A4DD}"/>
                </a:ext>
              </a:extLst>
            </p:cNvPr>
            <p:cNvSpPr/>
            <p:nvPr/>
          </p:nvSpPr>
          <p:spPr bwMode="auto">
            <a:xfrm>
              <a:off x="6394273" y="3678870"/>
              <a:ext cx="134237" cy="103378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íš1îďe">
              <a:extLst>
                <a:ext uri="{FF2B5EF4-FFF2-40B4-BE49-F238E27FC236}">
                  <a16:creationId xmlns:a16="http://schemas.microsoft.com/office/drawing/2014/main" id="{421C3359-B560-4A08-9BB2-3A935D8D74C6}"/>
                </a:ext>
              </a:extLst>
            </p:cNvPr>
            <p:cNvSpPr/>
            <p:nvPr/>
          </p:nvSpPr>
          <p:spPr bwMode="auto">
            <a:xfrm>
              <a:off x="6550110" y="3678870"/>
              <a:ext cx="138865" cy="103378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íṩlíďe">
              <a:extLst>
                <a:ext uri="{FF2B5EF4-FFF2-40B4-BE49-F238E27FC236}">
                  <a16:creationId xmlns:a16="http://schemas.microsoft.com/office/drawing/2014/main" id="{6E203083-728F-47DB-AB2C-9D5C2E6EB311}"/>
                </a:ext>
              </a:extLst>
            </p:cNvPr>
            <p:cNvSpPr/>
            <p:nvPr/>
          </p:nvSpPr>
          <p:spPr bwMode="auto">
            <a:xfrm>
              <a:off x="6710577" y="3678870"/>
              <a:ext cx="138865" cy="103378"/>
            </a:xfrm>
            <a:custGeom>
              <a:avLst/>
              <a:gdLst>
                <a:gd name="T0" fmla="*/ 37 w 38"/>
                <a:gd name="T1" fmla="*/ 14 h 28"/>
                <a:gd name="T2" fmla="*/ 17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1" y="14"/>
                  </a:cubicBezTo>
                  <a:cubicBezTo>
                    <a:pt x="2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ṥ1íḍê">
              <a:extLst>
                <a:ext uri="{FF2B5EF4-FFF2-40B4-BE49-F238E27FC236}">
                  <a16:creationId xmlns:a16="http://schemas.microsoft.com/office/drawing/2014/main" id="{8CF06936-3F42-438A-942D-1F8658F3B6EB}"/>
                </a:ext>
              </a:extLst>
            </p:cNvPr>
            <p:cNvSpPr/>
            <p:nvPr/>
          </p:nvSpPr>
          <p:spPr bwMode="auto">
            <a:xfrm>
              <a:off x="5915960" y="3803849"/>
              <a:ext cx="131151" cy="101834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ïṧḻíḑè">
              <a:extLst>
                <a:ext uri="{FF2B5EF4-FFF2-40B4-BE49-F238E27FC236}">
                  <a16:creationId xmlns:a16="http://schemas.microsoft.com/office/drawing/2014/main" id="{2D000E26-87CD-4D69-ADEF-D580C7C9ABD1}"/>
                </a:ext>
              </a:extLst>
            </p:cNvPr>
            <p:cNvSpPr/>
            <p:nvPr/>
          </p:nvSpPr>
          <p:spPr bwMode="auto">
            <a:xfrm>
              <a:off x="6076426" y="3803849"/>
              <a:ext cx="134237" cy="101834"/>
            </a:xfrm>
            <a:custGeom>
              <a:avLst/>
              <a:gdLst>
                <a:gd name="T0" fmla="*/ 37 w 37"/>
                <a:gd name="T1" fmla="*/ 14 h 28"/>
                <a:gd name="T2" fmla="*/ 18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7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7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iṥḻïḍe">
              <a:extLst>
                <a:ext uri="{FF2B5EF4-FFF2-40B4-BE49-F238E27FC236}">
                  <a16:creationId xmlns:a16="http://schemas.microsoft.com/office/drawing/2014/main" id="{F9C417E7-9350-4DBA-AC16-B5B3CC1509FA}"/>
                </a:ext>
              </a:extLst>
            </p:cNvPr>
            <p:cNvSpPr/>
            <p:nvPr/>
          </p:nvSpPr>
          <p:spPr bwMode="auto">
            <a:xfrm>
              <a:off x="6239978" y="3803849"/>
              <a:ext cx="135779" cy="101834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íṧľiḓe">
              <a:extLst>
                <a:ext uri="{FF2B5EF4-FFF2-40B4-BE49-F238E27FC236}">
                  <a16:creationId xmlns:a16="http://schemas.microsoft.com/office/drawing/2014/main" id="{0975104D-C76C-4C7E-9DA4-FECC46AA1667}"/>
                </a:ext>
              </a:extLst>
            </p:cNvPr>
            <p:cNvSpPr/>
            <p:nvPr/>
          </p:nvSpPr>
          <p:spPr bwMode="auto">
            <a:xfrm>
              <a:off x="6400445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0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íṣḷïďe">
              <a:extLst>
                <a:ext uri="{FF2B5EF4-FFF2-40B4-BE49-F238E27FC236}">
                  <a16:creationId xmlns:a16="http://schemas.microsoft.com/office/drawing/2014/main" id="{062D7809-BB35-48A9-9362-64F1162A0815}"/>
                </a:ext>
              </a:extLst>
            </p:cNvPr>
            <p:cNvSpPr/>
            <p:nvPr/>
          </p:nvSpPr>
          <p:spPr bwMode="auto">
            <a:xfrm>
              <a:off x="6560911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1 w 38"/>
                <a:gd name="T5" fmla="*/ 14 h 28"/>
                <a:gd name="T6" fmla="*/ 21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0" y="28"/>
                    <a:pt x="21" y="28"/>
                  </a:cubicBezTo>
                  <a:cubicBezTo>
                    <a:pt x="31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iŝḷîḓè">
              <a:extLst>
                <a:ext uri="{FF2B5EF4-FFF2-40B4-BE49-F238E27FC236}">
                  <a16:creationId xmlns:a16="http://schemas.microsoft.com/office/drawing/2014/main" id="{04C9579F-451A-4C14-BEB1-DA0BDCD69695}"/>
                </a:ext>
              </a:extLst>
            </p:cNvPr>
            <p:cNvSpPr/>
            <p:nvPr/>
          </p:nvSpPr>
          <p:spPr bwMode="auto">
            <a:xfrm>
              <a:off x="6726006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7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1" y="14"/>
                  </a:cubicBezTo>
                  <a:cubicBezTo>
                    <a:pt x="1" y="22"/>
                    <a:pt x="10" y="28"/>
                    <a:pt x="20" y="28"/>
                  </a:cubicBezTo>
                  <a:cubicBezTo>
                    <a:pt x="31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ïṣľïḋe">
              <a:extLst>
                <a:ext uri="{FF2B5EF4-FFF2-40B4-BE49-F238E27FC236}">
                  <a16:creationId xmlns:a16="http://schemas.microsoft.com/office/drawing/2014/main" id="{2CA96831-35AF-4035-8BFB-C0E6AD03B709}"/>
                </a:ext>
              </a:extLst>
            </p:cNvPr>
            <p:cNvSpPr/>
            <p:nvPr/>
          </p:nvSpPr>
          <p:spPr bwMode="auto">
            <a:xfrm>
              <a:off x="5915960" y="3931914"/>
              <a:ext cx="134237" cy="104920"/>
            </a:xfrm>
            <a:custGeom>
              <a:avLst/>
              <a:gdLst>
                <a:gd name="T0" fmla="*/ 37 w 37"/>
                <a:gd name="T1" fmla="*/ 14 h 29"/>
                <a:gd name="T2" fmla="*/ 18 w 37"/>
                <a:gd name="T3" fmla="*/ 0 h 29"/>
                <a:gd name="T4" fmla="*/ 0 w 37"/>
                <a:gd name="T5" fmla="*/ 14 h 29"/>
                <a:gd name="T6" fmla="*/ 19 w 37"/>
                <a:gd name="T7" fmla="*/ 29 h 29"/>
                <a:gd name="T8" fmla="*/ 37 w 37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37" y="14"/>
                  </a:moveTo>
                  <a:cubicBezTo>
                    <a:pt x="37" y="6"/>
                    <a:pt x="29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2"/>
                    <a:pt x="9" y="29"/>
                    <a:pt x="19" y="29"/>
                  </a:cubicBezTo>
                  <a:cubicBezTo>
                    <a:pt x="29" y="29"/>
                    <a:pt x="37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îSľîḑè">
              <a:extLst>
                <a:ext uri="{FF2B5EF4-FFF2-40B4-BE49-F238E27FC236}">
                  <a16:creationId xmlns:a16="http://schemas.microsoft.com/office/drawing/2014/main" id="{FC7D2042-266F-4520-97E4-AC8C1964F0F8}"/>
                </a:ext>
              </a:extLst>
            </p:cNvPr>
            <p:cNvSpPr/>
            <p:nvPr/>
          </p:nvSpPr>
          <p:spPr bwMode="auto">
            <a:xfrm>
              <a:off x="6079512" y="3931914"/>
              <a:ext cx="138865" cy="104920"/>
            </a:xfrm>
            <a:custGeom>
              <a:avLst/>
              <a:gdLst>
                <a:gd name="T0" fmla="*/ 37 w 38"/>
                <a:gd name="T1" fmla="*/ 14 h 29"/>
                <a:gd name="T2" fmla="*/ 18 w 38"/>
                <a:gd name="T3" fmla="*/ 0 h 29"/>
                <a:gd name="T4" fmla="*/ 0 w 38"/>
                <a:gd name="T5" fmla="*/ 14 h 29"/>
                <a:gd name="T6" fmla="*/ 19 w 38"/>
                <a:gd name="T7" fmla="*/ 29 h 29"/>
                <a:gd name="T8" fmla="*/ 37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7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9"/>
                    <a:pt x="19" y="29"/>
                  </a:cubicBezTo>
                  <a:cubicBezTo>
                    <a:pt x="30" y="29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iṥḻiḓe">
              <a:extLst>
                <a:ext uri="{FF2B5EF4-FFF2-40B4-BE49-F238E27FC236}">
                  <a16:creationId xmlns:a16="http://schemas.microsoft.com/office/drawing/2014/main" id="{AEAA4146-57E8-43C0-B774-8517F4C2E725}"/>
                </a:ext>
              </a:extLst>
            </p:cNvPr>
            <p:cNvSpPr/>
            <p:nvPr/>
          </p:nvSpPr>
          <p:spPr bwMode="auto">
            <a:xfrm>
              <a:off x="6244607" y="3931914"/>
              <a:ext cx="138865" cy="104920"/>
            </a:xfrm>
            <a:custGeom>
              <a:avLst/>
              <a:gdLst>
                <a:gd name="T0" fmla="*/ 38 w 38"/>
                <a:gd name="T1" fmla="*/ 14 h 29"/>
                <a:gd name="T2" fmla="*/ 18 w 38"/>
                <a:gd name="T3" fmla="*/ 0 h 29"/>
                <a:gd name="T4" fmla="*/ 1 w 38"/>
                <a:gd name="T5" fmla="*/ 14 h 29"/>
                <a:gd name="T6" fmla="*/ 20 w 38"/>
                <a:gd name="T7" fmla="*/ 29 h 29"/>
                <a:gd name="T8" fmla="*/ 38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2"/>
                    <a:pt x="10" y="29"/>
                    <a:pt x="20" y="29"/>
                  </a:cubicBezTo>
                  <a:cubicBezTo>
                    <a:pt x="30" y="29"/>
                    <a:pt x="38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îSḷïdé">
              <a:extLst>
                <a:ext uri="{FF2B5EF4-FFF2-40B4-BE49-F238E27FC236}">
                  <a16:creationId xmlns:a16="http://schemas.microsoft.com/office/drawing/2014/main" id="{D1AB2C90-A129-4C2B-90C7-5F984F61E8C6}"/>
                </a:ext>
              </a:extLst>
            </p:cNvPr>
            <p:cNvSpPr/>
            <p:nvPr/>
          </p:nvSpPr>
          <p:spPr bwMode="auto">
            <a:xfrm>
              <a:off x="6408159" y="3931914"/>
              <a:ext cx="141951" cy="104920"/>
            </a:xfrm>
            <a:custGeom>
              <a:avLst/>
              <a:gdLst>
                <a:gd name="T0" fmla="*/ 38 w 39"/>
                <a:gd name="T1" fmla="*/ 14 h 29"/>
                <a:gd name="T2" fmla="*/ 18 w 39"/>
                <a:gd name="T3" fmla="*/ 0 h 29"/>
                <a:gd name="T4" fmla="*/ 1 w 39"/>
                <a:gd name="T5" fmla="*/ 14 h 29"/>
                <a:gd name="T6" fmla="*/ 21 w 39"/>
                <a:gd name="T7" fmla="*/ 29 h 29"/>
                <a:gd name="T8" fmla="*/ 38 w 3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2"/>
                    <a:pt x="10" y="29"/>
                    <a:pt x="21" y="29"/>
                  </a:cubicBezTo>
                  <a:cubicBezTo>
                    <a:pt x="31" y="29"/>
                    <a:pt x="39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i$ḻîḋê">
              <a:extLst>
                <a:ext uri="{FF2B5EF4-FFF2-40B4-BE49-F238E27FC236}">
                  <a16:creationId xmlns:a16="http://schemas.microsoft.com/office/drawing/2014/main" id="{1C0A7AD7-F291-409D-BE2F-F7AC2E8AE343}"/>
                </a:ext>
              </a:extLst>
            </p:cNvPr>
            <p:cNvSpPr/>
            <p:nvPr/>
          </p:nvSpPr>
          <p:spPr bwMode="auto">
            <a:xfrm>
              <a:off x="6573255" y="3931914"/>
              <a:ext cx="141951" cy="104920"/>
            </a:xfrm>
            <a:custGeom>
              <a:avLst/>
              <a:gdLst>
                <a:gd name="T0" fmla="*/ 38 w 39"/>
                <a:gd name="T1" fmla="*/ 14 h 29"/>
                <a:gd name="T2" fmla="*/ 18 w 39"/>
                <a:gd name="T3" fmla="*/ 0 h 29"/>
                <a:gd name="T4" fmla="*/ 1 w 39"/>
                <a:gd name="T5" fmla="*/ 14 h 29"/>
                <a:gd name="T6" fmla="*/ 21 w 39"/>
                <a:gd name="T7" fmla="*/ 29 h 29"/>
                <a:gd name="T8" fmla="*/ 38 w 3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1" y="29"/>
                    <a:pt x="21" y="29"/>
                  </a:cubicBezTo>
                  <a:cubicBezTo>
                    <a:pt x="31" y="29"/>
                    <a:pt x="39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îṡḷîdê">
              <a:extLst>
                <a:ext uri="{FF2B5EF4-FFF2-40B4-BE49-F238E27FC236}">
                  <a16:creationId xmlns:a16="http://schemas.microsoft.com/office/drawing/2014/main" id="{40AB89E5-A2C5-4C02-A062-33BC638A0045}"/>
                </a:ext>
              </a:extLst>
            </p:cNvPr>
            <p:cNvSpPr/>
            <p:nvPr/>
          </p:nvSpPr>
          <p:spPr bwMode="auto">
            <a:xfrm>
              <a:off x="6739893" y="3931914"/>
              <a:ext cx="138865" cy="104920"/>
            </a:xfrm>
            <a:custGeom>
              <a:avLst/>
              <a:gdLst>
                <a:gd name="T0" fmla="*/ 37 w 38"/>
                <a:gd name="T1" fmla="*/ 14 h 29"/>
                <a:gd name="T2" fmla="*/ 17 w 38"/>
                <a:gd name="T3" fmla="*/ 0 h 29"/>
                <a:gd name="T4" fmla="*/ 0 w 38"/>
                <a:gd name="T5" fmla="*/ 14 h 29"/>
                <a:gd name="T6" fmla="*/ 21 w 38"/>
                <a:gd name="T7" fmla="*/ 29 h 29"/>
                <a:gd name="T8" fmla="*/ 37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2"/>
                    <a:pt x="10" y="29"/>
                    <a:pt x="21" y="29"/>
                  </a:cubicBezTo>
                  <a:cubicBezTo>
                    <a:pt x="31" y="29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îŝļíḑê">
              <a:extLst>
                <a:ext uri="{FF2B5EF4-FFF2-40B4-BE49-F238E27FC236}">
                  <a16:creationId xmlns:a16="http://schemas.microsoft.com/office/drawing/2014/main" id="{7ABB2EA3-9A38-43C8-BFF7-FF24A90C0B8A}"/>
                </a:ext>
              </a:extLst>
            </p:cNvPr>
            <p:cNvSpPr/>
            <p:nvPr/>
          </p:nvSpPr>
          <p:spPr bwMode="auto">
            <a:xfrm>
              <a:off x="5750864" y="4063064"/>
              <a:ext cx="135779" cy="10955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ïšḻíḓè">
              <a:extLst>
                <a:ext uri="{FF2B5EF4-FFF2-40B4-BE49-F238E27FC236}">
                  <a16:creationId xmlns:a16="http://schemas.microsoft.com/office/drawing/2014/main" id="{1940BDEF-E53A-40EE-8FB5-811292706D2B}"/>
                </a:ext>
              </a:extLst>
            </p:cNvPr>
            <p:cNvSpPr/>
            <p:nvPr/>
          </p:nvSpPr>
          <p:spPr bwMode="auto">
            <a:xfrm>
              <a:off x="5915960" y="4063064"/>
              <a:ext cx="138865" cy="109550"/>
            </a:xfrm>
            <a:custGeom>
              <a:avLst/>
              <a:gdLst>
                <a:gd name="T0" fmla="*/ 38 w 38"/>
                <a:gd name="T1" fmla="*/ 15 h 30"/>
                <a:gd name="T2" fmla="*/ 19 w 38"/>
                <a:gd name="T3" fmla="*/ 0 h 30"/>
                <a:gd name="T4" fmla="*/ 1 w 38"/>
                <a:gd name="T5" fmla="*/ 15 h 30"/>
                <a:gd name="T6" fmla="*/ 20 w 38"/>
                <a:gd name="T7" fmla="*/ 30 h 30"/>
                <a:gd name="T8" fmla="*/ 38 w 38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38" y="15"/>
                  </a:moveTo>
                  <a:cubicBezTo>
                    <a:pt x="38" y="6"/>
                    <a:pt x="29" y="0"/>
                    <a:pt x="19" y="0"/>
                  </a:cubicBezTo>
                  <a:cubicBezTo>
                    <a:pt x="9" y="0"/>
                    <a:pt x="0" y="6"/>
                    <a:pt x="1" y="15"/>
                  </a:cubicBezTo>
                  <a:cubicBezTo>
                    <a:pt x="1" y="23"/>
                    <a:pt x="9" y="30"/>
                    <a:pt x="20" y="30"/>
                  </a:cubicBezTo>
                  <a:cubicBezTo>
                    <a:pt x="30" y="30"/>
                    <a:pt x="38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işḻîdé">
              <a:extLst>
                <a:ext uri="{FF2B5EF4-FFF2-40B4-BE49-F238E27FC236}">
                  <a16:creationId xmlns:a16="http://schemas.microsoft.com/office/drawing/2014/main" id="{6C3ED3A3-2E84-4B9A-BA2C-D77AF58B3F81}"/>
                </a:ext>
              </a:extLst>
            </p:cNvPr>
            <p:cNvSpPr/>
            <p:nvPr/>
          </p:nvSpPr>
          <p:spPr bwMode="auto">
            <a:xfrm>
              <a:off x="6084140" y="4063064"/>
              <a:ext cx="138865" cy="109550"/>
            </a:xfrm>
            <a:custGeom>
              <a:avLst/>
              <a:gdLst>
                <a:gd name="T0" fmla="*/ 38 w 38"/>
                <a:gd name="T1" fmla="*/ 15 h 30"/>
                <a:gd name="T2" fmla="*/ 19 w 38"/>
                <a:gd name="T3" fmla="*/ 0 h 30"/>
                <a:gd name="T4" fmla="*/ 1 w 38"/>
                <a:gd name="T5" fmla="*/ 15 h 30"/>
                <a:gd name="T6" fmla="*/ 20 w 38"/>
                <a:gd name="T7" fmla="*/ 30 h 30"/>
                <a:gd name="T8" fmla="*/ 38 w 38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38" y="15"/>
                  </a:moveTo>
                  <a:cubicBezTo>
                    <a:pt x="38" y="6"/>
                    <a:pt x="29" y="0"/>
                    <a:pt x="19" y="0"/>
                  </a:cubicBezTo>
                  <a:cubicBezTo>
                    <a:pt x="8" y="0"/>
                    <a:pt x="0" y="6"/>
                    <a:pt x="1" y="15"/>
                  </a:cubicBezTo>
                  <a:cubicBezTo>
                    <a:pt x="1" y="23"/>
                    <a:pt x="9" y="30"/>
                    <a:pt x="20" y="30"/>
                  </a:cubicBezTo>
                  <a:cubicBezTo>
                    <a:pt x="30" y="30"/>
                    <a:pt x="38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şļïḑe">
              <a:extLst>
                <a:ext uri="{FF2B5EF4-FFF2-40B4-BE49-F238E27FC236}">
                  <a16:creationId xmlns:a16="http://schemas.microsoft.com/office/drawing/2014/main" id="{98B57A1A-1422-422E-931F-522705DCEE2E}"/>
                </a:ext>
              </a:extLst>
            </p:cNvPr>
            <p:cNvSpPr/>
            <p:nvPr/>
          </p:nvSpPr>
          <p:spPr bwMode="auto">
            <a:xfrm>
              <a:off x="6250779" y="4063064"/>
              <a:ext cx="143495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0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9" y="0"/>
                    <a:pt x="18" y="0"/>
                  </a:cubicBezTo>
                  <a:cubicBezTo>
                    <a:pt x="8" y="0"/>
                    <a:pt x="0" y="6"/>
                    <a:pt x="0" y="15"/>
                  </a:cubicBezTo>
                  <a:cubicBezTo>
                    <a:pt x="1" y="23"/>
                    <a:pt x="10" y="30"/>
                    <a:pt x="20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iSḷîďè">
              <a:extLst>
                <a:ext uri="{FF2B5EF4-FFF2-40B4-BE49-F238E27FC236}">
                  <a16:creationId xmlns:a16="http://schemas.microsoft.com/office/drawing/2014/main" id="{D0E47B11-4011-4E29-8E23-02724FB4DFBA}"/>
                </a:ext>
              </a:extLst>
            </p:cNvPr>
            <p:cNvSpPr/>
            <p:nvPr/>
          </p:nvSpPr>
          <p:spPr bwMode="auto">
            <a:xfrm>
              <a:off x="6418960" y="4063064"/>
              <a:ext cx="141951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0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0" y="15"/>
                  </a:cubicBezTo>
                  <a:cubicBezTo>
                    <a:pt x="1" y="23"/>
                    <a:pt x="10" y="30"/>
                    <a:pt x="20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îṩľiḍe">
              <a:extLst>
                <a:ext uri="{FF2B5EF4-FFF2-40B4-BE49-F238E27FC236}">
                  <a16:creationId xmlns:a16="http://schemas.microsoft.com/office/drawing/2014/main" id="{6170EB43-3D53-42C1-83BC-DF94E761B9D9}"/>
                </a:ext>
              </a:extLst>
            </p:cNvPr>
            <p:cNvSpPr/>
            <p:nvPr/>
          </p:nvSpPr>
          <p:spPr bwMode="auto">
            <a:xfrm>
              <a:off x="6587141" y="4063064"/>
              <a:ext cx="141951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1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1" y="23"/>
                    <a:pt x="10" y="30"/>
                    <a:pt x="21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î$ľïďe">
              <a:extLst>
                <a:ext uri="{FF2B5EF4-FFF2-40B4-BE49-F238E27FC236}">
                  <a16:creationId xmlns:a16="http://schemas.microsoft.com/office/drawing/2014/main" id="{EA393173-4FC3-4FB2-8E3D-F812CFF1B814}"/>
                </a:ext>
              </a:extLst>
            </p:cNvPr>
            <p:cNvSpPr/>
            <p:nvPr/>
          </p:nvSpPr>
          <p:spPr bwMode="auto">
            <a:xfrm>
              <a:off x="6750693" y="4063064"/>
              <a:ext cx="146580" cy="109550"/>
            </a:xfrm>
            <a:custGeom>
              <a:avLst/>
              <a:gdLst>
                <a:gd name="T0" fmla="*/ 39 w 40"/>
                <a:gd name="T1" fmla="*/ 15 h 30"/>
                <a:gd name="T2" fmla="*/ 18 w 40"/>
                <a:gd name="T3" fmla="*/ 0 h 30"/>
                <a:gd name="T4" fmla="*/ 1 w 40"/>
                <a:gd name="T5" fmla="*/ 15 h 30"/>
                <a:gd name="T6" fmla="*/ 22 w 40"/>
                <a:gd name="T7" fmla="*/ 30 h 30"/>
                <a:gd name="T8" fmla="*/ 39 w 4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39" y="15"/>
                  </a:moveTo>
                  <a:cubicBezTo>
                    <a:pt x="38" y="6"/>
                    <a:pt x="29" y="0"/>
                    <a:pt x="18" y="0"/>
                  </a:cubicBezTo>
                  <a:cubicBezTo>
                    <a:pt x="8" y="0"/>
                    <a:pt x="0" y="6"/>
                    <a:pt x="1" y="15"/>
                  </a:cubicBezTo>
                  <a:cubicBezTo>
                    <a:pt x="2" y="23"/>
                    <a:pt x="11" y="30"/>
                    <a:pt x="22" y="30"/>
                  </a:cubicBezTo>
                  <a:cubicBezTo>
                    <a:pt x="32" y="30"/>
                    <a:pt x="40" y="23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îšļîḍè">
              <a:extLst>
                <a:ext uri="{FF2B5EF4-FFF2-40B4-BE49-F238E27FC236}">
                  <a16:creationId xmlns:a16="http://schemas.microsoft.com/office/drawing/2014/main" id="{AB020F17-CD96-403B-AA5E-E87AA2649176}"/>
                </a:ext>
              </a:extLst>
            </p:cNvPr>
            <p:cNvSpPr/>
            <p:nvPr/>
          </p:nvSpPr>
          <p:spPr bwMode="auto">
            <a:xfrm>
              <a:off x="5919046" y="4198843"/>
              <a:ext cx="138865" cy="112636"/>
            </a:xfrm>
            <a:custGeom>
              <a:avLst/>
              <a:gdLst>
                <a:gd name="T0" fmla="*/ 38 w 38"/>
                <a:gd name="T1" fmla="*/ 15 h 31"/>
                <a:gd name="T2" fmla="*/ 19 w 38"/>
                <a:gd name="T3" fmla="*/ 0 h 31"/>
                <a:gd name="T4" fmla="*/ 0 w 38"/>
                <a:gd name="T5" fmla="*/ 15 h 31"/>
                <a:gd name="T6" fmla="*/ 19 w 38"/>
                <a:gd name="T7" fmla="*/ 31 h 31"/>
                <a:gd name="T8" fmla="*/ 38 w 3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1">
                  <a:moveTo>
                    <a:pt x="38" y="15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5"/>
                  </a:cubicBezTo>
                  <a:cubicBezTo>
                    <a:pt x="0" y="24"/>
                    <a:pt x="9" y="31"/>
                    <a:pt x="19" y="31"/>
                  </a:cubicBezTo>
                  <a:cubicBezTo>
                    <a:pt x="30" y="31"/>
                    <a:pt x="38" y="24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ïşlide">
              <a:extLst>
                <a:ext uri="{FF2B5EF4-FFF2-40B4-BE49-F238E27FC236}">
                  <a16:creationId xmlns:a16="http://schemas.microsoft.com/office/drawing/2014/main" id="{0AD6F323-E7D7-4DD5-AB89-6954114A19A2}"/>
                </a:ext>
              </a:extLst>
            </p:cNvPr>
            <p:cNvSpPr/>
            <p:nvPr/>
          </p:nvSpPr>
          <p:spPr bwMode="auto">
            <a:xfrm>
              <a:off x="6087226" y="4198843"/>
              <a:ext cx="141951" cy="112636"/>
            </a:xfrm>
            <a:custGeom>
              <a:avLst/>
              <a:gdLst>
                <a:gd name="T0" fmla="*/ 39 w 39"/>
                <a:gd name="T1" fmla="*/ 15 h 31"/>
                <a:gd name="T2" fmla="*/ 19 w 39"/>
                <a:gd name="T3" fmla="*/ 0 h 31"/>
                <a:gd name="T4" fmla="*/ 1 w 39"/>
                <a:gd name="T5" fmla="*/ 15 h 31"/>
                <a:gd name="T6" fmla="*/ 20 w 39"/>
                <a:gd name="T7" fmla="*/ 31 h 31"/>
                <a:gd name="T8" fmla="*/ 39 w 39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1">
                  <a:moveTo>
                    <a:pt x="39" y="15"/>
                  </a:moveTo>
                  <a:cubicBezTo>
                    <a:pt x="38" y="7"/>
                    <a:pt x="30" y="0"/>
                    <a:pt x="19" y="0"/>
                  </a:cubicBezTo>
                  <a:cubicBezTo>
                    <a:pt x="9" y="0"/>
                    <a:pt x="0" y="7"/>
                    <a:pt x="1" y="15"/>
                  </a:cubicBezTo>
                  <a:cubicBezTo>
                    <a:pt x="1" y="24"/>
                    <a:pt x="10" y="31"/>
                    <a:pt x="20" y="31"/>
                  </a:cubicBezTo>
                  <a:cubicBezTo>
                    <a:pt x="31" y="31"/>
                    <a:pt x="39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išlîḋè">
              <a:extLst>
                <a:ext uri="{FF2B5EF4-FFF2-40B4-BE49-F238E27FC236}">
                  <a16:creationId xmlns:a16="http://schemas.microsoft.com/office/drawing/2014/main" id="{23B4AF22-14A7-4F87-8EB6-CCBF6F7D675F}"/>
                </a:ext>
              </a:extLst>
            </p:cNvPr>
            <p:cNvSpPr/>
            <p:nvPr/>
          </p:nvSpPr>
          <p:spPr bwMode="auto">
            <a:xfrm>
              <a:off x="6258494" y="4198843"/>
              <a:ext cx="141951" cy="112636"/>
            </a:xfrm>
            <a:custGeom>
              <a:avLst/>
              <a:gdLst>
                <a:gd name="T0" fmla="*/ 38 w 39"/>
                <a:gd name="T1" fmla="*/ 15 h 31"/>
                <a:gd name="T2" fmla="*/ 18 w 39"/>
                <a:gd name="T3" fmla="*/ 0 h 31"/>
                <a:gd name="T4" fmla="*/ 0 w 39"/>
                <a:gd name="T5" fmla="*/ 15 h 31"/>
                <a:gd name="T6" fmla="*/ 20 w 39"/>
                <a:gd name="T7" fmla="*/ 31 h 31"/>
                <a:gd name="T8" fmla="*/ 38 w 39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1">
                  <a:moveTo>
                    <a:pt x="38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0" y="15"/>
                  </a:cubicBezTo>
                  <a:cubicBezTo>
                    <a:pt x="1" y="24"/>
                    <a:pt x="10" y="31"/>
                    <a:pt x="20" y="31"/>
                  </a:cubicBezTo>
                  <a:cubicBezTo>
                    <a:pt x="31" y="31"/>
                    <a:pt x="39" y="24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iśḻîḓè">
              <a:extLst>
                <a:ext uri="{FF2B5EF4-FFF2-40B4-BE49-F238E27FC236}">
                  <a16:creationId xmlns:a16="http://schemas.microsoft.com/office/drawing/2014/main" id="{391012BE-835D-44F7-8437-8EF0BFCACC3D}"/>
                </a:ext>
              </a:extLst>
            </p:cNvPr>
            <p:cNvSpPr/>
            <p:nvPr/>
          </p:nvSpPr>
          <p:spPr bwMode="auto">
            <a:xfrm>
              <a:off x="6426674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9 w 40"/>
                <a:gd name="T3" fmla="*/ 0 h 31"/>
                <a:gd name="T4" fmla="*/ 1 w 40"/>
                <a:gd name="T5" fmla="*/ 15 h 31"/>
                <a:gd name="T6" fmla="*/ 21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2" y="24"/>
                    <a:pt x="11" y="31"/>
                    <a:pt x="21" y="31"/>
                  </a:cubicBezTo>
                  <a:cubicBezTo>
                    <a:pt x="32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ïSľïdê">
              <a:extLst>
                <a:ext uri="{FF2B5EF4-FFF2-40B4-BE49-F238E27FC236}">
                  <a16:creationId xmlns:a16="http://schemas.microsoft.com/office/drawing/2014/main" id="{CFA22BCB-07FF-4798-BDBC-6A7F5AD6A67D}"/>
                </a:ext>
              </a:extLst>
            </p:cNvPr>
            <p:cNvSpPr/>
            <p:nvPr/>
          </p:nvSpPr>
          <p:spPr bwMode="auto">
            <a:xfrm>
              <a:off x="6597942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8 w 40"/>
                <a:gd name="T3" fmla="*/ 0 h 31"/>
                <a:gd name="T4" fmla="*/ 1 w 40"/>
                <a:gd name="T5" fmla="*/ 15 h 31"/>
                <a:gd name="T6" fmla="*/ 21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1" y="24"/>
                    <a:pt x="11" y="31"/>
                    <a:pt x="21" y="31"/>
                  </a:cubicBezTo>
                  <a:cubicBezTo>
                    <a:pt x="32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iṣḻídé">
              <a:extLst>
                <a:ext uri="{FF2B5EF4-FFF2-40B4-BE49-F238E27FC236}">
                  <a16:creationId xmlns:a16="http://schemas.microsoft.com/office/drawing/2014/main" id="{4BB63224-2FB6-401F-953B-F5431034481B}"/>
                </a:ext>
              </a:extLst>
            </p:cNvPr>
            <p:cNvSpPr/>
            <p:nvPr/>
          </p:nvSpPr>
          <p:spPr bwMode="auto">
            <a:xfrm>
              <a:off x="5919046" y="4337708"/>
              <a:ext cx="143495" cy="115721"/>
            </a:xfrm>
            <a:custGeom>
              <a:avLst/>
              <a:gdLst>
                <a:gd name="T0" fmla="*/ 39 w 39"/>
                <a:gd name="T1" fmla="*/ 16 h 32"/>
                <a:gd name="T2" fmla="*/ 19 w 39"/>
                <a:gd name="T3" fmla="*/ 0 h 32"/>
                <a:gd name="T4" fmla="*/ 0 w 39"/>
                <a:gd name="T5" fmla="*/ 16 h 32"/>
                <a:gd name="T6" fmla="*/ 20 w 39"/>
                <a:gd name="T7" fmla="*/ 32 h 32"/>
                <a:gd name="T8" fmla="*/ 39 w 3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2">
                  <a:moveTo>
                    <a:pt x="39" y="16"/>
                  </a:moveTo>
                  <a:cubicBezTo>
                    <a:pt x="39" y="7"/>
                    <a:pt x="30" y="0"/>
                    <a:pt x="19" y="0"/>
                  </a:cubicBezTo>
                  <a:cubicBezTo>
                    <a:pt x="9" y="0"/>
                    <a:pt x="0" y="7"/>
                    <a:pt x="0" y="16"/>
                  </a:cubicBezTo>
                  <a:cubicBezTo>
                    <a:pt x="0" y="25"/>
                    <a:pt x="9" y="32"/>
                    <a:pt x="20" y="32"/>
                  </a:cubicBezTo>
                  <a:cubicBezTo>
                    <a:pt x="31" y="32"/>
                    <a:pt x="39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îṥļíḓê">
              <a:extLst>
                <a:ext uri="{FF2B5EF4-FFF2-40B4-BE49-F238E27FC236}">
                  <a16:creationId xmlns:a16="http://schemas.microsoft.com/office/drawing/2014/main" id="{395DFA5B-AD44-4EE2-B70E-3213FC41C315}"/>
                </a:ext>
              </a:extLst>
            </p:cNvPr>
            <p:cNvSpPr/>
            <p:nvPr/>
          </p:nvSpPr>
          <p:spPr bwMode="auto">
            <a:xfrm>
              <a:off x="6094941" y="4337708"/>
              <a:ext cx="141951" cy="115721"/>
            </a:xfrm>
            <a:custGeom>
              <a:avLst/>
              <a:gdLst>
                <a:gd name="T0" fmla="*/ 39 w 39"/>
                <a:gd name="T1" fmla="*/ 16 h 32"/>
                <a:gd name="T2" fmla="*/ 19 w 39"/>
                <a:gd name="T3" fmla="*/ 0 h 32"/>
                <a:gd name="T4" fmla="*/ 0 w 39"/>
                <a:gd name="T5" fmla="*/ 16 h 32"/>
                <a:gd name="T6" fmla="*/ 20 w 39"/>
                <a:gd name="T7" fmla="*/ 32 h 32"/>
                <a:gd name="T8" fmla="*/ 39 w 3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2">
                  <a:moveTo>
                    <a:pt x="39" y="16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9" y="32"/>
                    <a:pt x="20" y="32"/>
                  </a:cubicBezTo>
                  <a:cubicBezTo>
                    <a:pt x="31" y="32"/>
                    <a:pt x="39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ïṥliďé">
              <a:extLst>
                <a:ext uri="{FF2B5EF4-FFF2-40B4-BE49-F238E27FC236}">
                  <a16:creationId xmlns:a16="http://schemas.microsoft.com/office/drawing/2014/main" id="{F07FBD61-DAFB-4C43-8EBC-2C1CF4CEB8E8}"/>
                </a:ext>
              </a:extLst>
            </p:cNvPr>
            <p:cNvSpPr/>
            <p:nvPr/>
          </p:nvSpPr>
          <p:spPr bwMode="auto">
            <a:xfrm>
              <a:off x="6266208" y="4337708"/>
              <a:ext cx="146580" cy="115721"/>
            </a:xfrm>
            <a:custGeom>
              <a:avLst/>
              <a:gdLst>
                <a:gd name="T0" fmla="*/ 39 w 40"/>
                <a:gd name="T1" fmla="*/ 16 h 32"/>
                <a:gd name="T2" fmla="*/ 19 w 40"/>
                <a:gd name="T3" fmla="*/ 0 h 32"/>
                <a:gd name="T4" fmla="*/ 0 w 40"/>
                <a:gd name="T5" fmla="*/ 16 h 32"/>
                <a:gd name="T6" fmla="*/ 21 w 40"/>
                <a:gd name="T7" fmla="*/ 32 h 32"/>
                <a:gd name="T8" fmla="*/ 39 w 40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2">
                  <a:moveTo>
                    <a:pt x="39" y="16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1" y="25"/>
                    <a:pt x="10" y="32"/>
                    <a:pt x="21" y="32"/>
                  </a:cubicBezTo>
                  <a:cubicBezTo>
                    <a:pt x="31" y="32"/>
                    <a:pt x="40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ïşḻiďé">
              <a:extLst>
                <a:ext uri="{FF2B5EF4-FFF2-40B4-BE49-F238E27FC236}">
                  <a16:creationId xmlns:a16="http://schemas.microsoft.com/office/drawing/2014/main" id="{ECD8A37F-FCE4-4C67-AE7A-DF69FFC2F29D}"/>
                </a:ext>
              </a:extLst>
            </p:cNvPr>
            <p:cNvSpPr/>
            <p:nvPr/>
          </p:nvSpPr>
          <p:spPr bwMode="auto">
            <a:xfrm>
              <a:off x="6437476" y="4337708"/>
              <a:ext cx="146580" cy="115721"/>
            </a:xfrm>
            <a:custGeom>
              <a:avLst/>
              <a:gdLst>
                <a:gd name="T0" fmla="*/ 39 w 40"/>
                <a:gd name="T1" fmla="*/ 16 h 32"/>
                <a:gd name="T2" fmla="*/ 19 w 40"/>
                <a:gd name="T3" fmla="*/ 0 h 32"/>
                <a:gd name="T4" fmla="*/ 1 w 40"/>
                <a:gd name="T5" fmla="*/ 16 h 32"/>
                <a:gd name="T6" fmla="*/ 21 w 40"/>
                <a:gd name="T7" fmla="*/ 32 h 32"/>
                <a:gd name="T8" fmla="*/ 39 w 40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2">
                  <a:moveTo>
                    <a:pt x="39" y="16"/>
                  </a:moveTo>
                  <a:cubicBezTo>
                    <a:pt x="39" y="7"/>
                    <a:pt x="29" y="0"/>
                    <a:pt x="19" y="0"/>
                  </a:cubicBezTo>
                  <a:cubicBezTo>
                    <a:pt x="8" y="0"/>
                    <a:pt x="0" y="7"/>
                    <a:pt x="1" y="16"/>
                  </a:cubicBezTo>
                  <a:cubicBezTo>
                    <a:pt x="1" y="25"/>
                    <a:pt x="11" y="32"/>
                    <a:pt x="21" y="32"/>
                  </a:cubicBezTo>
                  <a:cubicBezTo>
                    <a:pt x="32" y="32"/>
                    <a:pt x="40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işlíḑè">
              <a:extLst>
                <a:ext uri="{FF2B5EF4-FFF2-40B4-BE49-F238E27FC236}">
                  <a16:creationId xmlns:a16="http://schemas.microsoft.com/office/drawing/2014/main" id="{98468AC0-83E4-4A63-916C-D9CF83E7F5DD}"/>
                </a:ext>
              </a:extLst>
            </p:cNvPr>
            <p:cNvSpPr/>
            <p:nvPr/>
          </p:nvSpPr>
          <p:spPr bwMode="auto">
            <a:xfrm>
              <a:off x="5923674" y="4479659"/>
              <a:ext cx="141951" cy="123436"/>
            </a:xfrm>
            <a:custGeom>
              <a:avLst/>
              <a:gdLst>
                <a:gd name="T0" fmla="*/ 39 w 39"/>
                <a:gd name="T1" fmla="*/ 17 h 34"/>
                <a:gd name="T2" fmla="*/ 19 w 39"/>
                <a:gd name="T3" fmla="*/ 0 h 34"/>
                <a:gd name="T4" fmla="*/ 0 w 39"/>
                <a:gd name="T5" fmla="*/ 17 h 34"/>
                <a:gd name="T6" fmla="*/ 20 w 39"/>
                <a:gd name="T7" fmla="*/ 34 h 34"/>
                <a:gd name="T8" fmla="*/ 39 w 3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4">
                  <a:moveTo>
                    <a:pt x="39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9" y="34"/>
                    <a:pt x="20" y="34"/>
                  </a:cubicBezTo>
                  <a:cubicBezTo>
                    <a:pt x="31" y="34"/>
                    <a:pt x="39" y="26"/>
                    <a:pt x="3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ïSḻíďè">
              <a:extLst>
                <a:ext uri="{FF2B5EF4-FFF2-40B4-BE49-F238E27FC236}">
                  <a16:creationId xmlns:a16="http://schemas.microsoft.com/office/drawing/2014/main" id="{ED39623D-A3B9-475C-8BF4-31E637F240CD}"/>
                </a:ext>
              </a:extLst>
            </p:cNvPr>
            <p:cNvSpPr/>
            <p:nvPr/>
          </p:nvSpPr>
          <p:spPr bwMode="auto">
            <a:xfrm>
              <a:off x="6098027" y="4479659"/>
              <a:ext cx="146580" cy="123436"/>
            </a:xfrm>
            <a:custGeom>
              <a:avLst/>
              <a:gdLst>
                <a:gd name="T0" fmla="*/ 39 w 40"/>
                <a:gd name="T1" fmla="*/ 17 h 34"/>
                <a:gd name="T2" fmla="*/ 19 w 40"/>
                <a:gd name="T3" fmla="*/ 0 h 34"/>
                <a:gd name="T4" fmla="*/ 0 w 40"/>
                <a:gd name="T5" fmla="*/ 17 h 34"/>
                <a:gd name="T6" fmla="*/ 20 w 40"/>
                <a:gd name="T7" fmla="*/ 34 h 34"/>
                <a:gd name="T8" fmla="*/ 39 w 4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4">
                  <a:moveTo>
                    <a:pt x="39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9" y="34"/>
                    <a:pt x="20" y="34"/>
                  </a:cubicBezTo>
                  <a:cubicBezTo>
                    <a:pt x="31" y="34"/>
                    <a:pt x="40" y="26"/>
                    <a:pt x="3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iŝḷîdé">
              <a:extLst>
                <a:ext uri="{FF2B5EF4-FFF2-40B4-BE49-F238E27FC236}">
                  <a16:creationId xmlns:a16="http://schemas.microsoft.com/office/drawing/2014/main" id="{F022ABFC-E18E-4E26-8F81-0D045211502A}"/>
                </a:ext>
              </a:extLst>
            </p:cNvPr>
            <p:cNvSpPr/>
            <p:nvPr/>
          </p:nvSpPr>
          <p:spPr bwMode="auto">
            <a:xfrm>
              <a:off x="6273923" y="4479659"/>
              <a:ext cx="145037" cy="123436"/>
            </a:xfrm>
            <a:custGeom>
              <a:avLst/>
              <a:gdLst>
                <a:gd name="T0" fmla="*/ 40 w 40"/>
                <a:gd name="T1" fmla="*/ 17 h 34"/>
                <a:gd name="T2" fmla="*/ 19 w 40"/>
                <a:gd name="T3" fmla="*/ 0 h 34"/>
                <a:gd name="T4" fmla="*/ 0 w 40"/>
                <a:gd name="T5" fmla="*/ 17 h 34"/>
                <a:gd name="T6" fmla="*/ 21 w 40"/>
                <a:gd name="T7" fmla="*/ 34 h 34"/>
                <a:gd name="T8" fmla="*/ 40 w 4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4">
                  <a:moveTo>
                    <a:pt x="40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6"/>
                    <a:pt x="10" y="34"/>
                    <a:pt x="21" y="34"/>
                  </a:cubicBezTo>
                  <a:cubicBezTo>
                    <a:pt x="32" y="34"/>
                    <a:pt x="40" y="26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ïṥļiḓe">
              <a:extLst>
                <a:ext uri="{FF2B5EF4-FFF2-40B4-BE49-F238E27FC236}">
                  <a16:creationId xmlns:a16="http://schemas.microsoft.com/office/drawing/2014/main" id="{5E9DA91E-E7A3-4277-9898-2F7BD6C07B90}"/>
                </a:ext>
              </a:extLst>
            </p:cNvPr>
            <p:cNvSpPr/>
            <p:nvPr/>
          </p:nvSpPr>
          <p:spPr bwMode="auto">
            <a:xfrm>
              <a:off x="6448276" y="4479659"/>
              <a:ext cx="149666" cy="123436"/>
            </a:xfrm>
            <a:custGeom>
              <a:avLst/>
              <a:gdLst>
                <a:gd name="T0" fmla="*/ 40 w 41"/>
                <a:gd name="T1" fmla="*/ 17 h 34"/>
                <a:gd name="T2" fmla="*/ 19 w 41"/>
                <a:gd name="T3" fmla="*/ 0 h 34"/>
                <a:gd name="T4" fmla="*/ 0 w 41"/>
                <a:gd name="T5" fmla="*/ 17 h 34"/>
                <a:gd name="T6" fmla="*/ 21 w 41"/>
                <a:gd name="T7" fmla="*/ 34 h 34"/>
                <a:gd name="T8" fmla="*/ 40 w 41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4">
                  <a:moveTo>
                    <a:pt x="40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6"/>
                    <a:pt x="10" y="34"/>
                    <a:pt x="21" y="34"/>
                  </a:cubicBezTo>
                  <a:cubicBezTo>
                    <a:pt x="32" y="34"/>
                    <a:pt x="41" y="26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ïŝ1ïďe">
              <a:extLst>
                <a:ext uri="{FF2B5EF4-FFF2-40B4-BE49-F238E27FC236}">
                  <a16:creationId xmlns:a16="http://schemas.microsoft.com/office/drawing/2014/main" id="{C97EA762-60F0-4FB2-B6F4-C0A2CFE0409E}"/>
                </a:ext>
              </a:extLst>
            </p:cNvPr>
            <p:cNvSpPr/>
            <p:nvPr/>
          </p:nvSpPr>
          <p:spPr bwMode="auto">
            <a:xfrm>
              <a:off x="6102656" y="4629325"/>
              <a:ext cx="148123" cy="128065"/>
            </a:xfrm>
            <a:custGeom>
              <a:avLst/>
              <a:gdLst>
                <a:gd name="T0" fmla="*/ 40 w 41"/>
                <a:gd name="T1" fmla="*/ 17 h 35"/>
                <a:gd name="T2" fmla="*/ 20 w 41"/>
                <a:gd name="T3" fmla="*/ 0 h 35"/>
                <a:gd name="T4" fmla="*/ 0 w 41"/>
                <a:gd name="T5" fmla="*/ 17 h 35"/>
                <a:gd name="T6" fmla="*/ 21 w 41"/>
                <a:gd name="T7" fmla="*/ 35 h 35"/>
                <a:gd name="T8" fmla="*/ 40 w 4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5">
                  <a:moveTo>
                    <a:pt x="40" y="17"/>
                  </a:moveTo>
                  <a:cubicBezTo>
                    <a:pt x="40" y="8"/>
                    <a:pt x="31" y="0"/>
                    <a:pt x="20" y="0"/>
                  </a:cubicBezTo>
                  <a:cubicBezTo>
                    <a:pt x="9" y="0"/>
                    <a:pt x="0" y="8"/>
                    <a:pt x="0" y="17"/>
                  </a:cubicBezTo>
                  <a:cubicBezTo>
                    <a:pt x="1" y="27"/>
                    <a:pt x="10" y="35"/>
                    <a:pt x="21" y="35"/>
                  </a:cubicBezTo>
                  <a:cubicBezTo>
                    <a:pt x="32" y="35"/>
                    <a:pt x="41" y="27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$ļíḋe">
              <a:extLst>
                <a:ext uri="{FF2B5EF4-FFF2-40B4-BE49-F238E27FC236}">
                  <a16:creationId xmlns:a16="http://schemas.microsoft.com/office/drawing/2014/main" id="{485C9B70-5609-4DB2-9656-086502C764D1}"/>
                </a:ext>
              </a:extLst>
            </p:cNvPr>
            <p:cNvSpPr/>
            <p:nvPr/>
          </p:nvSpPr>
          <p:spPr bwMode="auto">
            <a:xfrm>
              <a:off x="6280095" y="4629325"/>
              <a:ext cx="149666" cy="128065"/>
            </a:xfrm>
            <a:custGeom>
              <a:avLst/>
              <a:gdLst>
                <a:gd name="T0" fmla="*/ 40 w 41"/>
                <a:gd name="T1" fmla="*/ 17 h 35"/>
                <a:gd name="T2" fmla="*/ 19 w 41"/>
                <a:gd name="T3" fmla="*/ 0 h 35"/>
                <a:gd name="T4" fmla="*/ 0 w 41"/>
                <a:gd name="T5" fmla="*/ 17 h 35"/>
                <a:gd name="T6" fmla="*/ 21 w 41"/>
                <a:gd name="T7" fmla="*/ 35 h 35"/>
                <a:gd name="T8" fmla="*/ 40 w 4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5">
                  <a:moveTo>
                    <a:pt x="40" y="17"/>
                  </a:moveTo>
                  <a:cubicBezTo>
                    <a:pt x="40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7"/>
                    <a:pt x="10" y="35"/>
                    <a:pt x="21" y="35"/>
                  </a:cubicBezTo>
                  <a:cubicBezTo>
                    <a:pt x="32" y="35"/>
                    <a:pt x="41" y="27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íśḻiḓé">
              <a:extLst>
                <a:ext uri="{FF2B5EF4-FFF2-40B4-BE49-F238E27FC236}">
                  <a16:creationId xmlns:a16="http://schemas.microsoft.com/office/drawing/2014/main" id="{FCBCFBE8-A1E6-4215-9FB2-5047D79C4995}"/>
                </a:ext>
              </a:extLst>
            </p:cNvPr>
            <p:cNvSpPr/>
            <p:nvPr/>
          </p:nvSpPr>
          <p:spPr bwMode="auto">
            <a:xfrm>
              <a:off x="9524911" y="3222157"/>
              <a:ext cx="145037" cy="87948"/>
            </a:xfrm>
            <a:custGeom>
              <a:avLst/>
              <a:gdLst>
                <a:gd name="T0" fmla="*/ 37 w 40"/>
                <a:gd name="T1" fmla="*/ 12 h 24"/>
                <a:gd name="T2" fmla="*/ 14 w 40"/>
                <a:gd name="T3" fmla="*/ 0 h 24"/>
                <a:gd name="T4" fmla="*/ 3 w 40"/>
                <a:gd name="T5" fmla="*/ 12 h 24"/>
                <a:gd name="T6" fmla="*/ 26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4" y="0"/>
                    <a:pt x="0" y="5"/>
                    <a:pt x="3" y="12"/>
                  </a:cubicBezTo>
                  <a:cubicBezTo>
                    <a:pt x="6" y="19"/>
                    <a:pt x="16" y="24"/>
                    <a:pt x="26" y="24"/>
                  </a:cubicBezTo>
                  <a:cubicBezTo>
                    <a:pt x="35" y="24"/>
                    <a:pt x="40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ṩļïdè">
              <a:extLst>
                <a:ext uri="{FF2B5EF4-FFF2-40B4-BE49-F238E27FC236}">
                  <a16:creationId xmlns:a16="http://schemas.microsoft.com/office/drawing/2014/main" id="{6104E312-B2D3-4A17-B4CC-597FEB769A9F}"/>
                </a:ext>
              </a:extLst>
            </p:cNvPr>
            <p:cNvSpPr/>
            <p:nvPr/>
          </p:nvSpPr>
          <p:spPr bwMode="auto">
            <a:xfrm>
              <a:off x="9575829" y="3331707"/>
              <a:ext cx="149666" cy="91034"/>
            </a:xfrm>
            <a:custGeom>
              <a:avLst/>
              <a:gdLst>
                <a:gd name="T0" fmla="*/ 38 w 41"/>
                <a:gd name="T1" fmla="*/ 12 h 25"/>
                <a:gd name="T2" fmla="*/ 14 w 41"/>
                <a:gd name="T3" fmla="*/ 0 h 25"/>
                <a:gd name="T4" fmla="*/ 3 w 41"/>
                <a:gd name="T5" fmla="*/ 12 h 25"/>
                <a:gd name="T6" fmla="*/ 27 w 41"/>
                <a:gd name="T7" fmla="*/ 25 h 25"/>
                <a:gd name="T8" fmla="*/ 38 w 41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5">
                  <a:moveTo>
                    <a:pt x="38" y="12"/>
                  </a:moveTo>
                  <a:cubicBezTo>
                    <a:pt x="34" y="5"/>
                    <a:pt x="24" y="0"/>
                    <a:pt x="14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7" y="19"/>
                    <a:pt x="17" y="25"/>
                    <a:pt x="27" y="25"/>
                  </a:cubicBezTo>
                  <a:cubicBezTo>
                    <a:pt x="36" y="25"/>
                    <a:pt x="41" y="19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ïṡḻidè">
              <a:extLst>
                <a:ext uri="{FF2B5EF4-FFF2-40B4-BE49-F238E27FC236}">
                  <a16:creationId xmlns:a16="http://schemas.microsoft.com/office/drawing/2014/main" id="{2DD2913F-24F6-4C34-9661-18CB3FF3653D}"/>
                </a:ext>
              </a:extLst>
            </p:cNvPr>
            <p:cNvSpPr/>
            <p:nvPr/>
          </p:nvSpPr>
          <p:spPr bwMode="auto">
            <a:xfrm>
              <a:off x="9527997" y="3558520"/>
              <a:ext cx="154295" cy="98749"/>
            </a:xfrm>
            <a:custGeom>
              <a:avLst/>
              <a:gdLst>
                <a:gd name="T0" fmla="*/ 39 w 42"/>
                <a:gd name="T1" fmla="*/ 14 h 27"/>
                <a:gd name="T2" fmla="*/ 15 w 42"/>
                <a:gd name="T3" fmla="*/ 0 h 27"/>
                <a:gd name="T4" fmla="*/ 4 w 42"/>
                <a:gd name="T5" fmla="*/ 14 h 27"/>
                <a:gd name="T6" fmla="*/ 28 w 42"/>
                <a:gd name="T7" fmla="*/ 27 h 27"/>
                <a:gd name="T8" fmla="*/ 39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9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7" y="21"/>
                    <a:pt x="18" y="27"/>
                    <a:pt x="28" y="27"/>
                  </a:cubicBezTo>
                  <a:cubicBezTo>
                    <a:pt x="37" y="27"/>
                    <a:pt x="42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i$lïḋê">
              <a:extLst>
                <a:ext uri="{FF2B5EF4-FFF2-40B4-BE49-F238E27FC236}">
                  <a16:creationId xmlns:a16="http://schemas.microsoft.com/office/drawing/2014/main" id="{C78CA7D6-3347-4FD3-8BB1-40BEA668B09A}"/>
                </a:ext>
              </a:extLst>
            </p:cNvPr>
            <p:cNvSpPr/>
            <p:nvPr/>
          </p:nvSpPr>
          <p:spPr bwMode="auto">
            <a:xfrm>
              <a:off x="9480166" y="3803849"/>
              <a:ext cx="157381" cy="101834"/>
            </a:xfrm>
            <a:custGeom>
              <a:avLst/>
              <a:gdLst>
                <a:gd name="T0" fmla="*/ 39 w 43"/>
                <a:gd name="T1" fmla="*/ 14 h 28"/>
                <a:gd name="T2" fmla="*/ 15 w 43"/>
                <a:gd name="T3" fmla="*/ 0 h 28"/>
                <a:gd name="T4" fmla="*/ 3 w 43"/>
                <a:gd name="T5" fmla="*/ 14 h 28"/>
                <a:gd name="T6" fmla="*/ 28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2"/>
                    <a:pt x="17" y="28"/>
                    <a:pt x="28" y="28"/>
                  </a:cubicBezTo>
                  <a:cubicBezTo>
                    <a:pt x="38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íş1îḑé">
              <a:extLst>
                <a:ext uri="{FF2B5EF4-FFF2-40B4-BE49-F238E27FC236}">
                  <a16:creationId xmlns:a16="http://schemas.microsoft.com/office/drawing/2014/main" id="{F5646B5D-1828-4DF3-873B-211870177C69}"/>
                </a:ext>
              </a:extLst>
            </p:cNvPr>
            <p:cNvSpPr/>
            <p:nvPr/>
          </p:nvSpPr>
          <p:spPr bwMode="auto">
            <a:xfrm>
              <a:off x="9802641" y="3803849"/>
              <a:ext cx="160466" cy="101834"/>
            </a:xfrm>
            <a:custGeom>
              <a:avLst/>
              <a:gdLst>
                <a:gd name="T0" fmla="*/ 40 w 44"/>
                <a:gd name="T1" fmla="*/ 14 h 28"/>
                <a:gd name="T2" fmla="*/ 15 w 44"/>
                <a:gd name="T3" fmla="*/ 0 h 28"/>
                <a:gd name="T4" fmla="*/ 4 w 44"/>
                <a:gd name="T5" fmla="*/ 14 h 28"/>
                <a:gd name="T6" fmla="*/ 29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19" y="28"/>
                    <a:pt x="29" y="28"/>
                  </a:cubicBezTo>
                  <a:cubicBezTo>
                    <a:pt x="39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ïšľîdê">
              <a:extLst>
                <a:ext uri="{FF2B5EF4-FFF2-40B4-BE49-F238E27FC236}">
                  <a16:creationId xmlns:a16="http://schemas.microsoft.com/office/drawing/2014/main" id="{90247AF9-3ECF-4334-AD87-B9F3186F1F77}"/>
                </a:ext>
              </a:extLst>
            </p:cNvPr>
            <p:cNvSpPr/>
            <p:nvPr/>
          </p:nvSpPr>
          <p:spPr bwMode="auto">
            <a:xfrm>
              <a:off x="10126660" y="3803849"/>
              <a:ext cx="163552" cy="101834"/>
            </a:xfrm>
            <a:custGeom>
              <a:avLst/>
              <a:gdLst>
                <a:gd name="T0" fmla="*/ 41 w 45"/>
                <a:gd name="T1" fmla="*/ 14 h 28"/>
                <a:gd name="T2" fmla="*/ 15 w 45"/>
                <a:gd name="T3" fmla="*/ 0 h 28"/>
                <a:gd name="T4" fmla="*/ 4 w 45"/>
                <a:gd name="T5" fmla="*/ 14 h 28"/>
                <a:gd name="T6" fmla="*/ 30 w 45"/>
                <a:gd name="T7" fmla="*/ 28 h 28"/>
                <a:gd name="T8" fmla="*/ 41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1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îṧḻiďè">
              <a:extLst>
                <a:ext uri="{FF2B5EF4-FFF2-40B4-BE49-F238E27FC236}">
                  <a16:creationId xmlns:a16="http://schemas.microsoft.com/office/drawing/2014/main" id="{F61148AC-03CB-4562-9478-197A0ECC1D4D}"/>
                </a:ext>
              </a:extLst>
            </p:cNvPr>
            <p:cNvSpPr/>
            <p:nvPr/>
          </p:nvSpPr>
          <p:spPr bwMode="auto">
            <a:xfrm>
              <a:off x="8546683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15 w 39"/>
                <a:gd name="T3" fmla="*/ 0 h 26"/>
                <a:gd name="T4" fmla="*/ 2 w 39"/>
                <a:gd name="T5" fmla="*/ 12 h 26"/>
                <a:gd name="T6" fmla="*/ 24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4" y="5"/>
                    <a:pt x="25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20"/>
                    <a:pt x="14" y="26"/>
                    <a:pt x="24" y="26"/>
                  </a:cubicBezTo>
                  <a:cubicBezTo>
                    <a:pt x="34" y="26"/>
                    <a:pt x="39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îsḷïdé">
              <a:extLst>
                <a:ext uri="{FF2B5EF4-FFF2-40B4-BE49-F238E27FC236}">
                  <a16:creationId xmlns:a16="http://schemas.microsoft.com/office/drawing/2014/main" id="{EAED3C35-60DE-4B3A-82E2-6E5CBF58362A}"/>
                </a:ext>
              </a:extLst>
            </p:cNvPr>
            <p:cNvSpPr/>
            <p:nvPr/>
          </p:nvSpPr>
          <p:spPr bwMode="auto">
            <a:xfrm>
              <a:off x="9166947" y="3445885"/>
              <a:ext cx="146580" cy="94120"/>
            </a:xfrm>
            <a:custGeom>
              <a:avLst/>
              <a:gdLst>
                <a:gd name="T0" fmla="*/ 37 w 40"/>
                <a:gd name="T1" fmla="*/ 12 h 26"/>
                <a:gd name="T2" fmla="*/ 14 w 40"/>
                <a:gd name="T3" fmla="*/ 0 h 26"/>
                <a:gd name="T4" fmla="*/ 3 w 40"/>
                <a:gd name="T5" fmla="*/ 12 h 26"/>
                <a:gd name="T6" fmla="*/ 26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34" y="5"/>
                    <a:pt x="24" y="0"/>
                    <a:pt x="14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6" y="20"/>
                    <a:pt x="16" y="26"/>
                    <a:pt x="26" y="26"/>
                  </a:cubicBezTo>
                  <a:cubicBezTo>
                    <a:pt x="35" y="26"/>
                    <a:pt x="40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íṧ1íḋe">
              <a:extLst>
                <a:ext uri="{FF2B5EF4-FFF2-40B4-BE49-F238E27FC236}">
                  <a16:creationId xmlns:a16="http://schemas.microsoft.com/office/drawing/2014/main" id="{077AC731-E6A5-443F-B1A5-24A9C5AD05AD}"/>
                </a:ext>
              </a:extLst>
            </p:cNvPr>
            <p:cNvSpPr/>
            <p:nvPr/>
          </p:nvSpPr>
          <p:spPr bwMode="auto">
            <a:xfrm>
              <a:off x="9319700" y="3445885"/>
              <a:ext cx="149666" cy="94120"/>
            </a:xfrm>
            <a:custGeom>
              <a:avLst/>
              <a:gdLst>
                <a:gd name="T0" fmla="*/ 38 w 41"/>
                <a:gd name="T1" fmla="*/ 12 h 26"/>
                <a:gd name="T2" fmla="*/ 15 w 41"/>
                <a:gd name="T3" fmla="*/ 0 h 26"/>
                <a:gd name="T4" fmla="*/ 3 w 41"/>
                <a:gd name="T5" fmla="*/ 12 h 26"/>
                <a:gd name="T6" fmla="*/ 26 w 41"/>
                <a:gd name="T7" fmla="*/ 26 h 26"/>
                <a:gd name="T8" fmla="*/ 38 w 41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38" y="12"/>
                  </a:moveTo>
                  <a:cubicBezTo>
                    <a:pt x="35" y="5"/>
                    <a:pt x="24" y="0"/>
                    <a:pt x="15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6" y="20"/>
                    <a:pt x="17" y="26"/>
                    <a:pt x="26" y="26"/>
                  </a:cubicBezTo>
                  <a:cubicBezTo>
                    <a:pt x="36" y="26"/>
                    <a:pt x="41" y="20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ïṥḻiḓé">
              <a:extLst>
                <a:ext uri="{FF2B5EF4-FFF2-40B4-BE49-F238E27FC236}">
                  <a16:creationId xmlns:a16="http://schemas.microsoft.com/office/drawing/2014/main" id="{83DE3645-0EEF-4E2B-AB9A-6E07FCBCAF86}"/>
                </a:ext>
              </a:extLst>
            </p:cNvPr>
            <p:cNvSpPr/>
            <p:nvPr/>
          </p:nvSpPr>
          <p:spPr bwMode="auto">
            <a:xfrm>
              <a:off x="8744180" y="3558520"/>
              <a:ext cx="145037" cy="98749"/>
            </a:xfrm>
            <a:custGeom>
              <a:avLst/>
              <a:gdLst>
                <a:gd name="T0" fmla="*/ 38 w 40"/>
                <a:gd name="T1" fmla="*/ 14 h 27"/>
                <a:gd name="T2" fmla="*/ 15 w 40"/>
                <a:gd name="T3" fmla="*/ 0 h 27"/>
                <a:gd name="T4" fmla="*/ 2 w 40"/>
                <a:gd name="T5" fmla="*/ 14 h 27"/>
                <a:gd name="T6" fmla="*/ 25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2" y="14"/>
                  </a:cubicBezTo>
                  <a:cubicBezTo>
                    <a:pt x="5" y="21"/>
                    <a:pt x="15" y="27"/>
                    <a:pt x="25" y="27"/>
                  </a:cubicBezTo>
                  <a:cubicBezTo>
                    <a:pt x="35" y="27"/>
                    <a:pt x="40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íṡḻïďe">
              <a:extLst>
                <a:ext uri="{FF2B5EF4-FFF2-40B4-BE49-F238E27FC236}">
                  <a16:creationId xmlns:a16="http://schemas.microsoft.com/office/drawing/2014/main" id="{96AF7322-92E5-4E36-89F1-7B1439813175}"/>
                </a:ext>
              </a:extLst>
            </p:cNvPr>
            <p:cNvSpPr/>
            <p:nvPr/>
          </p:nvSpPr>
          <p:spPr bwMode="auto">
            <a:xfrm>
              <a:off x="8900018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15 w 41"/>
                <a:gd name="T3" fmla="*/ 0 h 27"/>
                <a:gd name="T4" fmla="*/ 3 w 41"/>
                <a:gd name="T5" fmla="*/ 14 h 27"/>
                <a:gd name="T6" fmla="*/ 2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5" y="21"/>
                    <a:pt x="16" y="27"/>
                    <a:pt x="26" y="27"/>
                  </a:cubicBezTo>
                  <a:cubicBezTo>
                    <a:pt x="35" y="27"/>
                    <a:pt x="41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sľiḍè">
              <a:extLst>
                <a:ext uri="{FF2B5EF4-FFF2-40B4-BE49-F238E27FC236}">
                  <a16:creationId xmlns:a16="http://schemas.microsoft.com/office/drawing/2014/main" id="{6BCF9C3D-87A5-4BFE-959E-ED8CE179BE0E}"/>
                </a:ext>
              </a:extLst>
            </p:cNvPr>
            <p:cNvSpPr/>
            <p:nvPr/>
          </p:nvSpPr>
          <p:spPr bwMode="auto">
            <a:xfrm>
              <a:off x="9057399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15 w 41"/>
                <a:gd name="T3" fmla="*/ 0 h 27"/>
                <a:gd name="T4" fmla="*/ 3 w 41"/>
                <a:gd name="T5" fmla="*/ 14 h 27"/>
                <a:gd name="T6" fmla="*/ 2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1"/>
                    <a:pt x="16" y="27"/>
                    <a:pt x="26" y="27"/>
                  </a:cubicBezTo>
                  <a:cubicBezTo>
                    <a:pt x="36" y="27"/>
                    <a:pt x="41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îSlïḍe">
              <a:extLst>
                <a:ext uri="{FF2B5EF4-FFF2-40B4-BE49-F238E27FC236}">
                  <a16:creationId xmlns:a16="http://schemas.microsoft.com/office/drawing/2014/main" id="{02747117-83CD-4A89-B625-0A78726185DC}"/>
                </a:ext>
              </a:extLst>
            </p:cNvPr>
            <p:cNvSpPr/>
            <p:nvPr/>
          </p:nvSpPr>
          <p:spPr bwMode="auto">
            <a:xfrm>
              <a:off x="9214779" y="3558520"/>
              <a:ext cx="152752" cy="98749"/>
            </a:xfrm>
            <a:custGeom>
              <a:avLst/>
              <a:gdLst>
                <a:gd name="T0" fmla="*/ 38 w 42"/>
                <a:gd name="T1" fmla="*/ 14 h 27"/>
                <a:gd name="T2" fmla="*/ 15 w 42"/>
                <a:gd name="T3" fmla="*/ 0 h 27"/>
                <a:gd name="T4" fmla="*/ 3 w 42"/>
                <a:gd name="T5" fmla="*/ 14 h 27"/>
                <a:gd name="T6" fmla="*/ 27 w 42"/>
                <a:gd name="T7" fmla="*/ 27 h 27"/>
                <a:gd name="T8" fmla="*/ 38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1"/>
                    <a:pt x="17" y="27"/>
                    <a:pt x="27" y="27"/>
                  </a:cubicBezTo>
                  <a:cubicBezTo>
                    <a:pt x="36" y="27"/>
                    <a:pt x="42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iṣḻîḍé">
              <a:extLst>
                <a:ext uri="{FF2B5EF4-FFF2-40B4-BE49-F238E27FC236}">
                  <a16:creationId xmlns:a16="http://schemas.microsoft.com/office/drawing/2014/main" id="{5D5C354C-7B62-40CD-ADDE-EF8B98C6C073}"/>
                </a:ext>
              </a:extLst>
            </p:cNvPr>
            <p:cNvSpPr/>
            <p:nvPr/>
          </p:nvSpPr>
          <p:spPr bwMode="auto">
            <a:xfrm>
              <a:off x="9370616" y="3558520"/>
              <a:ext cx="154295" cy="98749"/>
            </a:xfrm>
            <a:custGeom>
              <a:avLst/>
              <a:gdLst>
                <a:gd name="T0" fmla="*/ 39 w 42"/>
                <a:gd name="T1" fmla="*/ 14 h 27"/>
                <a:gd name="T2" fmla="*/ 15 w 42"/>
                <a:gd name="T3" fmla="*/ 0 h 27"/>
                <a:gd name="T4" fmla="*/ 3 w 42"/>
                <a:gd name="T5" fmla="*/ 14 h 27"/>
                <a:gd name="T6" fmla="*/ 27 w 42"/>
                <a:gd name="T7" fmla="*/ 27 h 27"/>
                <a:gd name="T8" fmla="*/ 39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9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7" y="21"/>
                    <a:pt x="17" y="27"/>
                    <a:pt x="27" y="27"/>
                  </a:cubicBezTo>
                  <a:cubicBezTo>
                    <a:pt x="37" y="27"/>
                    <a:pt x="42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îṥḷíďé">
              <a:extLst>
                <a:ext uri="{FF2B5EF4-FFF2-40B4-BE49-F238E27FC236}">
                  <a16:creationId xmlns:a16="http://schemas.microsoft.com/office/drawing/2014/main" id="{939D7A80-F311-4D91-96B7-635B0D45F813}"/>
                </a:ext>
              </a:extLst>
            </p:cNvPr>
            <p:cNvSpPr/>
            <p:nvPr/>
          </p:nvSpPr>
          <p:spPr bwMode="auto">
            <a:xfrm>
              <a:off x="9842758" y="3558520"/>
              <a:ext cx="155838" cy="98749"/>
            </a:xfrm>
            <a:custGeom>
              <a:avLst/>
              <a:gdLst>
                <a:gd name="T0" fmla="*/ 39 w 43"/>
                <a:gd name="T1" fmla="*/ 14 h 27"/>
                <a:gd name="T2" fmla="*/ 15 w 43"/>
                <a:gd name="T3" fmla="*/ 0 h 27"/>
                <a:gd name="T4" fmla="*/ 4 w 43"/>
                <a:gd name="T5" fmla="*/ 14 h 27"/>
                <a:gd name="T6" fmla="*/ 28 w 43"/>
                <a:gd name="T7" fmla="*/ 27 h 27"/>
                <a:gd name="T8" fmla="*/ 39 w 43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7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1"/>
                    <a:pt x="19" y="27"/>
                    <a:pt x="28" y="27"/>
                  </a:cubicBezTo>
                  <a:cubicBezTo>
                    <a:pt x="38" y="27"/>
                    <a:pt x="43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ïṣ1iḑé">
              <a:extLst>
                <a:ext uri="{FF2B5EF4-FFF2-40B4-BE49-F238E27FC236}">
                  <a16:creationId xmlns:a16="http://schemas.microsoft.com/office/drawing/2014/main" id="{022D56A1-8E69-4EC3-8086-22090BC25AAC}"/>
                </a:ext>
              </a:extLst>
            </p:cNvPr>
            <p:cNvSpPr/>
            <p:nvPr/>
          </p:nvSpPr>
          <p:spPr bwMode="auto">
            <a:xfrm>
              <a:off x="9998596" y="3558520"/>
              <a:ext cx="160466" cy="98749"/>
            </a:xfrm>
            <a:custGeom>
              <a:avLst/>
              <a:gdLst>
                <a:gd name="T0" fmla="*/ 40 w 44"/>
                <a:gd name="T1" fmla="*/ 14 h 27"/>
                <a:gd name="T2" fmla="*/ 15 w 44"/>
                <a:gd name="T3" fmla="*/ 0 h 27"/>
                <a:gd name="T4" fmla="*/ 4 w 44"/>
                <a:gd name="T5" fmla="*/ 14 h 27"/>
                <a:gd name="T6" fmla="*/ 29 w 44"/>
                <a:gd name="T7" fmla="*/ 27 h 27"/>
                <a:gd name="T8" fmla="*/ 40 w 44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7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1"/>
                    <a:pt x="19" y="27"/>
                    <a:pt x="29" y="27"/>
                  </a:cubicBezTo>
                  <a:cubicBezTo>
                    <a:pt x="39" y="27"/>
                    <a:pt x="44" y="21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íṥ1îďê">
              <a:extLst>
                <a:ext uri="{FF2B5EF4-FFF2-40B4-BE49-F238E27FC236}">
                  <a16:creationId xmlns:a16="http://schemas.microsoft.com/office/drawing/2014/main" id="{27953DD3-C1F1-4404-A05D-109EA08AAF13}"/>
                </a:ext>
              </a:extLst>
            </p:cNvPr>
            <p:cNvSpPr/>
            <p:nvPr/>
          </p:nvSpPr>
          <p:spPr bwMode="auto">
            <a:xfrm>
              <a:off x="8787383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15 w 41"/>
                <a:gd name="T3" fmla="*/ 0 h 28"/>
                <a:gd name="T4" fmla="*/ 2 w 41"/>
                <a:gd name="T5" fmla="*/ 14 h 28"/>
                <a:gd name="T6" fmla="*/ 25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2" y="14"/>
                  </a:cubicBezTo>
                  <a:cubicBezTo>
                    <a:pt x="5" y="22"/>
                    <a:pt x="16" y="28"/>
                    <a:pt x="25" y="28"/>
                  </a:cubicBezTo>
                  <a:cubicBezTo>
                    <a:pt x="35" y="28"/>
                    <a:pt x="41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i$ľîḓe">
              <a:extLst>
                <a:ext uri="{FF2B5EF4-FFF2-40B4-BE49-F238E27FC236}">
                  <a16:creationId xmlns:a16="http://schemas.microsoft.com/office/drawing/2014/main" id="{9CCAA5E0-A6A1-4EC7-A475-D4560B88339B}"/>
                </a:ext>
              </a:extLst>
            </p:cNvPr>
            <p:cNvSpPr/>
            <p:nvPr/>
          </p:nvSpPr>
          <p:spPr bwMode="auto">
            <a:xfrm>
              <a:off x="8944763" y="3678869"/>
              <a:ext cx="152752" cy="103378"/>
            </a:xfrm>
            <a:custGeom>
              <a:avLst/>
              <a:gdLst>
                <a:gd name="T0" fmla="*/ 39 w 42"/>
                <a:gd name="T1" fmla="*/ 14 h 28"/>
                <a:gd name="T2" fmla="*/ 16 w 42"/>
                <a:gd name="T3" fmla="*/ 0 h 28"/>
                <a:gd name="T4" fmla="*/ 3 w 42"/>
                <a:gd name="T5" fmla="*/ 14 h 28"/>
                <a:gd name="T6" fmla="*/ 27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36" y="6"/>
                    <a:pt x="26" y="0"/>
                    <a:pt x="16" y="0"/>
                  </a:cubicBezTo>
                  <a:cubicBezTo>
                    <a:pt x="6" y="0"/>
                    <a:pt x="0" y="6"/>
                    <a:pt x="3" y="14"/>
                  </a:cubicBezTo>
                  <a:cubicBezTo>
                    <a:pt x="6" y="22"/>
                    <a:pt x="17" y="28"/>
                    <a:pt x="27" y="28"/>
                  </a:cubicBezTo>
                  <a:cubicBezTo>
                    <a:pt x="37" y="28"/>
                    <a:pt x="42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ïS1îde">
              <a:extLst>
                <a:ext uri="{FF2B5EF4-FFF2-40B4-BE49-F238E27FC236}">
                  <a16:creationId xmlns:a16="http://schemas.microsoft.com/office/drawing/2014/main" id="{DF9A64E5-E4DE-40A2-805B-C357C59C86F1}"/>
                </a:ext>
              </a:extLst>
            </p:cNvPr>
            <p:cNvSpPr/>
            <p:nvPr/>
          </p:nvSpPr>
          <p:spPr bwMode="auto">
            <a:xfrm>
              <a:off x="9583543" y="3678869"/>
              <a:ext cx="155838" cy="103378"/>
            </a:xfrm>
            <a:custGeom>
              <a:avLst/>
              <a:gdLst>
                <a:gd name="T0" fmla="*/ 40 w 43"/>
                <a:gd name="T1" fmla="*/ 14 h 28"/>
                <a:gd name="T2" fmla="*/ 15 w 43"/>
                <a:gd name="T3" fmla="*/ 0 h 28"/>
                <a:gd name="T4" fmla="*/ 4 w 43"/>
                <a:gd name="T5" fmla="*/ 14 h 28"/>
                <a:gd name="T6" fmla="*/ 28 w 43"/>
                <a:gd name="T7" fmla="*/ 28 h 28"/>
                <a:gd name="T8" fmla="*/ 40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7" y="22"/>
                    <a:pt x="18" y="28"/>
                    <a:pt x="28" y="28"/>
                  </a:cubicBezTo>
                  <a:cubicBezTo>
                    <a:pt x="38" y="28"/>
                    <a:pt x="43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ïṧ1íḍè">
              <a:extLst>
                <a:ext uri="{FF2B5EF4-FFF2-40B4-BE49-F238E27FC236}">
                  <a16:creationId xmlns:a16="http://schemas.microsoft.com/office/drawing/2014/main" id="{A98BC226-1C68-4FE9-BCF2-3D23038FFE14}"/>
                </a:ext>
              </a:extLst>
            </p:cNvPr>
            <p:cNvSpPr/>
            <p:nvPr/>
          </p:nvSpPr>
          <p:spPr bwMode="auto">
            <a:xfrm>
              <a:off x="10064942" y="3678869"/>
              <a:ext cx="157381" cy="103378"/>
            </a:xfrm>
            <a:custGeom>
              <a:avLst/>
              <a:gdLst>
                <a:gd name="T0" fmla="*/ 39 w 43"/>
                <a:gd name="T1" fmla="*/ 14 h 28"/>
                <a:gd name="T2" fmla="*/ 14 w 43"/>
                <a:gd name="T3" fmla="*/ 0 h 28"/>
                <a:gd name="T4" fmla="*/ 4 w 43"/>
                <a:gd name="T5" fmla="*/ 14 h 28"/>
                <a:gd name="T6" fmla="*/ 29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5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7" y="22"/>
                    <a:pt x="19" y="28"/>
                    <a:pt x="29" y="28"/>
                  </a:cubicBezTo>
                  <a:cubicBezTo>
                    <a:pt x="39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íṩlïḋê">
              <a:extLst>
                <a:ext uri="{FF2B5EF4-FFF2-40B4-BE49-F238E27FC236}">
                  <a16:creationId xmlns:a16="http://schemas.microsoft.com/office/drawing/2014/main" id="{CA7A02E1-A15E-409E-9901-F8EE132A73FD}"/>
                </a:ext>
              </a:extLst>
            </p:cNvPr>
            <p:cNvSpPr/>
            <p:nvPr/>
          </p:nvSpPr>
          <p:spPr bwMode="auto">
            <a:xfrm>
              <a:off x="10222323" y="3678869"/>
              <a:ext cx="160466" cy="103378"/>
            </a:xfrm>
            <a:custGeom>
              <a:avLst/>
              <a:gdLst>
                <a:gd name="T0" fmla="*/ 40 w 44"/>
                <a:gd name="T1" fmla="*/ 14 h 28"/>
                <a:gd name="T2" fmla="*/ 15 w 44"/>
                <a:gd name="T3" fmla="*/ 0 h 28"/>
                <a:gd name="T4" fmla="*/ 4 w 44"/>
                <a:gd name="T5" fmla="*/ 14 h 28"/>
                <a:gd name="T6" fmla="*/ 30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íṡļîḍê">
              <a:extLst>
                <a:ext uri="{FF2B5EF4-FFF2-40B4-BE49-F238E27FC236}">
                  <a16:creationId xmlns:a16="http://schemas.microsoft.com/office/drawing/2014/main" id="{494FE92A-FAFA-4FA4-9393-6B44FF15DCC2}"/>
                </a:ext>
              </a:extLst>
            </p:cNvPr>
            <p:cNvSpPr/>
            <p:nvPr/>
          </p:nvSpPr>
          <p:spPr bwMode="auto">
            <a:xfrm>
              <a:off x="10382789" y="3678869"/>
              <a:ext cx="160466" cy="103378"/>
            </a:xfrm>
            <a:custGeom>
              <a:avLst/>
              <a:gdLst>
                <a:gd name="T0" fmla="*/ 40 w 44"/>
                <a:gd name="T1" fmla="*/ 14 h 28"/>
                <a:gd name="T2" fmla="*/ 14 w 44"/>
                <a:gd name="T3" fmla="*/ 0 h 28"/>
                <a:gd name="T4" fmla="*/ 4 w 44"/>
                <a:gd name="T5" fmla="*/ 14 h 28"/>
                <a:gd name="T6" fmla="*/ 30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9" y="22"/>
                    <a:pt x="20" y="28"/>
                    <a:pt x="30" y="28"/>
                  </a:cubicBezTo>
                  <a:cubicBezTo>
                    <a:pt x="40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iṣḷiḍe">
              <a:extLst>
                <a:ext uri="{FF2B5EF4-FFF2-40B4-BE49-F238E27FC236}">
                  <a16:creationId xmlns:a16="http://schemas.microsoft.com/office/drawing/2014/main" id="{25EDA387-47C4-4A82-BAA4-CE93276A5DEC}"/>
                </a:ext>
              </a:extLst>
            </p:cNvPr>
            <p:cNvSpPr/>
            <p:nvPr/>
          </p:nvSpPr>
          <p:spPr bwMode="auto">
            <a:xfrm>
              <a:off x="9156147" y="3803849"/>
              <a:ext cx="157381" cy="101834"/>
            </a:xfrm>
            <a:custGeom>
              <a:avLst/>
              <a:gdLst>
                <a:gd name="T0" fmla="*/ 39 w 43"/>
                <a:gd name="T1" fmla="*/ 14 h 28"/>
                <a:gd name="T2" fmla="*/ 15 w 43"/>
                <a:gd name="T3" fmla="*/ 0 h 28"/>
                <a:gd name="T4" fmla="*/ 3 w 43"/>
                <a:gd name="T5" fmla="*/ 14 h 28"/>
                <a:gd name="T6" fmla="*/ 27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2"/>
                    <a:pt x="17" y="28"/>
                    <a:pt x="27" y="28"/>
                  </a:cubicBezTo>
                  <a:cubicBezTo>
                    <a:pt x="37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íšḷîḑê">
              <a:extLst>
                <a:ext uri="{FF2B5EF4-FFF2-40B4-BE49-F238E27FC236}">
                  <a16:creationId xmlns:a16="http://schemas.microsoft.com/office/drawing/2014/main" id="{588E7B58-FA46-431A-806A-1EF8CF5E9269}"/>
                </a:ext>
              </a:extLst>
            </p:cNvPr>
            <p:cNvSpPr/>
            <p:nvPr/>
          </p:nvSpPr>
          <p:spPr bwMode="auto">
            <a:xfrm>
              <a:off x="9316614" y="3803849"/>
              <a:ext cx="157381" cy="101834"/>
            </a:xfrm>
            <a:custGeom>
              <a:avLst/>
              <a:gdLst>
                <a:gd name="T0" fmla="*/ 40 w 43"/>
                <a:gd name="T1" fmla="*/ 14 h 28"/>
                <a:gd name="T2" fmla="*/ 16 w 43"/>
                <a:gd name="T3" fmla="*/ 0 h 28"/>
                <a:gd name="T4" fmla="*/ 3 w 43"/>
                <a:gd name="T5" fmla="*/ 14 h 28"/>
                <a:gd name="T6" fmla="*/ 28 w 43"/>
                <a:gd name="T7" fmla="*/ 28 h 28"/>
                <a:gd name="T8" fmla="*/ 40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40" y="14"/>
                  </a:moveTo>
                  <a:cubicBezTo>
                    <a:pt x="36" y="6"/>
                    <a:pt x="26" y="0"/>
                    <a:pt x="16" y="0"/>
                  </a:cubicBezTo>
                  <a:cubicBezTo>
                    <a:pt x="6" y="0"/>
                    <a:pt x="0" y="6"/>
                    <a:pt x="3" y="14"/>
                  </a:cubicBezTo>
                  <a:cubicBezTo>
                    <a:pt x="7" y="22"/>
                    <a:pt x="18" y="28"/>
                    <a:pt x="28" y="28"/>
                  </a:cubicBezTo>
                  <a:cubicBezTo>
                    <a:pt x="38" y="28"/>
                    <a:pt x="43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ísļïḍé">
              <a:extLst>
                <a:ext uri="{FF2B5EF4-FFF2-40B4-BE49-F238E27FC236}">
                  <a16:creationId xmlns:a16="http://schemas.microsoft.com/office/drawing/2014/main" id="{67B1D6C6-D15E-4A73-9184-D61275218232}"/>
                </a:ext>
              </a:extLst>
            </p:cNvPr>
            <p:cNvSpPr/>
            <p:nvPr/>
          </p:nvSpPr>
          <p:spPr bwMode="auto">
            <a:xfrm>
              <a:off x="10290213" y="3803849"/>
              <a:ext cx="165096" cy="101834"/>
            </a:xfrm>
            <a:custGeom>
              <a:avLst/>
              <a:gdLst>
                <a:gd name="T0" fmla="*/ 40 w 45"/>
                <a:gd name="T1" fmla="*/ 14 h 28"/>
                <a:gd name="T2" fmla="*/ 14 w 45"/>
                <a:gd name="T3" fmla="*/ 0 h 28"/>
                <a:gd name="T4" fmla="*/ 4 w 45"/>
                <a:gd name="T5" fmla="*/ 14 h 28"/>
                <a:gd name="T6" fmla="*/ 30 w 45"/>
                <a:gd name="T7" fmla="*/ 28 h 28"/>
                <a:gd name="T8" fmla="*/ 40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0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5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îslîdé">
              <a:extLst>
                <a:ext uri="{FF2B5EF4-FFF2-40B4-BE49-F238E27FC236}">
                  <a16:creationId xmlns:a16="http://schemas.microsoft.com/office/drawing/2014/main" id="{E6509447-98E2-4544-BD78-A2EAE69F8BD7}"/>
                </a:ext>
              </a:extLst>
            </p:cNvPr>
            <p:cNvSpPr/>
            <p:nvPr/>
          </p:nvSpPr>
          <p:spPr bwMode="auto">
            <a:xfrm>
              <a:off x="10452222" y="3803849"/>
              <a:ext cx="163552" cy="101834"/>
            </a:xfrm>
            <a:custGeom>
              <a:avLst/>
              <a:gdLst>
                <a:gd name="T0" fmla="*/ 41 w 45"/>
                <a:gd name="T1" fmla="*/ 14 h 28"/>
                <a:gd name="T2" fmla="*/ 14 w 45"/>
                <a:gd name="T3" fmla="*/ 0 h 28"/>
                <a:gd name="T4" fmla="*/ 4 w 45"/>
                <a:gd name="T5" fmla="*/ 14 h 28"/>
                <a:gd name="T6" fmla="*/ 31 w 45"/>
                <a:gd name="T7" fmla="*/ 28 h 28"/>
                <a:gd name="T8" fmla="*/ 41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1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9" y="22"/>
                    <a:pt x="20" y="28"/>
                    <a:pt x="31" y="28"/>
                  </a:cubicBezTo>
                  <a:cubicBezTo>
                    <a:pt x="41" y="28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îṡḻîḍè">
              <a:extLst>
                <a:ext uri="{FF2B5EF4-FFF2-40B4-BE49-F238E27FC236}">
                  <a16:creationId xmlns:a16="http://schemas.microsoft.com/office/drawing/2014/main" id="{DF2942A7-2F00-4958-9CCD-C811C8FEB478}"/>
                </a:ext>
              </a:extLst>
            </p:cNvPr>
            <p:cNvSpPr/>
            <p:nvPr/>
          </p:nvSpPr>
          <p:spPr bwMode="auto">
            <a:xfrm>
              <a:off x="11348674" y="4198843"/>
              <a:ext cx="183611" cy="112636"/>
            </a:xfrm>
            <a:custGeom>
              <a:avLst/>
              <a:gdLst>
                <a:gd name="T0" fmla="*/ 44 w 50"/>
                <a:gd name="T1" fmla="*/ 15 h 31"/>
                <a:gd name="T2" fmla="*/ 15 w 50"/>
                <a:gd name="T3" fmla="*/ 0 h 31"/>
                <a:gd name="T4" fmla="*/ 6 w 50"/>
                <a:gd name="T5" fmla="*/ 15 h 31"/>
                <a:gd name="T6" fmla="*/ 35 w 50"/>
                <a:gd name="T7" fmla="*/ 31 h 31"/>
                <a:gd name="T8" fmla="*/ 44 w 5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1">
                  <a:moveTo>
                    <a:pt x="44" y="15"/>
                  </a:moveTo>
                  <a:cubicBezTo>
                    <a:pt x="38" y="7"/>
                    <a:pt x="25" y="0"/>
                    <a:pt x="15" y="0"/>
                  </a:cubicBezTo>
                  <a:cubicBezTo>
                    <a:pt x="5" y="0"/>
                    <a:pt x="0" y="7"/>
                    <a:pt x="6" y="15"/>
                  </a:cubicBezTo>
                  <a:cubicBezTo>
                    <a:pt x="11" y="24"/>
                    <a:pt x="24" y="31"/>
                    <a:pt x="35" y="31"/>
                  </a:cubicBezTo>
                  <a:cubicBezTo>
                    <a:pt x="46" y="31"/>
                    <a:pt x="50" y="24"/>
                    <a:pt x="4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îśļíḑè">
              <a:extLst>
                <a:ext uri="{FF2B5EF4-FFF2-40B4-BE49-F238E27FC236}">
                  <a16:creationId xmlns:a16="http://schemas.microsoft.com/office/drawing/2014/main" id="{68155474-431D-43EE-B9D3-78D305659175}"/>
                </a:ext>
              </a:extLst>
            </p:cNvPr>
            <p:cNvSpPr/>
            <p:nvPr/>
          </p:nvSpPr>
          <p:spPr bwMode="auto">
            <a:xfrm>
              <a:off x="10027912" y="3931913"/>
              <a:ext cx="165096" cy="104920"/>
            </a:xfrm>
            <a:custGeom>
              <a:avLst/>
              <a:gdLst>
                <a:gd name="T0" fmla="*/ 41 w 45"/>
                <a:gd name="T1" fmla="*/ 14 h 29"/>
                <a:gd name="T2" fmla="*/ 15 w 45"/>
                <a:gd name="T3" fmla="*/ 0 h 29"/>
                <a:gd name="T4" fmla="*/ 4 w 45"/>
                <a:gd name="T5" fmla="*/ 14 h 29"/>
                <a:gd name="T6" fmla="*/ 30 w 45"/>
                <a:gd name="T7" fmla="*/ 29 h 29"/>
                <a:gd name="T8" fmla="*/ 41 w 45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41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9"/>
                    <a:pt x="30" y="29"/>
                  </a:cubicBezTo>
                  <a:cubicBezTo>
                    <a:pt x="40" y="29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íŝľïďé">
              <a:extLst>
                <a:ext uri="{FF2B5EF4-FFF2-40B4-BE49-F238E27FC236}">
                  <a16:creationId xmlns:a16="http://schemas.microsoft.com/office/drawing/2014/main" id="{48A3649A-D6D8-402D-AB18-F2E92ED6924A}"/>
                </a:ext>
              </a:extLst>
            </p:cNvPr>
            <p:cNvSpPr/>
            <p:nvPr/>
          </p:nvSpPr>
          <p:spPr bwMode="auto">
            <a:xfrm>
              <a:off x="10356560" y="3931913"/>
              <a:ext cx="168182" cy="104920"/>
            </a:xfrm>
            <a:custGeom>
              <a:avLst/>
              <a:gdLst>
                <a:gd name="T0" fmla="*/ 42 w 46"/>
                <a:gd name="T1" fmla="*/ 14 h 29"/>
                <a:gd name="T2" fmla="*/ 15 w 46"/>
                <a:gd name="T3" fmla="*/ 0 h 29"/>
                <a:gd name="T4" fmla="*/ 5 w 46"/>
                <a:gd name="T5" fmla="*/ 14 h 29"/>
                <a:gd name="T6" fmla="*/ 31 w 46"/>
                <a:gd name="T7" fmla="*/ 29 h 29"/>
                <a:gd name="T8" fmla="*/ 42 w 46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9">
                  <a:moveTo>
                    <a:pt x="42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5" y="14"/>
                  </a:cubicBezTo>
                  <a:cubicBezTo>
                    <a:pt x="9" y="22"/>
                    <a:pt x="21" y="29"/>
                    <a:pt x="31" y="29"/>
                  </a:cubicBezTo>
                  <a:cubicBezTo>
                    <a:pt x="42" y="29"/>
                    <a:pt x="46" y="22"/>
                    <a:pt x="42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îšḻíḍe">
              <a:extLst>
                <a:ext uri="{FF2B5EF4-FFF2-40B4-BE49-F238E27FC236}">
                  <a16:creationId xmlns:a16="http://schemas.microsoft.com/office/drawing/2014/main" id="{F9332D68-0811-4AEF-9537-C4D7F0DAFE37}"/>
                </a:ext>
              </a:extLst>
            </p:cNvPr>
            <p:cNvSpPr/>
            <p:nvPr/>
          </p:nvSpPr>
          <p:spPr bwMode="auto">
            <a:xfrm>
              <a:off x="9762525" y="4063064"/>
              <a:ext cx="163552" cy="109550"/>
            </a:xfrm>
            <a:custGeom>
              <a:avLst/>
              <a:gdLst>
                <a:gd name="T0" fmla="*/ 41 w 45"/>
                <a:gd name="T1" fmla="*/ 15 h 30"/>
                <a:gd name="T2" fmla="*/ 15 w 45"/>
                <a:gd name="T3" fmla="*/ 0 h 30"/>
                <a:gd name="T4" fmla="*/ 3 w 45"/>
                <a:gd name="T5" fmla="*/ 15 h 30"/>
                <a:gd name="T6" fmla="*/ 29 w 45"/>
                <a:gd name="T7" fmla="*/ 30 h 30"/>
                <a:gd name="T8" fmla="*/ 41 w 45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0">
                  <a:moveTo>
                    <a:pt x="41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3" y="15"/>
                  </a:cubicBezTo>
                  <a:cubicBezTo>
                    <a:pt x="7" y="23"/>
                    <a:pt x="19" y="30"/>
                    <a:pt x="29" y="30"/>
                  </a:cubicBezTo>
                  <a:cubicBezTo>
                    <a:pt x="40" y="30"/>
                    <a:pt x="45" y="23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iṩḻïďè">
              <a:extLst>
                <a:ext uri="{FF2B5EF4-FFF2-40B4-BE49-F238E27FC236}">
                  <a16:creationId xmlns:a16="http://schemas.microsoft.com/office/drawing/2014/main" id="{9FD61DBC-C8ED-45D1-9889-2AE1D7838949}"/>
                </a:ext>
              </a:extLst>
            </p:cNvPr>
            <p:cNvSpPr/>
            <p:nvPr/>
          </p:nvSpPr>
          <p:spPr bwMode="auto">
            <a:xfrm>
              <a:off x="9926077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6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8" y="6"/>
                    <a:pt x="26" y="0"/>
                    <a:pt x="16" y="0"/>
                  </a:cubicBezTo>
                  <a:cubicBezTo>
                    <a:pt x="6" y="0"/>
                    <a:pt x="0" y="6"/>
                    <a:pt x="4" y="15"/>
                  </a:cubicBezTo>
                  <a:cubicBezTo>
                    <a:pt x="8" y="23"/>
                    <a:pt x="20" y="30"/>
                    <a:pt x="31" y="30"/>
                  </a:cubicBezTo>
                  <a:cubicBezTo>
                    <a:pt x="41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îṡļiḍe">
              <a:extLst>
                <a:ext uri="{FF2B5EF4-FFF2-40B4-BE49-F238E27FC236}">
                  <a16:creationId xmlns:a16="http://schemas.microsoft.com/office/drawing/2014/main" id="{E20D283B-FC31-4C83-A733-CEE228C35E03}"/>
                </a:ext>
              </a:extLst>
            </p:cNvPr>
            <p:cNvSpPr/>
            <p:nvPr/>
          </p:nvSpPr>
          <p:spPr bwMode="auto">
            <a:xfrm>
              <a:off x="10094259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8" y="6"/>
                    <a:pt x="26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0" y="30"/>
                    <a:pt x="31" y="30"/>
                  </a:cubicBezTo>
                  <a:cubicBezTo>
                    <a:pt x="41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iṧľíďe">
              <a:extLst>
                <a:ext uri="{FF2B5EF4-FFF2-40B4-BE49-F238E27FC236}">
                  <a16:creationId xmlns:a16="http://schemas.microsoft.com/office/drawing/2014/main" id="{0432D07A-FE7A-4CAD-BA3F-AED07650B04B}"/>
                </a:ext>
              </a:extLst>
            </p:cNvPr>
            <p:cNvSpPr/>
            <p:nvPr/>
          </p:nvSpPr>
          <p:spPr bwMode="auto">
            <a:xfrm>
              <a:off x="10262440" y="4063064"/>
              <a:ext cx="166638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1" y="30"/>
                    <a:pt x="31" y="30"/>
                  </a:cubicBezTo>
                  <a:cubicBezTo>
                    <a:pt x="42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ísļiḍé">
              <a:extLst>
                <a:ext uri="{FF2B5EF4-FFF2-40B4-BE49-F238E27FC236}">
                  <a16:creationId xmlns:a16="http://schemas.microsoft.com/office/drawing/2014/main" id="{0FB24AE6-8E5E-4AF9-B12F-74A8A93CA97A}"/>
                </a:ext>
              </a:extLst>
            </p:cNvPr>
            <p:cNvSpPr/>
            <p:nvPr/>
          </p:nvSpPr>
          <p:spPr bwMode="auto">
            <a:xfrm>
              <a:off x="10429078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1" y="30"/>
                    <a:pt x="31" y="30"/>
                  </a:cubicBezTo>
                  <a:cubicBezTo>
                    <a:pt x="42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íṧ1îde">
              <a:extLst>
                <a:ext uri="{FF2B5EF4-FFF2-40B4-BE49-F238E27FC236}">
                  <a16:creationId xmlns:a16="http://schemas.microsoft.com/office/drawing/2014/main" id="{DC58309A-1DEC-4943-A4DD-1C8C1E2FEB93}"/>
                </a:ext>
              </a:extLst>
            </p:cNvPr>
            <p:cNvSpPr/>
            <p:nvPr/>
          </p:nvSpPr>
          <p:spPr bwMode="auto">
            <a:xfrm>
              <a:off x="10597259" y="4063064"/>
              <a:ext cx="171268" cy="109550"/>
            </a:xfrm>
            <a:custGeom>
              <a:avLst/>
              <a:gdLst>
                <a:gd name="T0" fmla="*/ 42 w 47"/>
                <a:gd name="T1" fmla="*/ 15 h 30"/>
                <a:gd name="T2" fmla="*/ 14 w 47"/>
                <a:gd name="T3" fmla="*/ 0 h 30"/>
                <a:gd name="T4" fmla="*/ 4 w 47"/>
                <a:gd name="T5" fmla="*/ 15 h 30"/>
                <a:gd name="T6" fmla="*/ 32 w 47"/>
                <a:gd name="T7" fmla="*/ 30 h 30"/>
                <a:gd name="T8" fmla="*/ 42 w 47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0">
                  <a:moveTo>
                    <a:pt x="42" y="15"/>
                  </a:moveTo>
                  <a:cubicBezTo>
                    <a:pt x="37" y="6"/>
                    <a:pt x="25" y="0"/>
                    <a:pt x="14" y="0"/>
                  </a:cubicBezTo>
                  <a:cubicBezTo>
                    <a:pt x="4" y="0"/>
                    <a:pt x="0" y="6"/>
                    <a:pt x="4" y="15"/>
                  </a:cubicBezTo>
                  <a:cubicBezTo>
                    <a:pt x="9" y="23"/>
                    <a:pt x="21" y="30"/>
                    <a:pt x="32" y="30"/>
                  </a:cubicBezTo>
                  <a:cubicBezTo>
                    <a:pt x="42" y="30"/>
                    <a:pt x="47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î$ḻïḋê">
              <a:extLst>
                <a:ext uri="{FF2B5EF4-FFF2-40B4-BE49-F238E27FC236}">
                  <a16:creationId xmlns:a16="http://schemas.microsoft.com/office/drawing/2014/main" id="{AB9DF67E-FAF4-4706-B824-0057C0D8D1CC}"/>
                </a:ext>
              </a:extLst>
            </p:cNvPr>
            <p:cNvSpPr/>
            <p:nvPr/>
          </p:nvSpPr>
          <p:spPr bwMode="auto">
            <a:xfrm>
              <a:off x="9652976" y="4198843"/>
              <a:ext cx="166638" cy="112636"/>
            </a:xfrm>
            <a:custGeom>
              <a:avLst/>
              <a:gdLst>
                <a:gd name="T0" fmla="*/ 42 w 46"/>
                <a:gd name="T1" fmla="*/ 15 h 31"/>
                <a:gd name="T2" fmla="*/ 16 w 46"/>
                <a:gd name="T3" fmla="*/ 0 h 31"/>
                <a:gd name="T4" fmla="*/ 4 w 46"/>
                <a:gd name="T5" fmla="*/ 15 h 31"/>
                <a:gd name="T6" fmla="*/ 30 w 46"/>
                <a:gd name="T7" fmla="*/ 31 h 31"/>
                <a:gd name="T8" fmla="*/ 42 w 4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1">
                  <a:moveTo>
                    <a:pt x="42" y="15"/>
                  </a:moveTo>
                  <a:cubicBezTo>
                    <a:pt x="38" y="7"/>
                    <a:pt x="27" y="0"/>
                    <a:pt x="16" y="0"/>
                  </a:cubicBezTo>
                  <a:cubicBezTo>
                    <a:pt x="6" y="0"/>
                    <a:pt x="0" y="7"/>
                    <a:pt x="4" y="15"/>
                  </a:cubicBezTo>
                  <a:cubicBezTo>
                    <a:pt x="8" y="24"/>
                    <a:pt x="20" y="31"/>
                    <a:pt x="30" y="31"/>
                  </a:cubicBezTo>
                  <a:cubicBezTo>
                    <a:pt x="41" y="31"/>
                    <a:pt x="46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íṧliḑè">
              <a:extLst>
                <a:ext uri="{FF2B5EF4-FFF2-40B4-BE49-F238E27FC236}">
                  <a16:creationId xmlns:a16="http://schemas.microsoft.com/office/drawing/2014/main" id="{B05767EE-F2FE-4F8A-9CD3-D8DFA61BD1AC}"/>
                </a:ext>
              </a:extLst>
            </p:cNvPr>
            <p:cNvSpPr/>
            <p:nvPr/>
          </p:nvSpPr>
          <p:spPr bwMode="auto">
            <a:xfrm>
              <a:off x="9824243" y="4198843"/>
              <a:ext cx="168182" cy="112636"/>
            </a:xfrm>
            <a:custGeom>
              <a:avLst/>
              <a:gdLst>
                <a:gd name="T0" fmla="*/ 42 w 46"/>
                <a:gd name="T1" fmla="*/ 15 h 31"/>
                <a:gd name="T2" fmla="*/ 16 w 46"/>
                <a:gd name="T3" fmla="*/ 0 h 31"/>
                <a:gd name="T4" fmla="*/ 4 w 46"/>
                <a:gd name="T5" fmla="*/ 15 h 31"/>
                <a:gd name="T6" fmla="*/ 30 w 46"/>
                <a:gd name="T7" fmla="*/ 31 h 31"/>
                <a:gd name="T8" fmla="*/ 42 w 4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1">
                  <a:moveTo>
                    <a:pt x="42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8" y="24"/>
                    <a:pt x="20" y="31"/>
                    <a:pt x="30" y="31"/>
                  </a:cubicBezTo>
                  <a:cubicBezTo>
                    <a:pt x="41" y="31"/>
                    <a:pt x="46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ïślíḑe">
              <a:extLst>
                <a:ext uri="{FF2B5EF4-FFF2-40B4-BE49-F238E27FC236}">
                  <a16:creationId xmlns:a16="http://schemas.microsoft.com/office/drawing/2014/main" id="{F2A9DC3F-7032-4666-9CC1-FB99825DA9D4}"/>
                </a:ext>
              </a:extLst>
            </p:cNvPr>
            <p:cNvSpPr/>
            <p:nvPr/>
          </p:nvSpPr>
          <p:spPr bwMode="auto">
            <a:xfrm>
              <a:off x="9992424" y="4198843"/>
              <a:ext cx="171268" cy="112636"/>
            </a:xfrm>
            <a:custGeom>
              <a:avLst/>
              <a:gdLst>
                <a:gd name="T0" fmla="*/ 43 w 47"/>
                <a:gd name="T1" fmla="*/ 15 h 31"/>
                <a:gd name="T2" fmla="*/ 16 w 47"/>
                <a:gd name="T3" fmla="*/ 0 h 31"/>
                <a:gd name="T4" fmla="*/ 4 w 47"/>
                <a:gd name="T5" fmla="*/ 15 h 31"/>
                <a:gd name="T6" fmla="*/ 31 w 47"/>
                <a:gd name="T7" fmla="*/ 31 h 31"/>
                <a:gd name="T8" fmla="*/ 43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3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9" y="24"/>
                    <a:pt x="21" y="31"/>
                    <a:pt x="31" y="31"/>
                  </a:cubicBezTo>
                  <a:cubicBezTo>
                    <a:pt x="42" y="31"/>
                    <a:pt x="47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isḻîde">
              <a:extLst>
                <a:ext uri="{FF2B5EF4-FFF2-40B4-BE49-F238E27FC236}">
                  <a16:creationId xmlns:a16="http://schemas.microsoft.com/office/drawing/2014/main" id="{14B4A25D-0B99-4D90-9EE1-FF9AB7E45093}"/>
                </a:ext>
              </a:extLst>
            </p:cNvPr>
            <p:cNvSpPr/>
            <p:nvPr/>
          </p:nvSpPr>
          <p:spPr bwMode="auto">
            <a:xfrm>
              <a:off x="10163691" y="4198843"/>
              <a:ext cx="171268" cy="112636"/>
            </a:xfrm>
            <a:custGeom>
              <a:avLst/>
              <a:gdLst>
                <a:gd name="T0" fmla="*/ 42 w 47"/>
                <a:gd name="T1" fmla="*/ 15 h 31"/>
                <a:gd name="T2" fmla="*/ 15 w 47"/>
                <a:gd name="T3" fmla="*/ 0 h 31"/>
                <a:gd name="T4" fmla="*/ 4 w 47"/>
                <a:gd name="T5" fmla="*/ 15 h 31"/>
                <a:gd name="T6" fmla="*/ 31 w 47"/>
                <a:gd name="T7" fmla="*/ 31 h 31"/>
                <a:gd name="T8" fmla="*/ 42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2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8" y="24"/>
                    <a:pt x="20" y="31"/>
                    <a:pt x="31" y="31"/>
                  </a:cubicBezTo>
                  <a:cubicBezTo>
                    <a:pt x="42" y="31"/>
                    <a:pt x="47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îS1íḍe">
              <a:extLst>
                <a:ext uri="{FF2B5EF4-FFF2-40B4-BE49-F238E27FC236}">
                  <a16:creationId xmlns:a16="http://schemas.microsoft.com/office/drawing/2014/main" id="{FDB1CEE1-8192-4B3E-8C8D-AD24D377F1B3}"/>
                </a:ext>
              </a:extLst>
            </p:cNvPr>
            <p:cNvSpPr/>
            <p:nvPr/>
          </p:nvSpPr>
          <p:spPr bwMode="auto">
            <a:xfrm>
              <a:off x="10330329" y="4198843"/>
              <a:ext cx="175896" cy="112636"/>
            </a:xfrm>
            <a:custGeom>
              <a:avLst/>
              <a:gdLst>
                <a:gd name="T0" fmla="*/ 43 w 48"/>
                <a:gd name="T1" fmla="*/ 15 h 31"/>
                <a:gd name="T2" fmla="*/ 16 w 48"/>
                <a:gd name="T3" fmla="*/ 0 h 31"/>
                <a:gd name="T4" fmla="*/ 5 w 48"/>
                <a:gd name="T5" fmla="*/ 15 h 31"/>
                <a:gd name="T6" fmla="*/ 32 w 48"/>
                <a:gd name="T7" fmla="*/ 31 h 31"/>
                <a:gd name="T8" fmla="*/ 43 w 4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1">
                  <a:moveTo>
                    <a:pt x="43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5" y="15"/>
                  </a:cubicBezTo>
                  <a:cubicBezTo>
                    <a:pt x="9" y="24"/>
                    <a:pt x="21" y="31"/>
                    <a:pt x="32" y="31"/>
                  </a:cubicBezTo>
                  <a:cubicBezTo>
                    <a:pt x="43" y="31"/>
                    <a:pt x="48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işlíḑe">
              <a:extLst>
                <a:ext uri="{FF2B5EF4-FFF2-40B4-BE49-F238E27FC236}">
                  <a16:creationId xmlns:a16="http://schemas.microsoft.com/office/drawing/2014/main" id="{33D8A407-B557-4A80-9719-2915B4F76E51}"/>
                </a:ext>
              </a:extLst>
            </p:cNvPr>
            <p:cNvSpPr/>
            <p:nvPr/>
          </p:nvSpPr>
          <p:spPr bwMode="auto">
            <a:xfrm>
              <a:off x="10503139" y="4198843"/>
              <a:ext cx="171268" cy="112636"/>
            </a:xfrm>
            <a:custGeom>
              <a:avLst/>
              <a:gdLst>
                <a:gd name="T0" fmla="*/ 43 w 47"/>
                <a:gd name="T1" fmla="*/ 15 h 31"/>
                <a:gd name="T2" fmla="*/ 15 w 47"/>
                <a:gd name="T3" fmla="*/ 0 h 31"/>
                <a:gd name="T4" fmla="*/ 4 w 47"/>
                <a:gd name="T5" fmla="*/ 15 h 31"/>
                <a:gd name="T6" fmla="*/ 32 w 47"/>
                <a:gd name="T7" fmla="*/ 31 h 31"/>
                <a:gd name="T8" fmla="*/ 43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3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9" y="24"/>
                    <a:pt x="21" y="31"/>
                    <a:pt x="32" y="31"/>
                  </a:cubicBezTo>
                  <a:cubicBezTo>
                    <a:pt x="43" y="31"/>
                    <a:pt x="47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śľîde">
              <a:extLst>
                <a:ext uri="{FF2B5EF4-FFF2-40B4-BE49-F238E27FC236}">
                  <a16:creationId xmlns:a16="http://schemas.microsoft.com/office/drawing/2014/main" id="{F16B1067-0338-419A-A0E8-09DF5CF42D38}"/>
                </a:ext>
              </a:extLst>
            </p:cNvPr>
            <p:cNvSpPr/>
            <p:nvPr/>
          </p:nvSpPr>
          <p:spPr bwMode="auto">
            <a:xfrm>
              <a:off x="10669777" y="4198843"/>
              <a:ext cx="175896" cy="112636"/>
            </a:xfrm>
            <a:custGeom>
              <a:avLst/>
              <a:gdLst>
                <a:gd name="T0" fmla="*/ 43 w 48"/>
                <a:gd name="T1" fmla="*/ 15 h 31"/>
                <a:gd name="T2" fmla="*/ 15 w 48"/>
                <a:gd name="T3" fmla="*/ 0 h 31"/>
                <a:gd name="T4" fmla="*/ 5 w 48"/>
                <a:gd name="T5" fmla="*/ 15 h 31"/>
                <a:gd name="T6" fmla="*/ 33 w 48"/>
                <a:gd name="T7" fmla="*/ 31 h 31"/>
                <a:gd name="T8" fmla="*/ 43 w 4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1">
                  <a:moveTo>
                    <a:pt x="43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5" y="15"/>
                  </a:cubicBezTo>
                  <a:cubicBezTo>
                    <a:pt x="10" y="24"/>
                    <a:pt x="22" y="31"/>
                    <a:pt x="33" y="31"/>
                  </a:cubicBezTo>
                  <a:cubicBezTo>
                    <a:pt x="44" y="31"/>
                    <a:pt x="48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ïsļiḍe">
              <a:extLst>
                <a:ext uri="{FF2B5EF4-FFF2-40B4-BE49-F238E27FC236}">
                  <a16:creationId xmlns:a16="http://schemas.microsoft.com/office/drawing/2014/main" id="{B6DD40A1-5973-477B-9606-13E281EE888E}"/>
                </a:ext>
              </a:extLst>
            </p:cNvPr>
            <p:cNvSpPr/>
            <p:nvPr/>
          </p:nvSpPr>
          <p:spPr bwMode="auto">
            <a:xfrm>
              <a:off x="9543426" y="4337708"/>
              <a:ext cx="166638" cy="115721"/>
            </a:xfrm>
            <a:custGeom>
              <a:avLst/>
              <a:gdLst>
                <a:gd name="T0" fmla="*/ 42 w 46"/>
                <a:gd name="T1" fmla="*/ 16 h 32"/>
                <a:gd name="T2" fmla="*/ 16 w 46"/>
                <a:gd name="T3" fmla="*/ 0 h 32"/>
                <a:gd name="T4" fmla="*/ 4 w 46"/>
                <a:gd name="T5" fmla="*/ 16 h 32"/>
                <a:gd name="T6" fmla="*/ 30 w 46"/>
                <a:gd name="T7" fmla="*/ 32 h 32"/>
                <a:gd name="T8" fmla="*/ 42 w 46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2">
                  <a:moveTo>
                    <a:pt x="42" y="16"/>
                  </a:moveTo>
                  <a:cubicBezTo>
                    <a:pt x="38" y="7"/>
                    <a:pt x="27" y="0"/>
                    <a:pt x="16" y="0"/>
                  </a:cubicBezTo>
                  <a:cubicBezTo>
                    <a:pt x="6" y="0"/>
                    <a:pt x="0" y="7"/>
                    <a:pt x="4" y="16"/>
                  </a:cubicBezTo>
                  <a:cubicBezTo>
                    <a:pt x="7" y="25"/>
                    <a:pt x="19" y="32"/>
                    <a:pt x="30" y="32"/>
                  </a:cubicBezTo>
                  <a:cubicBezTo>
                    <a:pt x="41" y="32"/>
                    <a:pt x="46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íSlïḑe">
              <a:extLst>
                <a:ext uri="{FF2B5EF4-FFF2-40B4-BE49-F238E27FC236}">
                  <a16:creationId xmlns:a16="http://schemas.microsoft.com/office/drawing/2014/main" id="{48BC61E0-0EF7-4067-8E9F-BE2C1EEB7EEF}"/>
                </a:ext>
              </a:extLst>
            </p:cNvPr>
            <p:cNvSpPr/>
            <p:nvPr/>
          </p:nvSpPr>
          <p:spPr bwMode="auto">
            <a:xfrm>
              <a:off x="9714694" y="4337708"/>
              <a:ext cx="171268" cy="115721"/>
            </a:xfrm>
            <a:custGeom>
              <a:avLst/>
              <a:gdLst>
                <a:gd name="T0" fmla="*/ 43 w 47"/>
                <a:gd name="T1" fmla="*/ 16 h 32"/>
                <a:gd name="T2" fmla="*/ 16 w 47"/>
                <a:gd name="T3" fmla="*/ 0 h 32"/>
                <a:gd name="T4" fmla="*/ 4 w 47"/>
                <a:gd name="T5" fmla="*/ 16 h 32"/>
                <a:gd name="T6" fmla="*/ 31 w 47"/>
                <a:gd name="T7" fmla="*/ 32 h 32"/>
                <a:gd name="T8" fmla="*/ 43 w 47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2">
                  <a:moveTo>
                    <a:pt x="43" y="16"/>
                  </a:moveTo>
                  <a:cubicBezTo>
                    <a:pt x="39" y="7"/>
                    <a:pt x="27" y="0"/>
                    <a:pt x="16" y="0"/>
                  </a:cubicBezTo>
                  <a:cubicBezTo>
                    <a:pt x="6" y="0"/>
                    <a:pt x="0" y="7"/>
                    <a:pt x="4" y="16"/>
                  </a:cubicBezTo>
                  <a:cubicBezTo>
                    <a:pt x="8" y="25"/>
                    <a:pt x="20" y="32"/>
                    <a:pt x="31" y="32"/>
                  </a:cubicBezTo>
                  <a:cubicBezTo>
                    <a:pt x="41" y="32"/>
                    <a:pt x="47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iš1îḍè">
              <a:extLst>
                <a:ext uri="{FF2B5EF4-FFF2-40B4-BE49-F238E27FC236}">
                  <a16:creationId xmlns:a16="http://schemas.microsoft.com/office/drawing/2014/main" id="{FE421C38-F816-4D34-961F-3E1BD758577B}"/>
                </a:ext>
              </a:extLst>
            </p:cNvPr>
            <p:cNvSpPr/>
            <p:nvPr/>
          </p:nvSpPr>
          <p:spPr bwMode="auto">
            <a:xfrm>
              <a:off x="9885961" y="4337708"/>
              <a:ext cx="174353" cy="115721"/>
            </a:xfrm>
            <a:custGeom>
              <a:avLst/>
              <a:gdLst>
                <a:gd name="T0" fmla="*/ 43 w 48"/>
                <a:gd name="T1" fmla="*/ 16 h 32"/>
                <a:gd name="T2" fmla="*/ 16 w 48"/>
                <a:gd name="T3" fmla="*/ 0 h 32"/>
                <a:gd name="T4" fmla="*/ 5 w 48"/>
                <a:gd name="T5" fmla="*/ 16 h 32"/>
                <a:gd name="T6" fmla="*/ 31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9" y="7"/>
                    <a:pt x="27" y="0"/>
                    <a:pt x="16" y="0"/>
                  </a:cubicBezTo>
                  <a:cubicBezTo>
                    <a:pt x="6" y="0"/>
                    <a:pt x="0" y="7"/>
                    <a:pt x="5" y="16"/>
                  </a:cubicBezTo>
                  <a:cubicBezTo>
                    <a:pt x="9" y="25"/>
                    <a:pt x="21" y="32"/>
                    <a:pt x="31" y="32"/>
                  </a:cubicBezTo>
                  <a:cubicBezTo>
                    <a:pt x="42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ïSliďé">
              <a:extLst>
                <a:ext uri="{FF2B5EF4-FFF2-40B4-BE49-F238E27FC236}">
                  <a16:creationId xmlns:a16="http://schemas.microsoft.com/office/drawing/2014/main" id="{37E16828-860D-4672-8CEC-C3410AFD21B2}"/>
                </a:ext>
              </a:extLst>
            </p:cNvPr>
            <p:cNvSpPr/>
            <p:nvPr/>
          </p:nvSpPr>
          <p:spPr bwMode="auto">
            <a:xfrm>
              <a:off x="10060314" y="4337708"/>
              <a:ext cx="172810" cy="115721"/>
            </a:xfrm>
            <a:custGeom>
              <a:avLst/>
              <a:gdLst>
                <a:gd name="T0" fmla="*/ 43 w 47"/>
                <a:gd name="T1" fmla="*/ 16 h 32"/>
                <a:gd name="T2" fmla="*/ 16 w 47"/>
                <a:gd name="T3" fmla="*/ 0 h 32"/>
                <a:gd name="T4" fmla="*/ 4 w 47"/>
                <a:gd name="T5" fmla="*/ 16 h 32"/>
                <a:gd name="T6" fmla="*/ 31 w 47"/>
                <a:gd name="T7" fmla="*/ 32 h 32"/>
                <a:gd name="T8" fmla="*/ 43 w 47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2">
                  <a:moveTo>
                    <a:pt x="43" y="16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6"/>
                  </a:cubicBezTo>
                  <a:cubicBezTo>
                    <a:pt x="8" y="25"/>
                    <a:pt x="20" y="32"/>
                    <a:pt x="31" y="32"/>
                  </a:cubicBezTo>
                  <a:cubicBezTo>
                    <a:pt x="42" y="32"/>
                    <a:pt x="47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iṡḷidè">
              <a:extLst>
                <a:ext uri="{FF2B5EF4-FFF2-40B4-BE49-F238E27FC236}">
                  <a16:creationId xmlns:a16="http://schemas.microsoft.com/office/drawing/2014/main" id="{CBD12635-7E11-4991-BC31-D4600CAF8F0D}"/>
                </a:ext>
              </a:extLst>
            </p:cNvPr>
            <p:cNvSpPr/>
            <p:nvPr/>
          </p:nvSpPr>
          <p:spPr bwMode="auto">
            <a:xfrm>
              <a:off x="10233124" y="4337708"/>
              <a:ext cx="174353" cy="115721"/>
            </a:xfrm>
            <a:custGeom>
              <a:avLst/>
              <a:gdLst>
                <a:gd name="T0" fmla="*/ 43 w 48"/>
                <a:gd name="T1" fmla="*/ 16 h 32"/>
                <a:gd name="T2" fmla="*/ 16 w 48"/>
                <a:gd name="T3" fmla="*/ 0 h 32"/>
                <a:gd name="T4" fmla="*/ 4 w 48"/>
                <a:gd name="T5" fmla="*/ 16 h 32"/>
                <a:gd name="T6" fmla="*/ 32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9" y="7"/>
                    <a:pt x="26" y="0"/>
                    <a:pt x="16" y="0"/>
                  </a:cubicBezTo>
                  <a:cubicBezTo>
                    <a:pt x="5" y="0"/>
                    <a:pt x="0" y="7"/>
                    <a:pt x="4" y="16"/>
                  </a:cubicBezTo>
                  <a:cubicBezTo>
                    <a:pt x="9" y="25"/>
                    <a:pt x="21" y="32"/>
                    <a:pt x="32" y="32"/>
                  </a:cubicBezTo>
                  <a:cubicBezTo>
                    <a:pt x="43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îṣ1ïḓe">
              <a:extLst>
                <a:ext uri="{FF2B5EF4-FFF2-40B4-BE49-F238E27FC236}">
                  <a16:creationId xmlns:a16="http://schemas.microsoft.com/office/drawing/2014/main" id="{A2234774-4950-4E4E-871B-1CDA2A896561}"/>
                </a:ext>
              </a:extLst>
            </p:cNvPr>
            <p:cNvSpPr/>
            <p:nvPr/>
          </p:nvSpPr>
          <p:spPr bwMode="auto">
            <a:xfrm>
              <a:off x="10404391" y="4337708"/>
              <a:ext cx="174353" cy="115721"/>
            </a:xfrm>
            <a:custGeom>
              <a:avLst/>
              <a:gdLst>
                <a:gd name="T0" fmla="*/ 44 w 48"/>
                <a:gd name="T1" fmla="*/ 16 h 32"/>
                <a:gd name="T2" fmla="*/ 16 w 48"/>
                <a:gd name="T3" fmla="*/ 0 h 32"/>
                <a:gd name="T4" fmla="*/ 5 w 48"/>
                <a:gd name="T5" fmla="*/ 16 h 32"/>
                <a:gd name="T6" fmla="*/ 33 w 48"/>
                <a:gd name="T7" fmla="*/ 32 h 32"/>
                <a:gd name="T8" fmla="*/ 44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4" y="16"/>
                  </a:moveTo>
                  <a:cubicBezTo>
                    <a:pt x="39" y="7"/>
                    <a:pt x="26" y="0"/>
                    <a:pt x="16" y="0"/>
                  </a:cubicBezTo>
                  <a:cubicBezTo>
                    <a:pt x="5" y="0"/>
                    <a:pt x="0" y="7"/>
                    <a:pt x="5" y="16"/>
                  </a:cubicBezTo>
                  <a:cubicBezTo>
                    <a:pt x="10" y="25"/>
                    <a:pt x="22" y="32"/>
                    <a:pt x="33" y="32"/>
                  </a:cubicBezTo>
                  <a:cubicBezTo>
                    <a:pt x="44" y="32"/>
                    <a:pt x="48" y="25"/>
                    <a:pt x="4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îśļïdè">
              <a:extLst>
                <a:ext uri="{FF2B5EF4-FFF2-40B4-BE49-F238E27FC236}">
                  <a16:creationId xmlns:a16="http://schemas.microsoft.com/office/drawing/2014/main" id="{40EFEA0B-58C0-4C2F-8200-5939863E25FE}"/>
                </a:ext>
              </a:extLst>
            </p:cNvPr>
            <p:cNvSpPr/>
            <p:nvPr/>
          </p:nvSpPr>
          <p:spPr bwMode="auto">
            <a:xfrm>
              <a:off x="10578744" y="4337708"/>
              <a:ext cx="175896" cy="115721"/>
            </a:xfrm>
            <a:custGeom>
              <a:avLst/>
              <a:gdLst>
                <a:gd name="T0" fmla="*/ 43 w 48"/>
                <a:gd name="T1" fmla="*/ 16 h 32"/>
                <a:gd name="T2" fmla="*/ 15 w 48"/>
                <a:gd name="T3" fmla="*/ 0 h 32"/>
                <a:gd name="T4" fmla="*/ 4 w 48"/>
                <a:gd name="T5" fmla="*/ 16 h 32"/>
                <a:gd name="T6" fmla="*/ 33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4" y="0"/>
                    <a:pt x="0" y="7"/>
                    <a:pt x="4" y="16"/>
                  </a:cubicBezTo>
                  <a:cubicBezTo>
                    <a:pt x="9" y="25"/>
                    <a:pt x="22" y="32"/>
                    <a:pt x="33" y="32"/>
                  </a:cubicBezTo>
                  <a:cubicBezTo>
                    <a:pt x="43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i$ľiḋé">
              <a:extLst>
                <a:ext uri="{FF2B5EF4-FFF2-40B4-BE49-F238E27FC236}">
                  <a16:creationId xmlns:a16="http://schemas.microsoft.com/office/drawing/2014/main" id="{4828D015-EAC3-4F93-9637-7B7B09B03F75}"/>
                </a:ext>
              </a:extLst>
            </p:cNvPr>
            <p:cNvSpPr/>
            <p:nvPr/>
          </p:nvSpPr>
          <p:spPr bwMode="auto">
            <a:xfrm>
              <a:off x="10750011" y="4337708"/>
              <a:ext cx="178982" cy="115721"/>
            </a:xfrm>
            <a:custGeom>
              <a:avLst/>
              <a:gdLst>
                <a:gd name="T0" fmla="*/ 43 w 49"/>
                <a:gd name="T1" fmla="*/ 16 h 32"/>
                <a:gd name="T2" fmla="*/ 15 w 49"/>
                <a:gd name="T3" fmla="*/ 0 h 32"/>
                <a:gd name="T4" fmla="*/ 5 w 49"/>
                <a:gd name="T5" fmla="*/ 16 h 32"/>
                <a:gd name="T6" fmla="*/ 33 w 49"/>
                <a:gd name="T7" fmla="*/ 32 h 32"/>
                <a:gd name="T8" fmla="*/ 43 w 4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43" y="16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4" y="0"/>
                    <a:pt x="0" y="7"/>
                    <a:pt x="5" y="16"/>
                  </a:cubicBezTo>
                  <a:cubicBezTo>
                    <a:pt x="10" y="25"/>
                    <a:pt x="22" y="32"/>
                    <a:pt x="33" y="32"/>
                  </a:cubicBezTo>
                  <a:cubicBezTo>
                    <a:pt x="44" y="32"/>
                    <a:pt x="49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iṩḻiḑê">
              <a:extLst>
                <a:ext uri="{FF2B5EF4-FFF2-40B4-BE49-F238E27FC236}">
                  <a16:creationId xmlns:a16="http://schemas.microsoft.com/office/drawing/2014/main" id="{9B0BCEEB-A03B-43F8-AAA3-B278EAA9AAE8}"/>
                </a:ext>
              </a:extLst>
            </p:cNvPr>
            <p:cNvSpPr/>
            <p:nvPr/>
          </p:nvSpPr>
          <p:spPr bwMode="auto">
            <a:xfrm>
              <a:off x="10922821" y="4337708"/>
              <a:ext cx="177439" cy="115721"/>
            </a:xfrm>
            <a:custGeom>
              <a:avLst/>
              <a:gdLst>
                <a:gd name="T0" fmla="*/ 44 w 49"/>
                <a:gd name="T1" fmla="*/ 16 h 32"/>
                <a:gd name="T2" fmla="*/ 15 w 49"/>
                <a:gd name="T3" fmla="*/ 0 h 32"/>
                <a:gd name="T4" fmla="*/ 5 w 49"/>
                <a:gd name="T5" fmla="*/ 16 h 32"/>
                <a:gd name="T6" fmla="*/ 34 w 49"/>
                <a:gd name="T7" fmla="*/ 32 h 32"/>
                <a:gd name="T8" fmla="*/ 44 w 4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44" y="16"/>
                  </a:moveTo>
                  <a:cubicBezTo>
                    <a:pt x="39" y="7"/>
                    <a:pt x="26" y="0"/>
                    <a:pt x="15" y="0"/>
                  </a:cubicBezTo>
                  <a:cubicBezTo>
                    <a:pt x="5" y="0"/>
                    <a:pt x="0" y="7"/>
                    <a:pt x="5" y="16"/>
                  </a:cubicBezTo>
                  <a:cubicBezTo>
                    <a:pt x="10" y="25"/>
                    <a:pt x="23" y="32"/>
                    <a:pt x="34" y="32"/>
                  </a:cubicBezTo>
                  <a:cubicBezTo>
                    <a:pt x="45" y="32"/>
                    <a:pt x="49" y="25"/>
                    <a:pt x="4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ïṧlïḋe">
              <a:extLst>
                <a:ext uri="{FF2B5EF4-FFF2-40B4-BE49-F238E27FC236}">
                  <a16:creationId xmlns:a16="http://schemas.microsoft.com/office/drawing/2014/main" id="{5A48C2DD-6233-4AA3-89A3-7BFD0E335F39}"/>
                </a:ext>
              </a:extLst>
            </p:cNvPr>
            <p:cNvSpPr/>
            <p:nvPr/>
          </p:nvSpPr>
          <p:spPr bwMode="auto">
            <a:xfrm>
              <a:off x="9779498" y="4479659"/>
              <a:ext cx="172810" cy="123436"/>
            </a:xfrm>
            <a:custGeom>
              <a:avLst/>
              <a:gdLst>
                <a:gd name="T0" fmla="*/ 43 w 47"/>
                <a:gd name="T1" fmla="*/ 17 h 34"/>
                <a:gd name="T2" fmla="*/ 16 w 47"/>
                <a:gd name="T3" fmla="*/ 0 h 34"/>
                <a:gd name="T4" fmla="*/ 4 w 47"/>
                <a:gd name="T5" fmla="*/ 17 h 34"/>
                <a:gd name="T6" fmla="*/ 31 w 47"/>
                <a:gd name="T7" fmla="*/ 34 h 34"/>
                <a:gd name="T8" fmla="*/ 43 w 47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4">
                  <a:moveTo>
                    <a:pt x="43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6"/>
                    <a:pt x="20" y="34"/>
                    <a:pt x="31" y="34"/>
                  </a:cubicBezTo>
                  <a:cubicBezTo>
                    <a:pt x="42" y="34"/>
                    <a:pt x="47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í$ḻïḋê">
              <a:extLst>
                <a:ext uri="{FF2B5EF4-FFF2-40B4-BE49-F238E27FC236}">
                  <a16:creationId xmlns:a16="http://schemas.microsoft.com/office/drawing/2014/main" id="{C1967306-EF88-4706-9833-E17D266FD912}"/>
                </a:ext>
              </a:extLst>
            </p:cNvPr>
            <p:cNvSpPr/>
            <p:nvPr/>
          </p:nvSpPr>
          <p:spPr bwMode="auto">
            <a:xfrm>
              <a:off x="9955394" y="4479659"/>
              <a:ext cx="174353" cy="123436"/>
            </a:xfrm>
            <a:custGeom>
              <a:avLst/>
              <a:gdLst>
                <a:gd name="T0" fmla="*/ 43 w 48"/>
                <a:gd name="T1" fmla="*/ 17 h 34"/>
                <a:gd name="T2" fmla="*/ 16 w 48"/>
                <a:gd name="T3" fmla="*/ 0 h 34"/>
                <a:gd name="T4" fmla="*/ 4 w 48"/>
                <a:gd name="T5" fmla="*/ 17 h 34"/>
                <a:gd name="T6" fmla="*/ 31 w 48"/>
                <a:gd name="T7" fmla="*/ 34 h 34"/>
                <a:gd name="T8" fmla="*/ 43 w 48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4">
                  <a:moveTo>
                    <a:pt x="43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6"/>
                    <a:pt x="21" y="34"/>
                    <a:pt x="31" y="34"/>
                  </a:cubicBezTo>
                  <a:cubicBezTo>
                    <a:pt x="42" y="34"/>
                    <a:pt x="48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ïś1ide">
              <a:extLst>
                <a:ext uri="{FF2B5EF4-FFF2-40B4-BE49-F238E27FC236}">
                  <a16:creationId xmlns:a16="http://schemas.microsoft.com/office/drawing/2014/main" id="{D911B6BF-07A5-4B91-B0F3-78C2EA0F595C}"/>
                </a:ext>
              </a:extLst>
            </p:cNvPr>
            <p:cNvSpPr/>
            <p:nvPr/>
          </p:nvSpPr>
          <p:spPr bwMode="auto">
            <a:xfrm>
              <a:off x="10129746" y="4479659"/>
              <a:ext cx="175896" cy="123436"/>
            </a:xfrm>
            <a:custGeom>
              <a:avLst/>
              <a:gdLst>
                <a:gd name="T0" fmla="*/ 44 w 48"/>
                <a:gd name="T1" fmla="*/ 17 h 34"/>
                <a:gd name="T2" fmla="*/ 16 w 48"/>
                <a:gd name="T3" fmla="*/ 0 h 34"/>
                <a:gd name="T4" fmla="*/ 4 w 48"/>
                <a:gd name="T5" fmla="*/ 17 h 34"/>
                <a:gd name="T6" fmla="*/ 32 w 48"/>
                <a:gd name="T7" fmla="*/ 34 h 34"/>
                <a:gd name="T8" fmla="*/ 44 w 48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4">
                  <a:moveTo>
                    <a:pt x="44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9" y="26"/>
                    <a:pt x="21" y="34"/>
                    <a:pt x="32" y="34"/>
                  </a:cubicBezTo>
                  <a:cubicBezTo>
                    <a:pt x="43" y="34"/>
                    <a:pt x="48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îş1ïdé">
              <a:extLst>
                <a:ext uri="{FF2B5EF4-FFF2-40B4-BE49-F238E27FC236}">
                  <a16:creationId xmlns:a16="http://schemas.microsoft.com/office/drawing/2014/main" id="{1AC93B09-CBE2-4423-8CAF-14EE735F2794}"/>
                </a:ext>
              </a:extLst>
            </p:cNvPr>
            <p:cNvSpPr/>
            <p:nvPr/>
          </p:nvSpPr>
          <p:spPr bwMode="auto">
            <a:xfrm>
              <a:off x="10305642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6 w 49"/>
                <a:gd name="T3" fmla="*/ 0 h 34"/>
                <a:gd name="T4" fmla="*/ 4 w 49"/>
                <a:gd name="T5" fmla="*/ 17 h 34"/>
                <a:gd name="T6" fmla="*/ 33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9" y="26"/>
                    <a:pt x="22" y="34"/>
                    <a:pt x="33" y="34"/>
                  </a:cubicBezTo>
                  <a:cubicBezTo>
                    <a:pt x="44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iš1ïďé">
              <a:extLst>
                <a:ext uri="{FF2B5EF4-FFF2-40B4-BE49-F238E27FC236}">
                  <a16:creationId xmlns:a16="http://schemas.microsoft.com/office/drawing/2014/main" id="{5225A2CD-9626-4972-BEEB-A832B6E0500E}"/>
                </a:ext>
              </a:extLst>
            </p:cNvPr>
            <p:cNvSpPr/>
            <p:nvPr/>
          </p:nvSpPr>
          <p:spPr bwMode="auto">
            <a:xfrm>
              <a:off x="10479995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6 w 49"/>
                <a:gd name="T3" fmla="*/ 0 h 34"/>
                <a:gd name="T4" fmla="*/ 5 w 49"/>
                <a:gd name="T5" fmla="*/ 17 h 34"/>
                <a:gd name="T6" fmla="*/ 33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9" y="26"/>
                    <a:pt x="22" y="34"/>
                    <a:pt x="33" y="34"/>
                  </a:cubicBezTo>
                  <a:cubicBezTo>
                    <a:pt x="44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íṥḻide">
              <a:extLst>
                <a:ext uri="{FF2B5EF4-FFF2-40B4-BE49-F238E27FC236}">
                  <a16:creationId xmlns:a16="http://schemas.microsoft.com/office/drawing/2014/main" id="{DB8A2E4C-B6AA-4636-927D-9054DC5D78C4}"/>
                </a:ext>
              </a:extLst>
            </p:cNvPr>
            <p:cNvSpPr/>
            <p:nvPr/>
          </p:nvSpPr>
          <p:spPr bwMode="auto">
            <a:xfrm>
              <a:off x="10655891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5 w 49"/>
                <a:gd name="T3" fmla="*/ 0 h 34"/>
                <a:gd name="T4" fmla="*/ 5 w 49"/>
                <a:gd name="T5" fmla="*/ 17 h 34"/>
                <a:gd name="T6" fmla="*/ 34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6"/>
                    <a:pt x="23" y="34"/>
                    <a:pt x="34" y="34"/>
                  </a:cubicBezTo>
                  <a:cubicBezTo>
                    <a:pt x="45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ïŝ1îḍê">
              <a:extLst>
                <a:ext uri="{FF2B5EF4-FFF2-40B4-BE49-F238E27FC236}">
                  <a16:creationId xmlns:a16="http://schemas.microsoft.com/office/drawing/2014/main" id="{57479F04-7AED-4657-8C6B-3960B056A4FB}"/>
                </a:ext>
              </a:extLst>
            </p:cNvPr>
            <p:cNvSpPr/>
            <p:nvPr/>
          </p:nvSpPr>
          <p:spPr bwMode="auto">
            <a:xfrm>
              <a:off x="10830244" y="4479659"/>
              <a:ext cx="183611" cy="123436"/>
            </a:xfrm>
            <a:custGeom>
              <a:avLst/>
              <a:gdLst>
                <a:gd name="T0" fmla="*/ 44 w 50"/>
                <a:gd name="T1" fmla="*/ 17 h 34"/>
                <a:gd name="T2" fmla="*/ 15 w 50"/>
                <a:gd name="T3" fmla="*/ 0 h 34"/>
                <a:gd name="T4" fmla="*/ 5 w 50"/>
                <a:gd name="T5" fmla="*/ 17 h 34"/>
                <a:gd name="T6" fmla="*/ 34 w 50"/>
                <a:gd name="T7" fmla="*/ 34 h 34"/>
                <a:gd name="T8" fmla="*/ 44 w 5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4">
                  <a:moveTo>
                    <a:pt x="44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6"/>
                    <a:pt x="23" y="34"/>
                    <a:pt x="34" y="34"/>
                  </a:cubicBezTo>
                  <a:cubicBezTo>
                    <a:pt x="45" y="34"/>
                    <a:pt x="50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ísḻíḋê">
              <a:extLst>
                <a:ext uri="{FF2B5EF4-FFF2-40B4-BE49-F238E27FC236}">
                  <a16:creationId xmlns:a16="http://schemas.microsoft.com/office/drawing/2014/main" id="{11141328-7036-4231-901C-7E54012AB93F}"/>
                </a:ext>
              </a:extLst>
            </p:cNvPr>
            <p:cNvSpPr/>
            <p:nvPr/>
          </p:nvSpPr>
          <p:spPr bwMode="auto">
            <a:xfrm>
              <a:off x="11006140" y="4479659"/>
              <a:ext cx="182068" cy="123436"/>
            </a:xfrm>
            <a:custGeom>
              <a:avLst/>
              <a:gdLst>
                <a:gd name="T0" fmla="*/ 45 w 50"/>
                <a:gd name="T1" fmla="*/ 17 h 34"/>
                <a:gd name="T2" fmla="*/ 15 w 50"/>
                <a:gd name="T3" fmla="*/ 0 h 34"/>
                <a:gd name="T4" fmla="*/ 5 w 50"/>
                <a:gd name="T5" fmla="*/ 17 h 34"/>
                <a:gd name="T6" fmla="*/ 35 w 50"/>
                <a:gd name="T7" fmla="*/ 34 h 34"/>
                <a:gd name="T8" fmla="*/ 45 w 5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4">
                  <a:moveTo>
                    <a:pt x="45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1" y="26"/>
                    <a:pt x="24" y="34"/>
                    <a:pt x="35" y="34"/>
                  </a:cubicBezTo>
                  <a:cubicBezTo>
                    <a:pt x="46" y="34"/>
                    <a:pt x="50" y="26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î$ľïḑé">
              <a:extLst>
                <a:ext uri="{FF2B5EF4-FFF2-40B4-BE49-F238E27FC236}">
                  <a16:creationId xmlns:a16="http://schemas.microsoft.com/office/drawing/2014/main" id="{DAB6B8DD-1E93-4E5C-8EBC-2105D3C0B575}"/>
                </a:ext>
              </a:extLst>
            </p:cNvPr>
            <p:cNvSpPr/>
            <p:nvPr/>
          </p:nvSpPr>
          <p:spPr bwMode="auto">
            <a:xfrm>
              <a:off x="11180493" y="4479659"/>
              <a:ext cx="186697" cy="123436"/>
            </a:xfrm>
            <a:custGeom>
              <a:avLst/>
              <a:gdLst>
                <a:gd name="T0" fmla="*/ 45 w 51"/>
                <a:gd name="T1" fmla="*/ 17 h 34"/>
                <a:gd name="T2" fmla="*/ 15 w 51"/>
                <a:gd name="T3" fmla="*/ 0 h 34"/>
                <a:gd name="T4" fmla="*/ 6 w 51"/>
                <a:gd name="T5" fmla="*/ 17 h 34"/>
                <a:gd name="T6" fmla="*/ 35 w 51"/>
                <a:gd name="T7" fmla="*/ 34 h 34"/>
                <a:gd name="T8" fmla="*/ 45 w 51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4">
                  <a:moveTo>
                    <a:pt x="45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4" y="0"/>
                    <a:pt x="0" y="8"/>
                    <a:pt x="6" y="17"/>
                  </a:cubicBezTo>
                  <a:cubicBezTo>
                    <a:pt x="11" y="26"/>
                    <a:pt x="24" y="34"/>
                    <a:pt x="35" y="34"/>
                  </a:cubicBezTo>
                  <a:cubicBezTo>
                    <a:pt x="46" y="34"/>
                    <a:pt x="51" y="26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ïšḷíḓè">
              <a:extLst>
                <a:ext uri="{FF2B5EF4-FFF2-40B4-BE49-F238E27FC236}">
                  <a16:creationId xmlns:a16="http://schemas.microsoft.com/office/drawing/2014/main" id="{2DFE33F3-E4E3-4AB0-A748-5B4B22CBE43F}"/>
                </a:ext>
              </a:extLst>
            </p:cNvPr>
            <p:cNvSpPr/>
            <p:nvPr/>
          </p:nvSpPr>
          <p:spPr bwMode="auto">
            <a:xfrm>
              <a:off x="9845844" y="4629324"/>
              <a:ext cx="174353" cy="128065"/>
            </a:xfrm>
            <a:custGeom>
              <a:avLst/>
              <a:gdLst>
                <a:gd name="T0" fmla="*/ 44 w 48"/>
                <a:gd name="T1" fmla="*/ 17 h 35"/>
                <a:gd name="T2" fmla="*/ 16 w 48"/>
                <a:gd name="T3" fmla="*/ 0 h 35"/>
                <a:gd name="T4" fmla="*/ 4 w 48"/>
                <a:gd name="T5" fmla="*/ 17 h 35"/>
                <a:gd name="T6" fmla="*/ 32 w 48"/>
                <a:gd name="T7" fmla="*/ 35 h 35"/>
                <a:gd name="T8" fmla="*/ 44 w 48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5">
                  <a:moveTo>
                    <a:pt x="44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7"/>
                    <a:pt x="21" y="35"/>
                    <a:pt x="32" y="35"/>
                  </a:cubicBezTo>
                  <a:cubicBezTo>
                    <a:pt x="43" y="35"/>
                    <a:pt x="48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ïṩľíḑé">
              <a:extLst>
                <a:ext uri="{FF2B5EF4-FFF2-40B4-BE49-F238E27FC236}">
                  <a16:creationId xmlns:a16="http://schemas.microsoft.com/office/drawing/2014/main" id="{7E0A2649-8A84-4CF3-A0AE-A79C44467692}"/>
                </a:ext>
              </a:extLst>
            </p:cNvPr>
            <p:cNvSpPr/>
            <p:nvPr/>
          </p:nvSpPr>
          <p:spPr bwMode="auto">
            <a:xfrm>
              <a:off x="10024826" y="4629324"/>
              <a:ext cx="178982" cy="128065"/>
            </a:xfrm>
            <a:custGeom>
              <a:avLst/>
              <a:gdLst>
                <a:gd name="T0" fmla="*/ 44 w 49"/>
                <a:gd name="T1" fmla="*/ 17 h 35"/>
                <a:gd name="T2" fmla="*/ 16 w 49"/>
                <a:gd name="T3" fmla="*/ 0 h 35"/>
                <a:gd name="T4" fmla="*/ 4 w 49"/>
                <a:gd name="T5" fmla="*/ 17 h 35"/>
                <a:gd name="T6" fmla="*/ 32 w 49"/>
                <a:gd name="T7" fmla="*/ 35 h 35"/>
                <a:gd name="T8" fmla="*/ 44 w 49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5">
                  <a:moveTo>
                    <a:pt x="44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7"/>
                    <a:pt x="21" y="35"/>
                    <a:pt x="32" y="35"/>
                  </a:cubicBezTo>
                  <a:cubicBezTo>
                    <a:pt x="43" y="35"/>
                    <a:pt x="49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iŝliḋè">
              <a:extLst>
                <a:ext uri="{FF2B5EF4-FFF2-40B4-BE49-F238E27FC236}">
                  <a16:creationId xmlns:a16="http://schemas.microsoft.com/office/drawing/2014/main" id="{877FC1C5-1CA3-4FD0-ADAB-A63474A14843}"/>
                </a:ext>
              </a:extLst>
            </p:cNvPr>
            <p:cNvSpPr/>
            <p:nvPr/>
          </p:nvSpPr>
          <p:spPr bwMode="auto">
            <a:xfrm>
              <a:off x="10199179" y="4629324"/>
              <a:ext cx="183611" cy="128065"/>
            </a:xfrm>
            <a:custGeom>
              <a:avLst/>
              <a:gdLst>
                <a:gd name="T0" fmla="*/ 45 w 50"/>
                <a:gd name="T1" fmla="*/ 17 h 35"/>
                <a:gd name="T2" fmla="*/ 17 w 50"/>
                <a:gd name="T3" fmla="*/ 0 h 35"/>
                <a:gd name="T4" fmla="*/ 5 w 50"/>
                <a:gd name="T5" fmla="*/ 17 h 35"/>
                <a:gd name="T6" fmla="*/ 33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8" y="0"/>
                    <a:pt x="17" y="0"/>
                  </a:cubicBezTo>
                  <a:cubicBezTo>
                    <a:pt x="6" y="0"/>
                    <a:pt x="0" y="8"/>
                    <a:pt x="5" y="17"/>
                  </a:cubicBezTo>
                  <a:cubicBezTo>
                    <a:pt x="10" y="27"/>
                    <a:pt x="22" y="35"/>
                    <a:pt x="33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ïsļíḍe">
              <a:extLst>
                <a:ext uri="{FF2B5EF4-FFF2-40B4-BE49-F238E27FC236}">
                  <a16:creationId xmlns:a16="http://schemas.microsoft.com/office/drawing/2014/main" id="{6014E2C4-DD09-44E4-A6A2-7ACAB4233F8E}"/>
                </a:ext>
              </a:extLst>
            </p:cNvPr>
            <p:cNvSpPr/>
            <p:nvPr/>
          </p:nvSpPr>
          <p:spPr bwMode="auto">
            <a:xfrm>
              <a:off x="10378161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4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4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îŝļiḋé">
              <a:extLst>
                <a:ext uri="{FF2B5EF4-FFF2-40B4-BE49-F238E27FC236}">
                  <a16:creationId xmlns:a16="http://schemas.microsoft.com/office/drawing/2014/main" id="{EE88A9D2-4796-463F-A38C-31E9FFD18134}"/>
                </a:ext>
              </a:extLst>
            </p:cNvPr>
            <p:cNvSpPr/>
            <p:nvPr/>
          </p:nvSpPr>
          <p:spPr bwMode="auto">
            <a:xfrm>
              <a:off x="10557143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4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4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iś1íḋe">
              <a:extLst>
                <a:ext uri="{FF2B5EF4-FFF2-40B4-BE49-F238E27FC236}">
                  <a16:creationId xmlns:a16="http://schemas.microsoft.com/office/drawing/2014/main" id="{5E4EC9C1-0082-445C-8C3E-33B153D4742B}"/>
                </a:ext>
              </a:extLst>
            </p:cNvPr>
            <p:cNvSpPr/>
            <p:nvPr/>
          </p:nvSpPr>
          <p:spPr bwMode="auto">
            <a:xfrm>
              <a:off x="10736125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5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5" y="35"/>
                  </a:cubicBezTo>
                  <a:cubicBezTo>
                    <a:pt x="46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íṡḻïḑê">
              <a:extLst>
                <a:ext uri="{FF2B5EF4-FFF2-40B4-BE49-F238E27FC236}">
                  <a16:creationId xmlns:a16="http://schemas.microsoft.com/office/drawing/2014/main" id="{3B2EA88B-E3FA-4908-92ED-74914B002F08}"/>
                </a:ext>
              </a:extLst>
            </p:cNvPr>
            <p:cNvSpPr/>
            <p:nvPr/>
          </p:nvSpPr>
          <p:spPr bwMode="auto">
            <a:xfrm>
              <a:off x="10915106" y="4629324"/>
              <a:ext cx="185154" cy="128065"/>
            </a:xfrm>
            <a:custGeom>
              <a:avLst/>
              <a:gdLst>
                <a:gd name="T0" fmla="*/ 45 w 51"/>
                <a:gd name="T1" fmla="*/ 17 h 35"/>
                <a:gd name="T2" fmla="*/ 15 w 51"/>
                <a:gd name="T3" fmla="*/ 0 h 35"/>
                <a:gd name="T4" fmla="*/ 5 w 51"/>
                <a:gd name="T5" fmla="*/ 17 h 35"/>
                <a:gd name="T6" fmla="*/ 35 w 51"/>
                <a:gd name="T7" fmla="*/ 35 h 35"/>
                <a:gd name="T8" fmla="*/ 45 w 5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45" y="17"/>
                  </a:moveTo>
                  <a:cubicBezTo>
                    <a:pt x="40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0" y="27"/>
                    <a:pt x="24" y="35"/>
                    <a:pt x="35" y="35"/>
                  </a:cubicBezTo>
                  <a:cubicBezTo>
                    <a:pt x="46" y="35"/>
                    <a:pt x="51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ísľíḍé">
              <a:extLst>
                <a:ext uri="{FF2B5EF4-FFF2-40B4-BE49-F238E27FC236}">
                  <a16:creationId xmlns:a16="http://schemas.microsoft.com/office/drawing/2014/main" id="{15C575B3-3F7A-45F2-AB58-C9C1FEEBBA6B}"/>
                </a:ext>
              </a:extLst>
            </p:cNvPr>
            <p:cNvSpPr/>
            <p:nvPr/>
          </p:nvSpPr>
          <p:spPr bwMode="auto">
            <a:xfrm>
              <a:off x="11094088" y="4629324"/>
              <a:ext cx="185154" cy="128065"/>
            </a:xfrm>
            <a:custGeom>
              <a:avLst/>
              <a:gdLst>
                <a:gd name="T0" fmla="*/ 45 w 51"/>
                <a:gd name="T1" fmla="*/ 17 h 35"/>
                <a:gd name="T2" fmla="*/ 15 w 51"/>
                <a:gd name="T3" fmla="*/ 0 h 35"/>
                <a:gd name="T4" fmla="*/ 5 w 51"/>
                <a:gd name="T5" fmla="*/ 17 h 35"/>
                <a:gd name="T6" fmla="*/ 35 w 51"/>
                <a:gd name="T7" fmla="*/ 35 h 35"/>
                <a:gd name="T8" fmla="*/ 45 w 5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45" y="17"/>
                  </a:moveTo>
                  <a:cubicBezTo>
                    <a:pt x="40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1" y="27"/>
                    <a:pt x="24" y="35"/>
                    <a:pt x="35" y="35"/>
                  </a:cubicBezTo>
                  <a:cubicBezTo>
                    <a:pt x="46" y="35"/>
                    <a:pt x="51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îṣ1idè">
              <a:extLst>
                <a:ext uri="{FF2B5EF4-FFF2-40B4-BE49-F238E27FC236}">
                  <a16:creationId xmlns:a16="http://schemas.microsoft.com/office/drawing/2014/main" id="{C82EA563-8684-473B-950C-4C9B192AFD0F}"/>
                </a:ext>
              </a:extLst>
            </p:cNvPr>
            <p:cNvSpPr/>
            <p:nvPr/>
          </p:nvSpPr>
          <p:spPr bwMode="auto">
            <a:xfrm>
              <a:off x="9910648" y="4783619"/>
              <a:ext cx="183611" cy="131151"/>
            </a:xfrm>
            <a:custGeom>
              <a:avLst/>
              <a:gdLst>
                <a:gd name="T0" fmla="*/ 45 w 50"/>
                <a:gd name="T1" fmla="*/ 18 h 36"/>
                <a:gd name="T2" fmla="*/ 17 w 50"/>
                <a:gd name="T3" fmla="*/ 0 h 36"/>
                <a:gd name="T4" fmla="*/ 5 w 50"/>
                <a:gd name="T5" fmla="*/ 18 h 36"/>
                <a:gd name="T6" fmla="*/ 33 w 50"/>
                <a:gd name="T7" fmla="*/ 36 h 36"/>
                <a:gd name="T8" fmla="*/ 45 w 50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6">
                  <a:moveTo>
                    <a:pt x="45" y="18"/>
                  </a:moveTo>
                  <a:cubicBezTo>
                    <a:pt x="41" y="8"/>
                    <a:pt x="28" y="0"/>
                    <a:pt x="17" y="0"/>
                  </a:cubicBezTo>
                  <a:cubicBezTo>
                    <a:pt x="6" y="0"/>
                    <a:pt x="0" y="8"/>
                    <a:pt x="5" y="18"/>
                  </a:cubicBezTo>
                  <a:cubicBezTo>
                    <a:pt x="9" y="28"/>
                    <a:pt x="22" y="36"/>
                    <a:pt x="33" y="36"/>
                  </a:cubicBezTo>
                  <a:cubicBezTo>
                    <a:pt x="44" y="36"/>
                    <a:pt x="50" y="28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iṣľîḓe">
              <a:extLst>
                <a:ext uri="{FF2B5EF4-FFF2-40B4-BE49-F238E27FC236}">
                  <a16:creationId xmlns:a16="http://schemas.microsoft.com/office/drawing/2014/main" id="{41C1EB8F-6720-4C88-8A03-FEF5FF51326B}"/>
                </a:ext>
              </a:extLst>
            </p:cNvPr>
            <p:cNvSpPr/>
            <p:nvPr/>
          </p:nvSpPr>
          <p:spPr bwMode="auto">
            <a:xfrm>
              <a:off x="10819444" y="4783619"/>
              <a:ext cx="186697" cy="131151"/>
            </a:xfrm>
            <a:custGeom>
              <a:avLst/>
              <a:gdLst>
                <a:gd name="T0" fmla="*/ 46 w 51"/>
                <a:gd name="T1" fmla="*/ 18 h 36"/>
                <a:gd name="T2" fmla="*/ 16 w 51"/>
                <a:gd name="T3" fmla="*/ 0 h 36"/>
                <a:gd name="T4" fmla="*/ 5 w 51"/>
                <a:gd name="T5" fmla="*/ 18 h 36"/>
                <a:gd name="T6" fmla="*/ 35 w 51"/>
                <a:gd name="T7" fmla="*/ 36 h 36"/>
                <a:gd name="T8" fmla="*/ 46 w 51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6">
                  <a:moveTo>
                    <a:pt x="46" y="18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8"/>
                  </a:cubicBezTo>
                  <a:cubicBezTo>
                    <a:pt x="10" y="28"/>
                    <a:pt x="24" y="36"/>
                    <a:pt x="35" y="36"/>
                  </a:cubicBezTo>
                  <a:cubicBezTo>
                    <a:pt x="47" y="36"/>
                    <a:pt x="51" y="28"/>
                    <a:pt x="46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ïṧlîḋè">
              <a:extLst>
                <a:ext uri="{FF2B5EF4-FFF2-40B4-BE49-F238E27FC236}">
                  <a16:creationId xmlns:a16="http://schemas.microsoft.com/office/drawing/2014/main" id="{89ED3E90-6CF9-4836-AD1C-CC8ABA3762EB}"/>
                </a:ext>
              </a:extLst>
            </p:cNvPr>
            <p:cNvSpPr/>
            <p:nvPr/>
          </p:nvSpPr>
          <p:spPr bwMode="auto">
            <a:xfrm>
              <a:off x="10998426" y="4783619"/>
              <a:ext cx="189783" cy="131151"/>
            </a:xfrm>
            <a:custGeom>
              <a:avLst/>
              <a:gdLst>
                <a:gd name="T0" fmla="*/ 47 w 52"/>
                <a:gd name="T1" fmla="*/ 18 h 36"/>
                <a:gd name="T2" fmla="*/ 16 w 52"/>
                <a:gd name="T3" fmla="*/ 0 h 36"/>
                <a:gd name="T4" fmla="*/ 6 w 52"/>
                <a:gd name="T5" fmla="*/ 18 h 36"/>
                <a:gd name="T6" fmla="*/ 36 w 52"/>
                <a:gd name="T7" fmla="*/ 36 h 36"/>
                <a:gd name="T8" fmla="*/ 47 w 52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6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1" y="28"/>
                    <a:pt x="25" y="36"/>
                    <a:pt x="36" y="36"/>
                  </a:cubicBezTo>
                  <a:cubicBezTo>
                    <a:pt x="48" y="36"/>
                    <a:pt x="52" y="28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îŝľiḓê">
              <a:extLst>
                <a:ext uri="{FF2B5EF4-FFF2-40B4-BE49-F238E27FC236}">
                  <a16:creationId xmlns:a16="http://schemas.microsoft.com/office/drawing/2014/main" id="{E11309FE-986B-49F6-9569-B9F82FEE860F}"/>
                </a:ext>
              </a:extLst>
            </p:cNvPr>
            <p:cNvSpPr/>
            <p:nvPr/>
          </p:nvSpPr>
          <p:spPr bwMode="auto">
            <a:xfrm>
              <a:off x="11180493" y="4783619"/>
              <a:ext cx="189783" cy="131151"/>
            </a:xfrm>
            <a:custGeom>
              <a:avLst/>
              <a:gdLst>
                <a:gd name="T0" fmla="*/ 47 w 52"/>
                <a:gd name="T1" fmla="*/ 18 h 36"/>
                <a:gd name="T2" fmla="*/ 16 w 52"/>
                <a:gd name="T3" fmla="*/ 0 h 36"/>
                <a:gd name="T4" fmla="*/ 6 w 52"/>
                <a:gd name="T5" fmla="*/ 18 h 36"/>
                <a:gd name="T6" fmla="*/ 37 w 52"/>
                <a:gd name="T7" fmla="*/ 36 h 36"/>
                <a:gd name="T8" fmla="*/ 47 w 52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6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2" y="28"/>
                    <a:pt x="25" y="36"/>
                    <a:pt x="37" y="36"/>
                  </a:cubicBezTo>
                  <a:cubicBezTo>
                    <a:pt x="48" y="36"/>
                    <a:pt x="52" y="28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íSļîďè">
              <a:extLst>
                <a:ext uri="{FF2B5EF4-FFF2-40B4-BE49-F238E27FC236}">
                  <a16:creationId xmlns:a16="http://schemas.microsoft.com/office/drawing/2014/main" id="{B19E4715-49C5-463F-9DE2-BCF517513C75}"/>
                </a:ext>
              </a:extLst>
            </p:cNvPr>
            <p:cNvSpPr/>
            <p:nvPr/>
          </p:nvSpPr>
          <p:spPr bwMode="auto">
            <a:xfrm>
              <a:off x="11089459" y="4944086"/>
              <a:ext cx="194411" cy="134237"/>
            </a:xfrm>
            <a:custGeom>
              <a:avLst/>
              <a:gdLst>
                <a:gd name="T0" fmla="*/ 47 w 53"/>
                <a:gd name="T1" fmla="*/ 18 h 37"/>
                <a:gd name="T2" fmla="*/ 16 w 53"/>
                <a:gd name="T3" fmla="*/ 0 h 37"/>
                <a:gd name="T4" fmla="*/ 6 w 53"/>
                <a:gd name="T5" fmla="*/ 18 h 37"/>
                <a:gd name="T6" fmla="*/ 37 w 53"/>
                <a:gd name="T7" fmla="*/ 37 h 37"/>
                <a:gd name="T8" fmla="*/ 47 w 53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7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1" y="29"/>
                    <a:pt x="25" y="37"/>
                    <a:pt x="37" y="37"/>
                  </a:cubicBezTo>
                  <a:cubicBezTo>
                    <a:pt x="48" y="37"/>
                    <a:pt x="53" y="29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îṩlïḍé">
              <a:extLst>
                <a:ext uri="{FF2B5EF4-FFF2-40B4-BE49-F238E27FC236}">
                  <a16:creationId xmlns:a16="http://schemas.microsoft.com/office/drawing/2014/main" id="{92A863CF-3945-4C03-AA74-715AD26C4D14}"/>
                </a:ext>
              </a:extLst>
            </p:cNvPr>
            <p:cNvSpPr/>
            <p:nvPr/>
          </p:nvSpPr>
          <p:spPr bwMode="auto">
            <a:xfrm>
              <a:off x="11180493" y="5107638"/>
              <a:ext cx="197497" cy="138865"/>
            </a:xfrm>
            <a:custGeom>
              <a:avLst/>
              <a:gdLst>
                <a:gd name="T0" fmla="*/ 48 w 54"/>
                <a:gd name="T1" fmla="*/ 19 h 38"/>
                <a:gd name="T2" fmla="*/ 17 w 54"/>
                <a:gd name="T3" fmla="*/ 0 h 38"/>
                <a:gd name="T4" fmla="*/ 6 w 54"/>
                <a:gd name="T5" fmla="*/ 19 h 38"/>
                <a:gd name="T6" fmla="*/ 38 w 54"/>
                <a:gd name="T7" fmla="*/ 38 h 38"/>
                <a:gd name="T8" fmla="*/ 48 w 54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8">
                  <a:moveTo>
                    <a:pt x="48" y="19"/>
                  </a:moveTo>
                  <a:cubicBezTo>
                    <a:pt x="42" y="9"/>
                    <a:pt x="28" y="0"/>
                    <a:pt x="17" y="0"/>
                  </a:cubicBezTo>
                  <a:cubicBezTo>
                    <a:pt x="5" y="0"/>
                    <a:pt x="0" y="9"/>
                    <a:pt x="6" y="19"/>
                  </a:cubicBezTo>
                  <a:cubicBezTo>
                    <a:pt x="12" y="30"/>
                    <a:pt x="26" y="38"/>
                    <a:pt x="38" y="38"/>
                  </a:cubicBezTo>
                  <a:cubicBezTo>
                    <a:pt x="50" y="38"/>
                    <a:pt x="54" y="30"/>
                    <a:pt x="48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îşlîḋé">
              <a:extLst>
                <a:ext uri="{FF2B5EF4-FFF2-40B4-BE49-F238E27FC236}">
                  <a16:creationId xmlns:a16="http://schemas.microsoft.com/office/drawing/2014/main" id="{658BE126-E462-4442-A446-0A3A35A6A224}"/>
                </a:ext>
              </a:extLst>
            </p:cNvPr>
            <p:cNvSpPr/>
            <p:nvPr/>
          </p:nvSpPr>
          <p:spPr bwMode="auto">
            <a:xfrm>
              <a:off x="2999791" y="2907396"/>
              <a:ext cx="135779" cy="84863"/>
            </a:xfrm>
            <a:custGeom>
              <a:avLst/>
              <a:gdLst>
                <a:gd name="T0" fmla="*/ 34 w 37"/>
                <a:gd name="T1" fmla="*/ 11 h 23"/>
                <a:gd name="T2" fmla="*/ 22 w 37"/>
                <a:gd name="T3" fmla="*/ 0 h 23"/>
                <a:gd name="T4" fmla="*/ 2 w 37"/>
                <a:gd name="T5" fmla="*/ 11 h 23"/>
                <a:gd name="T6" fmla="*/ 14 w 37"/>
                <a:gd name="T7" fmla="*/ 23 h 23"/>
                <a:gd name="T8" fmla="*/ 34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4" y="11"/>
                  </a:moveTo>
                  <a:cubicBezTo>
                    <a:pt x="37" y="5"/>
                    <a:pt x="31" y="0"/>
                    <a:pt x="22" y="0"/>
                  </a:cubicBezTo>
                  <a:cubicBezTo>
                    <a:pt x="13" y="0"/>
                    <a:pt x="4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2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îṣļïdê">
              <a:extLst>
                <a:ext uri="{FF2B5EF4-FFF2-40B4-BE49-F238E27FC236}">
                  <a16:creationId xmlns:a16="http://schemas.microsoft.com/office/drawing/2014/main" id="{CE0ECF49-27BC-4376-82CF-CF946E728AAC}"/>
                </a:ext>
              </a:extLst>
            </p:cNvPr>
            <p:cNvSpPr/>
            <p:nvPr/>
          </p:nvSpPr>
          <p:spPr bwMode="auto">
            <a:xfrm>
              <a:off x="2959674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23 w 37"/>
                <a:gd name="T3" fmla="*/ 0 h 23"/>
                <a:gd name="T4" fmla="*/ 2 w 37"/>
                <a:gd name="T5" fmla="*/ 11 h 23"/>
                <a:gd name="T6" fmla="*/ 14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7" y="5"/>
                    <a:pt x="32" y="0"/>
                    <a:pt x="23" y="0"/>
                  </a:cubicBezTo>
                  <a:cubicBezTo>
                    <a:pt x="14" y="0"/>
                    <a:pt x="5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ŝḻiḑê">
              <a:extLst>
                <a:ext uri="{FF2B5EF4-FFF2-40B4-BE49-F238E27FC236}">
                  <a16:creationId xmlns:a16="http://schemas.microsoft.com/office/drawing/2014/main" id="{FB1EF2DE-9214-424E-9C62-4663E37D1B17}"/>
                </a:ext>
              </a:extLst>
            </p:cNvPr>
            <p:cNvSpPr/>
            <p:nvPr/>
          </p:nvSpPr>
          <p:spPr bwMode="auto">
            <a:xfrm>
              <a:off x="3106254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23 w 38"/>
                <a:gd name="T3" fmla="*/ 0 h 23"/>
                <a:gd name="T4" fmla="*/ 3 w 38"/>
                <a:gd name="T5" fmla="*/ 11 h 23"/>
                <a:gd name="T6" fmla="*/ 15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5" y="5"/>
                    <a:pt x="3" y="11"/>
                  </a:cubicBezTo>
                  <a:cubicBezTo>
                    <a:pt x="0" y="18"/>
                    <a:pt x="6" y="23"/>
                    <a:pt x="15" y="23"/>
                  </a:cubicBezTo>
                  <a:cubicBezTo>
                    <a:pt x="24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iṩḻiďe">
              <a:extLst>
                <a:ext uri="{FF2B5EF4-FFF2-40B4-BE49-F238E27FC236}">
                  <a16:creationId xmlns:a16="http://schemas.microsoft.com/office/drawing/2014/main" id="{999A0725-E5CC-42E4-8FD8-BE59D1E86AE6}"/>
                </a:ext>
              </a:extLst>
            </p:cNvPr>
            <p:cNvSpPr/>
            <p:nvPr/>
          </p:nvSpPr>
          <p:spPr bwMode="auto">
            <a:xfrm>
              <a:off x="3660172" y="4337708"/>
              <a:ext cx="157381" cy="115721"/>
            </a:xfrm>
            <a:custGeom>
              <a:avLst/>
              <a:gdLst>
                <a:gd name="T0" fmla="*/ 41 w 43"/>
                <a:gd name="T1" fmla="*/ 16 h 32"/>
                <a:gd name="T2" fmla="*/ 26 w 43"/>
                <a:gd name="T3" fmla="*/ 0 h 32"/>
                <a:gd name="T4" fmla="*/ 3 w 43"/>
                <a:gd name="T5" fmla="*/ 16 h 32"/>
                <a:gd name="T6" fmla="*/ 18 w 43"/>
                <a:gd name="T7" fmla="*/ 32 h 32"/>
                <a:gd name="T8" fmla="*/ 41 w 43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2">
                  <a:moveTo>
                    <a:pt x="41" y="16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5" y="0"/>
                    <a:pt x="5" y="7"/>
                    <a:pt x="3" y="16"/>
                  </a:cubicBezTo>
                  <a:cubicBezTo>
                    <a:pt x="0" y="25"/>
                    <a:pt x="7" y="32"/>
                    <a:pt x="18" y="32"/>
                  </a:cubicBezTo>
                  <a:cubicBezTo>
                    <a:pt x="29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ïṣḷiḋe">
              <a:extLst>
                <a:ext uri="{FF2B5EF4-FFF2-40B4-BE49-F238E27FC236}">
                  <a16:creationId xmlns:a16="http://schemas.microsoft.com/office/drawing/2014/main" id="{1889FBF1-623C-4C67-8E5B-90EC10FF9B2A}"/>
                </a:ext>
              </a:extLst>
            </p:cNvPr>
            <p:cNvSpPr/>
            <p:nvPr/>
          </p:nvSpPr>
          <p:spPr bwMode="auto">
            <a:xfrm>
              <a:off x="3510506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19" y="0"/>
                  </a:cubicBezTo>
                  <a:cubicBezTo>
                    <a:pt x="11" y="0"/>
                    <a:pt x="3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ïṧľîdè">
              <a:extLst>
                <a:ext uri="{FF2B5EF4-FFF2-40B4-BE49-F238E27FC236}">
                  <a16:creationId xmlns:a16="http://schemas.microsoft.com/office/drawing/2014/main" id="{4A098D90-D9A0-471C-9812-54634D389A47}"/>
                </a:ext>
              </a:extLst>
            </p:cNvPr>
            <p:cNvSpPr/>
            <p:nvPr/>
          </p:nvSpPr>
          <p:spPr bwMode="auto">
            <a:xfrm>
              <a:off x="2941159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4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5"/>
                    <a:pt x="5" y="19"/>
                    <a:pt x="14" y="19"/>
                  </a:cubicBezTo>
                  <a:cubicBezTo>
                    <a:pt x="22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iSļîḍe">
              <a:extLst>
                <a:ext uri="{FF2B5EF4-FFF2-40B4-BE49-F238E27FC236}">
                  <a16:creationId xmlns:a16="http://schemas.microsoft.com/office/drawing/2014/main" id="{7B4A3213-B6A5-47BA-8AEC-8CA7D1EF5F9F}"/>
                </a:ext>
              </a:extLst>
            </p:cNvPr>
            <p:cNvSpPr/>
            <p:nvPr/>
          </p:nvSpPr>
          <p:spPr bwMode="auto">
            <a:xfrm>
              <a:off x="3076938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4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5"/>
                    <a:pt x="5" y="19"/>
                    <a:pt x="14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iṩḻïḓe">
              <a:extLst>
                <a:ext uri="{FF2B5EF4-FFF2-40B4-BE49-F238E27FC236}">
                  <a16:creationId xmlns:a16="http://schemas.microsoft.com/office/drawing/2014/main" id="{CF0E7B94-2187-495E-836D-BB8CB8DD5461}"/>
                </a:ext>
              </a:extLst>
            </p:cNvPr>
            <p:cNvSpPr/>
            <p:nvPr/>
          </p:nvSpPr>
          <p:spPr bwMode="auto">
            <a:xfrm>
              <a:off x="3212717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íṡḻîḓê">
              <a:extLst>
                <a:ext uri="{FF2B5EF4-FFF2-40B4-BE49-F238E27FC236}">
                  <a16:creationId xmlns:a16="http://schemas.microsoft.com/office/drawing/2014/main" id="{4983BD4E-A21A-4A77-8F8A-BA09BE467FAA}"/>
                </a:ext>
              </a:extLst>
            </p:cNvPr>
            <p:cNvSpPr/>
            <p:nvPr/>
          </p:nvSpPr>
          <p:spPr bwMode="auto">
            <a:xfrm>
              <a:off x="3346953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0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îṩ1iḓé">
              <a:extLst>
                <a:ext uri="{FF2B5EF4-FFF2-40B4-BE49-F238E27FC236}">
                  <a16:creationId xmlns:a16="http://schemas.microsoft.com/office/drawing/2014/main" id="{B4A1152C-2FF3-48A0-B781-077497BD676B}"/>
                </a:ext>
              </a:extLst>
            </p:cNvPr>
            <p:cNvSpPr/>
            <p:nvPr/>
          </p:nvSpPr>
          <p:spPr bwMode="auto">
            <a:xfrm>
              <a:off x="3482732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3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ïṣľídè">
              <a:extLst>
                <a:ext uri="{FF2B5EF4-FFF2-40B4-BE49-F238E27FC236}">
                  <a16:creationId xmlns:a16="http://schemas.microsoft.com/office/drawing/2014/main" id="{B5F97F32-2C31-4F9A-8E40-5FFA7B1C4578}"/>
                </a:ext>
              </a:extLst>
            </p:cNvPr>
            <p:cNvSpPr/>
            <p:nvPr/>
          </p:nvSpPr>
          <p:spPr bwMode="auto">
            <a:xfrm>
              <a:off x="3616969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1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ísļîdé">
              <a:extLst>
                <a:ext uri="{FF2B5EF4-FFF2-40B4-BE49-F238E27FC236}">
                  <a16:creationId xmlns:a16="http://schemas.microsoft.com/office/drawing/2014/main" id="{F2F91B14-32A5-4BFA-A87F-69BF03EB4EB9}"/>
                </a:ext>
              </a:extLst>
            </p:cNvPr>
            <p:cNvSpPr/>
            <p:nvPr/>
          </p:nvSpPr>
          <p:spPr bwMode="auto">
            <a:xfrm>
              <a:off x="2905670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3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iṩ1ïdè">
              <a:extLst>
                <a:ext uri="{FF2B5EF4-FFF2-40B4-BE49-F238E27FC236}">
                  <a16:creationId xmlns:a16="http://schemas.microsoft.com/office/drawing/2014/main" id="{B5241663-2F67-43AE-98B7-73071629AB01}"/>
                </a:ext>
              </a:extLst>
            </p:cNvPr>
            <p:cNvSpPr/>
            <p:nvPr/>
          </p:nvSpPr>
          <p:spPr bwMode="auto">
            <a:xfrm>
              <a:off x="3044536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3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0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isḷîḑê">
              <a:extLst>
                <a:ext uri="{FF2B5EF4-FFF2-40B4-BE49-F238E27FC236}">
                  <a16:creationId xmlns:a16="http://schemas.microsoft.com/office/drawing/2014/main" id="{01B59271-9E24-42F1-9428-88E0B3EFF402}"/>
                </a:ext>
              </a:extLst>
            </p:cNvPr>
            <p:cNvSpPr/>
            <p:nvPr/>
          </p:nvSpPr>
          <p:spPr bwMode="auto">
            <a:xfrm>
              <a:off x="3178772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4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0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íś1íďé">
              <a:extLst>
                <a:ext uri="{FF2B5EF4-FFF2-40B4-BE49-F238E27FC236}">
                  <a16:creationId xmlns:a16="http://schemas.microsoft.com/office/drawing/2014/main" id="{73D304D3-579F-46DE-96D1-94DABD4C17C8}"/>
                </a:ext>
              </a:extLst>
            </p:cNvPr>
            <p:cNvSpPr/>
            <p:nvPr/>
          </p:nvSpPr>
          <p:spPr bwMode="auto">
            <a:xfrm>
              <a:off x="3314552" y="2439884"/>
              <a:ext cx="123436" cy="74061"/>
            </a:xfrm>
            <a:custGeom>
              <a:avLst/>
              <a:gdLst>
                <a:gd name="T0" fmla="*/ 33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4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šlïďê">
              <a:extLst>
                <a:ext uri="{FF2B5EF4-FFF2-40B4-BE49-F238E27FC236}">
                  <a16:creationId xmlns:a16="http://schemas.microsoft.com/office/drawing/2014/main" id="{A5EE11D4-293A-4856-AD8F-2681F3C2E6FB}"/>
                </a:ext>
              </a:extLst>
            </p:cNvPr>
            <p:cNvSpPr/>
            <p:nvPr/>
          </p:nvSpPr>
          <p:spPr bwMode="auto">
            <a:xfrm>
              <a:off x="2868640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2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îṧľîḍé">
              <a:extLst>
                <a:ext uri="{FF2B5EF4-FFF2-40B4-BE49-F238E27FC236}">
                  <a16:creationId xmlns:a16="http://schemas.microsoft.com/office/drawing/2014/main" id="{6BBA7854-E8B7-4187-88AF-B0D389EC26BC}"/>
                </a:ext>
              </a:extLst>
            </p:cNvPr>
            <p:cNvSpPr/>
            <p:nvPr/>
          </p:nvSpPr>
          <p:spPr bwMode="auto">
            <a:xfrm>
              <a:off x="3007505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1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1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íšlíḋè">
              <a:extLst>
                <a:ext uri="{FF2B5EF4-FFF2-40B4-BE49-F238E27FC236}">
                  <a16:creationId xmlns:a16="http://schemas.microsoft.com/office/drawing/2014/main" id="{99FF698B-9A28-4B0D-8F24-A64B307B0010}"/>
                </a:ext>
              </a:extLst>
            </p:cNvPr>
            <p:cNvSpPr/>
            <p:nvPr/>
          </p:nvSpPr>
          <p:spPr bwMode="auto">
            <a:xfrm>
              <a:off x="3146370" y="2532461"/>
              <a:ext cx="128065" cy="72519"/>
            </a:xfrm>
            <a:custGeom>
              <a:avLst/>
              <a:gdLst>
                <a:gd name="T0" fmla="*/ 32 w 35"/>
                <a:gd name="T1" fmla="*/ 10 h 20"/>
                <a:gd name="T2" fmla="*/ 21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5" y="4"/>
                    <a:pt x="29" y="0"/>
                    <a:pt x="21" y="0"/>
                  </a:cubicBezTo>
                  <a:cubicBezTo>
                    <a:pt x="12" y="0"/>
                    <a:pt x="4" y="4"/>
                    <a:pt x="2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0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ïṧľîdé">
              <a:extLst>
                <a:ext uri="{FF2B5EF4-FFF2-40B4-BE49-F238E27FC236}">
                  <a16:creationId xmlns:a16="http://schemas.microsoft.com/office/drawing/2014/main" id="{1200AA76-1D10-4CB1-83B7-A01CD5119D86}"/>
                </a:ext>
              </a:extLst>
            </p:cNvPr>
            <p:cNvSpPr/>
            <p:nvPr/>
          </p:nvSpPr>
          <p:spPr bwMode="auto">
            <a:xfrm>
              <a:off x="2828523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3" y="20"/>
                    <a:pt x="32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ï$1îdê">
              <a:extLst>
                <a:ext uri="{FF2B5EF4-FFF2-40B4-BE49-F238E27FC236}">
                  <a16:creationId xmlns:a16="http://schemas.microsoft.com/office/drawing/2014/main" id="{A89C620F-F8AD-4000-9FD7-9389ADE2061E}"/>
                </a:ext>
              </a:extLst>
            </p:cNvPr>
            <p:cNvSpPr/>
            <p:nvPr/>
          </p:nvSpPr>
          <p:spPr bwMode="auto">
            <a:xfrm>
              <a:off x="2970474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iS1iḍè">
              <a:extLst>
                <a:ext uri="{FF2B5EF4-FFF2-40B4-BE49-F238E27FC236}">
                  <a16:creationId xmlns:a16="http://schemas.microsoft.com/office/drawing/2014/main" id="{A5FAA3D5-9C49-4C06-8182-0C115F1FC026}"/>
                </a:ext>
              </a:extLst>
            </p:cNvPr>
            <p:cNvSpPr/>
            <p:nvPr/>
          </p:nvSpPr>
          <p:spPr bwMode="auto">
            <a:xfrm>
              <a:off x="3109339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iśļiḋe">
              <a:extLst>
                <a:ext uri="{FF2B5EF4-FFF2-40B4-BE49-F238E27FC236}">
                  <a16:creationId xmlns:a16="http://schemas.microsoft.com/office/drawing/2014/main" id="{BAC6FBDE-DB8B-426E-950C-0EA2A68A6781}"/>
                </a:ext>
              </a:extLst>
            </p:cNvPr>
            <p:cNvSpPr/>
            <p:nvPr/>
          </p:nvSpPr>
          <p:spPr bwMode="auto">
            <a:xfrm>
              <a:off x="2793036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2 w 36"/>
                <a:gd name="T3" fmla="*/ 0 h 22"/>
                <a:gd name="T4" fmla="*/ 2 w 36"/>
                <a:gd name="T5" fmla="*/ 11 h 22"/>
                <a:gd name="T6" fmla="*/ 13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2" y="0"/>
                  </a:cubicBezTo>
                  <a:cubicBezTo>
                    <a:pt x="14" y="0"/>
                    <a:pt x="4" y="5"/>
                    <a:pt x="2" y="11"/>
                  </a:cubicBezTo>
                  <a:cubicBezTo>
                    <a:pt x="0" y="17"/>
                    <a:pt x="5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ïśḷiḋé">
              <a:extLst>
                <a:ext uri="{FF2B5EF4-FFF2-40B4-BE49-F238E27FC236}">
                  <a16:creationId xmlns:a16="http://schemas.microsoft.com/office/drawing/2014/main" id="{1EA82119-6087-4303-8536-BB1574027F28}"/>
                </a:ext>
              </a:extLst>
            </p:cNvPr>
            <p:cNvSpPr/>
            <p:nvPr/>
          </p:nvSpPr>
          <p:spPr bwMode="auto">
            <a:xfrm>
              <a:off x="2930358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23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1" y="0"/>
                    <a:pt x="23" y="0"/>
                  </a:cubicBezTo>
                  <a:cubicBezTo>
                    <a:pt x="14" y="0"/>
                    <a:pt x="5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îşḻïḍe">
              <a:extLst>
                <a:ext uri="{FF2B5EF4-FFF2-40B4-BE49-F238E27FC236}">
                  <a16:creationId xmlns:a16="http://schemas.microsoft.com/office/drawing/2014/main" id="{7CDFDCDA-FE91-404B-A586-D6508064EEB9}"/>
                </a:ext>
              </a:extLst>
            </p:cNvPr>
            <p:cNvSpPr/>
            <p:nvPr/>
          </p:nvSpPr>
          <p:spPr bwMode="auto">
            <a:xfrm>
              <a:off x="2894870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2 w 36"/>
                <a:gd name="T3" fmla="*/ 0 h 22"/>
                <a:gd name="T4" fmla="*/ 2 w 36"/>
                <a:gd name="T5" fmla="*/ 11 h 22"/>
                <a:gd name="T6" fmla="*/ 14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2" y="0"/>
                  </a:cubicBezTo>
                  <a:cubicBezTo>
                    <a:pt x="14" y="0"/>
                    <a:pt x="4" y="5"/>
                    <a:pt x="2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iṩḷîḋé">
              <a:extLst>
                <a:ext uri="{FF2B5EF4-FFF2-40B4-BE49-F238E27FC236}">
                  <a16:creationId xmlns:a16="http://schemas.microsoft.com/office/drawing/2014/main" id="{FE206F77-3340-4ED3-A99B-BF1EDE1FC590}"/>
                </a:ext>
              </a:extLst>
            </p:cNvPr>
            <p:cNvSpPr/>
            <p:nvPr/>
          </p:nvSpPr>
          <p:spPr bwMode="auto">
            <a:xfrm>
              <a:off x="2978189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2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ïşḷîḑè">
              <a:extLst>
                <a:ext uri="{FF2B5EF4-FFF2-40B4-BE49-F238E27FC236}">
                  <a16:creationId xmlns:a16="http://schemas.microsoft.com/office/drawing/2014/main" id="{AF369C23-20A3-41F4-A79B-3FD0B9B2CF69}"/>
                </a:ext>
              </a:extLst>
            </p:cNvPr>
            <p:cNvSpPr/>
            <p:nvPr/>
          </p:nvSpPr>
          <p:spPr bwMode="auto">
            <a:xfrm>
              <a:off x="3113969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îṩľïdê">
              <a:extLst>
                <a:ext uri="{FF2B5EF4-FFF2-40B4-BE49-F238E27FC236}">
                  <a16:creationId xmlns:a16="http://schemas.microsoft.com/office/drawing/2014/main" id="{6F4ED302-4022-49DD-85FE-9CF320CE85A9}"/>
                </a:ext>
              </a:extLst>
            </p:cNvPr>
            <p:cNvSpPr/>
            <p:nvPr/>
          </p:nvSpPr>
          <p:spPr bwMode="auto">
            <a:xfrm>
              <a:off x="3245119" y="2271702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îšľiḓê">
              <a:extLst>
                <a:ext uri="{FF2B5EF4-FFF2-40B4-BE49-F238E27FC236}">
                  <a16:creationId xmlns:a16="http://schemas.microsoft.com/office/drawing/2014/main" id="{8AB14CE5-DC13-47B9-9212-8C6CFC034A0F}"/>
                </a:ext>
              </a:extLst>
            </p:cNvPr>
            <p:cNvSpPr/>
            <p:nvPr/>
          </p:nvSpPr>
          <p:spPr bwMode="auto">
            <a:xfrm>
              <a:off x="3376270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0 w 34"/>
                <a:gd name="T3" fmla="*/ 0 h 19"/>
                <a:gd name="T4" fmla="*/ 2 w 34"/>
                <a:gd name="T5" fmla="*/ 9 h 19"/>
                <a:gd name="T6" fmla="*/ 14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ïṣḻíde">
              <a:extLst>
                <a:ext uri="{FF2B5EF4-FFF2-40B4-BE49-F238E27FC236}">
                  <a16:creationId xmlns:a16="http://schemas.microsoft.com/office/drawing/2014/main" id="{1B6FA883-398D-4196-9BD7-D80B23ED8FD3}"/>
                </a:ext>
              </a:extLst>
            </p:cNvPr>
            <p:cNvSpPr/>
            <p:nvPr/>
          </p:nvSpPr>
          <p:spPr bwMode="auto">
            <a:xfrm>
              <a:off x="333615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0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ïṡļïḓê">
              <a:extLst>
                <a:ext uri="{FF2B5EF4-FFF2-40B4-BE49-F238E27FC236}">
                  <a16:creationId xmlns:a16="http://schemas.microsoft.com/office/drawing/2014/main" id="{7C0AE3D7-4DBD-4584-B605-94858CBB53FB}"/>
                </a:ext>
              </a:extLst>
            </p:cNvPr>
            <p:cNvSpPr/>
            <p:nvPr/>
          </p:nvSpPr>
          <p:spPr bwMode="auto">
            <a:xfrm>
              <a:off x="3467303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9 w 31"/>
                <a:gd name="T3" fmla="*/ 0 h 17"/>
                <a:gd name="T4" fmla="*/ 1 w 31"/>
                <a:gd name="T5" fmla="*/ 9 h 17"/>
                <a:gd name="T6" fmla="*/ 12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îṣ1ïḋè">
              <a:extLst>
                <a:ext uri="{FF2B5EF4-FFF2-40B4-BE49-F238E27FC236}">
                  <a16:creationId xmlns:a16="http://schemas.microsoft.com/office/drawing/2014/main" id="{BB3C1E3D-CA00-4836-9AAD-067F1393A162}"/>
                </a:ext>
              </a:extLst>
            </p:cNvPr>
            <p:cNvSpPr/>
            <p:nvPr/>
          </p:nvSpPr>
          <p:spPr bwMode="auto">
            <a:xfrm>
              <a:off x="3306837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20 w 33"/>
                <a:gd name="T3" fmla="*/ 0 h 18"/>
                <a:gd name="T4" fmla="*/ 2 w 33"/>
                <a:gd name="T5" fmla="*/ 9 h 18"/>
                <a:gd name="T6" fmla="*/ 13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íṩḷíḑê">
              <a:extLst>
                <a:ext uri="{FF2B5EF4-FFF2-40B4-BE49-F238E27FC236}">
                  <a16:creationId xmlns:a16="http://schemas.microsoft.com/office/drawing/2014/main" id="{588ED8F0-ED7D-4109-9351-94A8C32EA394}"/>
                </a:ext>
              </a:extLst>
            </p:cNvPr>
            <p:cNvSpPr/>
            <p:nvPr/>
          </p:nvSpPr>
          <p:spPr bwMode="auto">
            <a:xfrm>
              <a:off x="3437988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9 w 32"/>
                <a:gd name="T3" fmla="*/ 0 h 18"/>
                <a:gd name="T4" fmla="*/ 1 w 32"/>
                <a:gd name="T5" fmla="*/ 9 h 18"/>
                <a:gd name="T6" fmla="*/ 13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iŝḻidé">
              <a:extLst>
                <a:ext uri="{FF2B5EF4-FFF2-40B4-BE49-F238E27FC236}">
                  <a16:creationId xmlns:a16="http://schemas.microsoft.com/office/drawing/2014/main" id="{8890E357-E181-4572-A8EC-E400B5FD7EF5}"/>
                </a:ext>
              </a:extLst>
            </p:cNvPr>
            <p:cNvSpPr/>
            <p:nvPr/>
          </p:nvSpPr>
          <p:spPr bwMode="auto">
            <a:xfrm>
              <a:off x="3566052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9 w 32"/>
                <a:gd name="T3" fmla="*/ 0 h 18"/>
                <a:gd name="T4" fmla="*/ 2 w 32"/>
                <a:gd name="T5" fmla="*/ 9 h 18"/>
                <a:gd name="T6" fmla="*/ 13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ïSḷïḓé">
              <a:extLst>
                <a:ext uri="{FF2B5EF4-FFF2-40B4-BE49-F238E27FC236}">
                  <a16:creationId xmlns:a16="http://schemas.microsoft.com/office/drawing/2014/main" id="{FD631628-124D-4E85-BB58-893E46495762}"/>
                </a:ext>
              </a:extLst>
            </p:cNvPr>
            <p:cNvSpPr/>
            <p:nvPr/>
          </p:nvSpPr>
          <p:spPr bwMode="auto">
            <a:xfrm>
              <a:off x="3697203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8 w 32"/>
                <a:gd name="T3" fmla="*/ 0 h 18"/>
                <a:gd name="T4" fmla="*/ 1 w 32"/>
                <a:gd name="T5" fmla="*/ 9 h 18"/>
                <a:gd name="T6" fmla="*/ 13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32" y="4"/>
                    <a:pt x="26" y="0"/>
                    <a:pt x="18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îṥḻîḓe">
              <a:extLst>
                <a:ext uri="{FF2B5EF4-FFF2-40B4-BE49-F238E27FC236}">
                  <a16:creationId xmlns:a16="http://schemas.microsoft.com/office/drawing/2014/main" id="{87CE9D73-A4B0-443C-A96F-0780C465AEDF}"/>
                </a:ext>
              </a:extLst>
            </p:cNvPr>
            <p:cNvSpPr/>
            <p:nvPr/>
          </p:nvSpPr>
          <p:spPr bwMode="auto">
            <a:xfrm>
              <a:off x="3015220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îṥļîḋé">
              <a:extLst>
                <a:ext uri="{FF2B5EF4-FFF2-40B4-BE49-F238E27FC236}">
                  <a16:creationId xmlns:a16="http://schemas.microsoft.com/office/drawing/2014/main" id="{8D36F14D-1A29-4127-88CA-DC45960B4B96}"/>
                </a:ext>
              </a:extLst>
            </p:cNvPr>
            <p:cNvSpPr/>
            <p:nvPr/>
          </p:nvSpPr>
          <p:spPr bwMode="auto">
            <a:xfrm>
              <a:off x="3277521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ïṧļiḑè">
              <a:extLst>
                <a:ext uri="{FF2B5EF4-FFF2-40B4-BE49-F238E27FC236}">
                  <a16:creationId xmlns:a16="http://schemas.microsoft.com/office/drawing/2014/main" id="{F6A1A6BE-416A-4A00-ACF7-A99F3E20B7E3}"/>
                </a:ext>
              </a:extLst>
            </p:cNvPr>
            <p:cNvSpPr/>
            <p:nvPr/>
          </p:nvSpPr>
          <p:spPr bwMode="auto">
            <a:xfrm>
              <a:off x="3408671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9 w 32"/>
                <a:gd name="T3" fmla="*/ 0 h 19"/>
                <a:gd name="T4" fmla="*/ 1 w 32"/>
                <a:gd name="T5" fmla="*/ 9 h 19"/>
                <a:gd name="T6" fmla="*/ 13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iṩḻidè">
              <a:extLst>
                <a:ext uri="{FF2B5EF4-FFF2-40B4-BE49-F238E27FC236}">
                  <a16:creationId xmlns:a16="http://schemas.microsoft.com/office/drawing/2014/main" id="{4EFF2F5A-88E4-4122-A88D-74AF71D4187A}"/>
                </a:ext>
              </a:extLst>
            </p:cNvPr>
            <p:cNvSpPr/>
            <p:nvPr/>
          </p:nvSpPr>
          <p:spPr bwMode="auto">
            <a:xfrm>
              <a:off x="3539822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9 w 32"/>
                <a:gd name="T3" fmla="*/ 0 h 19"/>
                <a:gd name="T4" fmla="*/ 1 w 32"/>
                <a:gd name="T5" fmla="*/ 9 h 19"/>
                <a:gd name="T6" fmla="*/ 13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išliḋé">
              <a:extLst>
                <a:ext uri="{FF2B5EF4-FFF2-40B4-BE49-F238E27FC236}">
                  <a16:creationId xmlns:a16="http://schemas.microsoft.com/office/drawing/2014/main" id="{08F0AFB2-CAAC-4465-9B59-300968FD0DBE}"/>
                </a:ext>
              </a:extLst>
            </p:cNvPr>
            <p:cNvSpPr/>
            <p:nvPr/>
          </p:nvSpPr>
          <p:spPr bwMode="auto">
            <a:xfrm>
              <a:off x="366788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4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iṧḷîdé">
              <a:extLst>
                <a:ext uri="{FF2B5EF4-FFF2-40B4-BE49-F238E27FC236}">
                  <a16:creationId xmlns:a16="http://schemas.microsoft.com/office/drawing/2014/main" id="{F1F2AF0C-4BAB-481B-9A77-0196CC51ACED}"/>
                </a:ext>
              </a:extLst>
            </p:cNvPr>
            <p:cNvSpPr/>
            <p:nvPr/>
          </p:nvSpPr>
          <p:spPr bwMode="auto">
            <a:xfrm>
              <a:off x="3799037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2 w 33"/>
                <a:gd name="T5" fmla="*/ 9 h 19"/>
                <a:gd name="T6" fmla="*/ 14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7" y="0"/>
                    <a:pt x="19" y="0"/>
                  </a:cubicBezTo>
                  <a:cubicBezTo>
                    <a:pt x="11" y="0"/>
                    <a:pt x="3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1" name="íṧḷîḓe">
              <a:extLst>
                <a:ext uri="{FF2B5EF4-FFF2-40B4-BE49-F238E27FC236}">
                  <a16:creationId xmlns:a16="http://schemas.microsoft.com/office/drawing/2014/main" id="{515184EA-D7D2-4019-9E92-C5C1ACDF9CFE}"/>
                </a:ext>
              </a:extLst>
            </p:cNvPr>
            <p:cNvSpPr/>
            <p:nvPr/>
          </p:nvSpPr>
          <p:spPr bwMode="auto">
            <a:xfrm>
              <a:off x="3424101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3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2" name="iŝľíḋè">
              <a:extLst>
                <a:ext uri="{FF2B5EF4-FFF2-40B4-BE49-F238E27FC236}">
                  <a16:creationId xmlns:a16="http://schemas.microsoft.com/office/drawing/2014/main" id="{92CECBF3-40DB-4082-A78E-B91C58039445}"/>
                </a:ext>
              </a:extLst>
            </p:cNvPr>
            <p:cNvSpPr/>
            <p:nvPr/>
          </p:nvSpPr>
          <p:spPr bwMode="auto">
            <a:xfrm>
              <a:off x="3394785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3" name="ïṥľíḓè">
              <a:extLst>
                <a:ext uri="{FF2B5EF4-FFF2-40B4-BE49-F238E27FC236}">
                  <a16:creationId xmlns:a16="http://schemas.microsoft.com/office/drawing/2014/main" id="{C931A3E8-6F40-4F8F-A044-325D9BCBFD6E}"/>
                </a:ext>
              </a:extLst>
            </p:cNvPr>
            <p:cNvSpPr/>
            <p:nvPr/>
          </p:nvSpPr>
          <p:spPr bwMode="auto">
            <a:xfrm>
              <a:off x="3522849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8 w 31"/>
                <a:gd name="T3" fmla="*/ 0 h 17"/>
                <a:gd name="T4" fmla="*/ 1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4" name="îṥľîḍê">
              <a:extLst>
                <a:ext uri="{FF2B5EF4-FFF2-40B4-BE49-F238E27FC236}">
                  <a16:creationId xmlns:a16="http://schemas.microsoft.com/office/drawing/2014/main" id="{7259C13E-A662-4DED-863A-B432F1742B22}"/>
                </a:ext>
              </a:extLst>
            </p:cNvPr>
            <p:cNvSpPr/>
            <p:nvPr/>
          </p:nvSpPr>
          <p:spPr bwMode="auto">
            <a:xfrm>
              <a:off x="3368554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9 w 31"/>
                <a:gd name="T3" fmla="*/ 0 h 17"/>
                <a:gd name="T4" fmla="*/ 1 w 31"/>
                <a:gd name="T5" fmla="*/ 8 h 17"/>
                <a:gd name="T6" fmla="*/ 12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3" y="4"/>
                    <a:pt x="1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5" name="ïŝľïḍé">
              <a:extLst>
                <a:ext uri="{FF2B5EF4-FFF2-40B4-BE49-F238E27FC236}">
                  <a16:creationId xmlns:a16="http://schemas.microsoft.com/office/drawing/2014/main" id="{F003272C-EDF7-4980-BED6-469BFE5CFF1F}"/>
                </a:ext>
              </a:extLst>
            </p:cNvPr>
            <p:cNvSpPr/>
            <p:nvPr/>
          </p:nvSpPr>
          <p:spPr bwMode="auto">
            <a:xfrm>
              <a:off x="3493534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6" name="î$ļïďê">
              <a:extLst>
                <a:ext uri="{FF2B5EF4-FFF2-40B4-BE49-F238E27FC236}">
                  <a16:creationId xmlns:a16="http://schemas.microsoft.com/office/drawing/2014/main" id="{9DD88F14-5B9E-4A57-B234-AE23F764E14B}"/>
                </a:ext>
              </a:extLst>
            </p:cNvPr>
            <p:cNvSpPr/>
            <p:nvPr/>
          </p:nvSpPr>
          <p:spPr bwMode="auto">
            <a:xfrm>
              <a:off x="3620055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8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1" y="0"/>
                    <a:pt x="3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7" name="îṩḷïdè">
              <a:extLst>
                <a:ext uri="{FF2B5EF4-FFF2-40B4-BE49-F238E27FC236}">
                  <a16:creationId xmlns:a16="http://schemas.microsoft.com/office/drawing/2014/main" id="{275FFA08-1F9A-4B1A-A058-844740C87FD2}"/>
                </a:ext>
              </a:extLst>
            </p:cNvPr>
            <p:cNvSpPr/>
            <p:nvPr/>
          </p:nvSpPr>
          <p:spPr bwMode="auto">
            <a:xfrm>
              <a:off x="3745033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6" y="17"/>
                    <a:pt x="13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8" name="ïşļïdé">
              <a:extLst>
                <a:ext uri="{FF2B5EF4-FFF2-40B4-BE49-F238E27FC236}">
                  <a16:creationId xmlns:a16="http://schemas.microsoft.com/office/drawing/2014/main" id="{5204B6D1-C125-4ADF-9396-044B86352139}"/>
                </a:ext>
              </a:extLst>
            </p:cNvPr>
            <p:cNvSpPr/>
            <p:nvPr/>
          </p:nvSpPr>
          <p:spPr bwMode="auto">
            <a:xfrm>
              <a:off x="3175687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9" name="íŝḻídé">
              <a:extLst>
                <a:ext uri="{FF2B5EF4-FFF2-40B4-BE49-F238E27FC236}">
                  <a16:creationId xmlns:a16="http://schemas.microsoft.com/office/drawing/2014/main" id="{B0A1638B-B748-4682-B113-FBBC95D80539}"/>
                </a:ext>
              </a:extLst>
            </p:cNvPr>
            <p:cNvSpPr/>
            <p:nvPr/>
          </p:nvSpPr>
          <p:spPr bwMode="auto">
            <a:xfrm>
              <a:off x="3299122" y="1804190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3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7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0" name="iṣľïḑê">
              <a:extLst>
                <a:ext uri="{FF2B5EF4-FFF2-40B4-BE49-F238E27FC236}">
                  <a16:creationId xmlns:a16="http://schemas.microsoft.com/office/drawing/2014/main" id="{538C8CA0-E1A9-4F49-A3B6-01A2D38F530C}"/>
                </a:ext>
              </a:extLst>
            </p:cNvPr>
            <p:cNvSpPr/>
            <p:nvPr/>
          </p:nvSpPr>
          <p:spPr bwMode="auto">
            <a:xfrm>
              <a:off x="3146370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1" name="î$ľïḑê">
              <a:extLst>
                <a:ext uri="{FF2B5EF4-FFF2-40B4-BE49-F238E27FC236}">
                  <a16:creationId xmlns:a16="http://schemas.microsoft.com/office/drawing/2014/main" id="{A443F087-6220-4461-B51D-ACB6D27D00B6}"/>
                </a:ext>
              </a:extLst>
            </p:cNvPr>
            <p:cNvSpPr/>
            <p:nvPr/>
          </p:nvSpPr>
          <p:spPr bwMode="auto">
            <a:xfrm>
              <a:off x="3269806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2" name="îSḷîďè">
              <a:extLst>
                <a:ext uri="{FF2B5EF4-FFF2-40B4-BE49-F238E27FC236}">
                  <a16:creationId xmlns:a16="http://schemas.microsoft.com/office/drawing/2014/main" id="{763A2DDB-A62B-495B-89E9-69418616A155}"/>
                </a:ext>
              </a:extLst>
            </p:cNvPr>
            <p:cNvSpPr/>
            <p:nvPr/>
          </p:nvSpPr>
          <p:spPr bwMode="auto">
            <a:xfrm>
              <a:off x="3113969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3" name="îṣľiḓè">
              <a:extLst>
                <a:ext uri="{FF2B5EF4-FFF2-40B4-BE49-F238E27FC236}">
                  <a16:creationId xmlns:a16="http://schemas.microsoft.com/office/drawing/2014/main" id="{69855741-D167-4B9A-9145-0AF282435C4F}"/>
                </a:ext>
              </a:extLst>
            </p:cNvPr>
            <p:cNvSpPr/>
            <p:nvPr/>
          </p:nvSpPr>
          <p:spPr bwMode="auto">
            <a:xfrm>
              <a:off x="3240490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4" name="işļïḑé">
              <a:extLst>
                <a:ext uri="{FF2B5EF4-FFF2-40B4-BE49-F238E27FC236}">
                  <a16:creationId xmlns:a16="http://schemas.microsoft.com/office/drawing/2014/main" id="{978F188A-BC0F-4940-B7CC-385E412A8092}"/>
                </a:ext>
              </a:extLst>
            </p:cNvPr>
            <p:cNvSpPr/>
            <p:nvPr/>
          </p:nvSpPr>
          <p:spPr bwMode="auto">
            <a:xfrm>
              <a:off x="2884069" y="2188383"/>
              <a:ext cx="123436" cy="69433"/>
            </a:xfrm>
            <a:custGeom>
              <a:avLst/>
              <a:gdLst>
                <a:gd name="T0" fmla="*/ 31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5" name="îśliḓe">
              <a:extLst>
                <a:ext uri="{FF2B5EF4-FFF2-40B4-BE49-F238E27FC236}">
                  <a16:creationId xmlns:a16="http://schemas.microsoft.com/office/drawing/2014/main" id="{21C16FDB-7448-40CB-BB61-3F893BD6F0FF}"/>
                </a:ext>
              </a:extLst>
            </p:cNvPr>
            <p:cNvSpPr/>
            <p:nvPr/>
          </p:nvSpPr>
          <p:spPr bwMode="auto">
            <a:xfrm>
              <a:off x="2847039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6" name="íṥḷîḋê">
              <a:extLst>
                <a:ext uri="{FF2B5EF4-FFF2-40B4-BE49-F238E27FC236}">
                  <a16:creationId xmlns:a16="http://schemas.microsoft.com/office/drawing/2014/main" id="{509D6153-45B4-44D2-97D3-A276B57B0096}"/>
                </a:ext>
              </a:extLst>
            </p:cNvPr>
            <p:cNvSpPr/>
            <p:nvPr/>
          </p:nvSpPr>
          <p:spPr bwMode="auto">
            <a:xfrm>
              <a:off x="2810008" y="2356565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5"/>
                    <a:pt x="4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7" name="ïşľîḋe">
              <a:extLst>
                <a:ext uri="{FF2B5EF4-FFF2-40B4-BE49-F238E27FC236}">
                  <a16:creationId xmlns:a16="http://schemas.microsoft.com/office/drawing/2014/main" id="{34DB2062-343B-487E-BEFA-A7D2A0DF3385}"/>
                </a:ext>
              </a:extLst>
            </p:cNvPr>
            <p:cNvSpPr/>
            <p:nvPr/>
          </p:nvSpPr>
          <p:spPr bwMode="auto">
            <a:xfrm>
              <a:off x="2769891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8" name="ïŝḷîḓè">
              <a:extLst>
                <a:ext uri="{FF2B5EF4-FFF2-40B4-BE49-F238E27FC236}">
                  <a16:creationId xmlns:a16="http://schemas.microsoft.com/office/drawing/2014/main" id="{4E96BD7C-2F64-49CD-88E7-2935A0E0D852}"/>
                </a:ext>
              </a:extLst>
            </p:cNvPr>
            <p:cNvSpPr/>
            <p:nvPr/>
          </p:nvSpPr>
          <p:spPr bwMode="auto">
            <a:xfrm>
              <a:off x="2729775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2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2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9" name="iSḷïḓé">
              <a:extLst>
                <a:ext uri="{FF2B5EF4-FFF2-40B4-BE49-F238E27FC236}">
                  <a16:creationId xmlns:a16="http://schemas.microsoft.com/office/drawing/2014/main" id="{5CC565C4-D6D7-4D59-A82A-2968E99BD3AF}"/>
                </a:ext>
              </a:extLst>
            </p:cNvPr>
            <p:cNvSpPr/>
            <p:nvPr/>
          </p:nvSpPr>
          <p:spPr bwMode="auto">
            <a:xfrm>
              <a:off x="2689658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0" name="íšļîḍe">
              <a:extLst>
                <a:ext uri="{FF2B5EF4-FFF2-40B4-BE49-F238E27FC236}">
                  <a16:creationId xmlns:a16="http://schemas.microsoft.com/office/drawing/2014/main" id="{EC31C4E4-BEC7-41AF-8998-8E581FA46651}"/>
                </a:ext>
              </a:extLst>
            </p:cNvPr>
            <p:cNvSpPr/>
            <p:nvPr/>
          </p:nvSpPr>
          <p:spPr bwMode="auto">
            <a:xfrm>
              <a:off x="264954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3 w 36"/>
                <a:gd name="T3" fmla="*/ 0 h 22"/>
                <a:gd name="T4" fmla="*/ 2 w 36"/>
                <a:gd name="T5" fmla="*/ 11 h 22"/>
                <a:gd name="T6" fmla="*/ 13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4" y="0"/>
                    <a:pt x="5" y="5"/>
                    <a:pt x="2" y="11"/>
                  </a:cubicBezTo>
                  <a:cubicBezTo>
                    <a:pt x="0" y="17"/>
                    <a:pt x="5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1" name="ïṣlîḋè">
              <a:extLst>
                <a:ext uri="{FF2B5EF4-FFF2-40B4-BE49-F238E27FC236}">
                  <a16:creationId xmlns:a16="http://schemas.microsoft.com/office/drawing/2014/main" id="{3FCAADE4-4653-4B47-B3E0-5A390540E88C}"/>
                </a:ext>
              </a:extLst>
            </p:cNvPr>
            <p:cNvSpPr/>
            <p:nvPr/>
          </p:nvSpPr>
          <p:spPr bwMode="auto">
            <a:xfrm>
              <a:off x="3055337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7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2" name="îšlîdê">
              <a:extLst>
                <a:ext uri="{FF2B5EF4-FFF2-40B4-BE49-F238E27FC236}">
                  <a16:creationId xmlns:a16="http://schemas.microsoft.com/office/drawing/2014/main" id="{1BA72830-8C80-4247-B448-74C23B3F501A}"/>
                </a:ext>
              </a:extLst>
            </p:cNvPr>
            <p:cNvSpPr/>
            <p:nvPr/>
          </p:nvSpPr>
          <p:spPr bwMode="auto">
            <a:xfrm>
              <a:off x="3022934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3" name="iṩḷîďê">
              <a:extLst>
                <a:ext uri="{FF2B5EF4-FFF2-40B4-BE49-F238E27FC236}">
                  <a16:creationId xmlns:a16="http://schemas.microsoft.com/office/drawing/2014/main" id="{5686066E-0DD1-4E62-A45E-8ECFA9146CFB}"/>
                </a:ext>
              </a:extLst>
            </p:cNvPr>
            <p:cNvSpPr/>
            <p:nvPr/>
          </p:nvSpPr>
          <p:spPr bwMode="auto">
            <a:xfrm>
              <a:off x="2988990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4" name="ïşļïďé">
              <a:extLst>
                <a:ext uri="{FF2B5EF4-FFF2-40B4-BE49-F238E27FC236}">
                  <a16:creationId xmlns:a16="http://schemas.microsoft.com/office/drawing/2014/main" id="{3060E86B-B05E-4D77-B039-813F0FF5EB98}"/>
                </a:ext>
              </a:extLst>
            </p:cNvPr>
            <p:cNvSpPr/>
            <p:nvPr/>
          </p:nvSpPr>
          <p:spPr bwMode="auto">
            <a:xfrm>
              <a:off x="2964302" y="1734757"/>
              <a:ext cx="112636" cy="58632"/>
            </a:xfrm>
            <a:custGeom>
              <a:avLst/>
              <a:gdLst>
                <a:gd name="T0" fmla="*/ 29 w 31"/>
                <a:gd name="T1" fmla="*/ 8 h 16"/>
                <a:gd name="T2" fmla="*/ 19 w 31"/>
                <a:gd name="T3" fmla="*/ 0 h 16"/>
                <a:gd name="T4" fmla="*/ 2 w 31"/>
                <a:gd name="T5" fmla="*/ 8 h 16"/>
                <a:gd name="T6" fmla="*/ 12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31" y="3"/>
                    <a:pt x="27" y="0"/>
                    <a:pt x="19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5" name="íṥḷiḍè">
              <a:extLst>
                <a:ext uri="{FF2B5EF4-FFF2-40B4-BE49-F238E27FC236}">
                  <a16:creationId xmlns:a16="http://schemas.microsoft.com/office/drawing/2014/main" id="{988F52D4-BD17-41E5-A692-12D24B909854}"/>
                </a:ext>
              </a:extLst>
            </p:cNvPr>
            <p:cNvSpPr/>
            <p:nvPr/>
          </p:nvSpPr>
          <p:spPr bwMode="auto">
            <a:xfrm>
              <a:off x="2930358" y="1804190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7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6" name="íśļiďé">
              <a:extLst>
                <a:ext uri="{FF2B5EF4-FFF2-40B4-BE49-F238E27FC236}">
                  <a16:creationId xmlns:a16="http://schemas.microsoft.com/office/drawing/2014/main" id="{0BC4311E-0C2A-400A-870C-18EBFB259B9F}"/>
                </a:ext>
              </a:extLst>
            </p:cNvPr>
            <p:cNvSpPr/>
            <p:nvPr/>
          </p:nvSpPr>
          <p:spPr bwMode="auto">
            <a:xfrm>
              <a:off x="2860926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7" name="ïṡļidê">
              <a:extLst>
                <a:ext uri="{FF2B5EF4-FFF2-40B4-BE49-F238E27FC236}">
                  <a16:creationId xmlns:a16="http://schemas.microsoft.com/office/drawing/2014/main" id="{72A20B1A-FC64-44D8-8B8C-FE1033800E9A}"/>
                </a:ext>
              </a:extLst>
            </p:cNvPr>
            <p:cNvSpPr/>
            <p:nvPr/>
          </p:nvSpPr>
          <p:spPr bwMode="auto">
            <a:xfrm>
              <a:off x="2825437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8" name="iṣḻïḓè">
              <a:extLst>
                <a:ext uri="{FF2B5EF4-FFF2-40B4-BE49-F238E27FC236}">
                  <a16:creationId xmlns:a16="http://schemas.microsoft.com/office/drawing/2014/main" id="{66636370-4101-4489-BD80-7368375861DD}"/>
                </a:ext>
              </a:extLst>
            </p:cNvPr>
            <p:cNvSpPr/>
            <p:nvPr/>
          </p:nvSpPr>
          <p:spPr bwMode="auto">
            <a:xfrm>
              <a:off x="2788407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21 w 34"/>
                <a:gd name="T3" fmla="*/ 0 h 18"/>
                <a:gd name="T4" fmla="*/ 2 w 34"/>
                <a:gd name="T5" fmla="*/ 9 h 18"/>
                <a:gd name="T6" fmla="*/ 13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9" name="ïṧḻîḓè">
              <a:extLst>
                <a:ext uri="{FF2B5EF4-FFF2-40B4-BE49-F238E27FC236}">
                  <a16:creationId xmlns:a16="http://schemas.microsoft.com/office/drawing/2014/main" id="{CA450323-3FC4-47F5-9074-826F94D48C7D}"/>
                </a:ext>
              </a:extLst>
            </p:cNvPr>
            <p:cNvSpPr/>
            <p:nvPr/>
          </p:nvSpPr>
          <p:spPr bwMode="auto">
            <a:xfrm>
              <a:off x="2752919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0" name="îSḷîdé">
              <a:extLst>
                <a:ext uri="{FF2B5EF4-FFF2-40B4-BE49-F238E27FC236}">
                  <a16:creationId xmlns:a16="http://schemas.microsoft.com/office/drawing/2014/main" id="{89ED3EA0-7FD9-4231-A1F9-0CE7A96DACFC}"/>
                </a:ext>
              </a:extLst>
            </p:cNvPr>
            <p:cNvSpPr/>
            <p:nvPr/>
          </p:nvSpPr>
          <p:spPr bwMode="auto">
            <a:xfrm>
              <a:off x="2715889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2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1" name="îṡļïdê">
              <a:extLst>
                <a:ext uri="{FF2B5EF4-FFF2-40B4-BE49-F238E27FC236}">
                  <a16:creationId xmlns:a16="http://schemas.microsoft.com/office/drawing/2014/main" id="{1911DD27-7810-4F42-8101-72A3B0D6EBB8}"/>
                </a:ext>
              </a:extLst>
            </p:cNvPr>
            <p:cNvSpPr/>
            <p:nvPr/>
          </p:nvSpPr>
          <p:spPr bwMode="auto">
            <a:xfrm>
              <a:off x="2675772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2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2" name="íşļïďé">
              <a:extLst>
                <a:ext uri="{FF2B5EF4-FFF2-40B4-BE49-F238E27FC236}">
                  <a16:creationId xmlns:a16="http://schemas.microsoft.com/office/drawing/2014/main" id="{A39E05DA-9A3D-461C-A06A-C01B76C9D822}"/>
                </a:ext>
              </a:extLst>
            </p:cNvPr>
            <p:cNvSpPr/>
            <p:nvPr/>
          </p:nvSpPr>
          <p:spPr bwMode="auto">
            <a:xfrm>
              <a:off x="2635655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3" name="íṧḻîḓe">
              <a:extLst>
                <a:ext uri="{FF2B5EF4-FFF2-40B4-BE49-F238E27FC236}">
                  <a16:creationId xmlns:a16="http://schemas.microsoft.com/office/drawing/2014/main" id="{D828F925-AE35-4CBE-A099-502C89F98019}"/>
                </a:ext>
              </a:extLst>
            </p:cNvPr>
            <p:cNvSpPr/>
            <p:nvPr/>
          </p:nvSpPr>
          <p:spPr bwMode="auto">
            <a:xfrm>
              <a:off x="2590909" y="2532461"/>
              <a:ext cx="132693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4" name="ïṥḷíḋé">
              <a:extLst>
                <a:ext uri="{FF2B5EF4-FFF2-40B4-BE49-F238E27FC236}">
                  <a16:creationId xmlns:a16="http://schemas.microsoft.com/office/drawing/2014/main" id="{E5B25FC6-0068-4277-B8AD-4CEFA6FEDCFC}"/>
                </a:ext>
              </a:extLst>
            </p:cNvPr>
            <p:cNvSpPr/>
            <p:nvPr/>
          </p:nvSpPr>
          <p:spPr bwMode="auto">
            <a:xfrm>
              <a:off x="2550793" y="2623494"/>
              <a:ext cx="132693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5" name="îṧļiḍê">
              <a:extLst>
                <a:ext uri="{FF2B5EF4-FFF2-40B4-BE49-F238E27FC236}">
                  <a16:creationId xmlns:a16="http://schemas.microsoft.com/office/drawing/2014/main" id="{A73CADEE-097E-4A04-855F-D9D04863CADC}"/>
                </a:ext>
              </a:extLst>
            </p:cNvPr>
            <p:cNvSpPr/>
            <p:nvPr/>
          </p:nvSpPr>
          <p:spPr bwMode="auto">
            <a:xfrm>
              <a:off x="2507590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23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2" y="0"/>
                    <a:pt x="23" y="0"/>
                  </a:cubicBezTo>
                  <a:cubicBezTo>
                    <a:pt x="15" y="0"/>
                    <a:pt x="5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2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6" name="ï$lïḑê">
              <a:extLst>
                <a:ext uri="{FF2B5EF4-FFF2-40B4-BE49-F238E27FC236}">
                  <a16:creationId xmlns:a16="http://schemas.microsoft.com/office/drawing/2014/main" id="{CD02FED3-08E0-497D-B1F0-FF230198F3DB}"/>
                </a:ext>
              </a:extLst>
            </p:cNvPr>
            <p:cNvSpPr/>
            <p:nvPr/>
          </p:nvSpPr>
          <p:spPr bwMode="auto">
            <a:xfrm>
              <a:off x="2839324" y="1734757"/>
              <a:ext cx="117264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7" y="0"/>
                    <a:pt x="20" y="0"/>
                  </a:cubicBezTo>
                  <a:cubicBezTo>
                    <a:pt x="12" y="0"/>
                    <a:pt x="5" y="3"/>
                    <a:pt x="2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8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7" name="í$ľïḑê">
              <a:extLst>
                <a:ext uri="{FF2B5EF4-FFF2-40B4-BE49-F238E27FC236}">
                  <a16:creationId xmlns:a16="http://schemas.microsoft.com/office/drawing/2014/main" id="{6FC48155-CBBB-4D9A-AA54-9AAABAC2DC7A}"/>
                </a:ext>
              </a:extLst>
            </p:cNvPr>
            <p:cNvSpPr/>
            <p:nvPr/>
          </p:nvSpPr>
          <p:spPr bwMode="auto">
            <a:xfrm>
              <a:off x="2806922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8" name="îşḻídê">
              <a:extLst>
                <a:ext uri="{FF2B5EF4-FFF2-40B4-BE49-F238E27FC236}">
                  <a16:creationId xmlns:a16="http://schemas.microsoft.com/office/drawing/2014/main" id="{FC1396A1-FA5E-4CA0-92AA-5582234CEAE3}"/>
                </a:ext>
              </a:extLst>
            </p:cNvPr>
            <p:cNvSpPr/>
            <p:nvPr/>
          </p:nvSpPr>
          <p:spPr bwMode="auto">
            <a:xfrm>
              <a:off x="2769891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9" name="îsľîḓé">
              <a:extLst>
                <a:ext uri="{FF2B5EF4-FFF2-40B4-BE49-F238E27FC236}">
                  <a16:creationId xmlns:a16="http://schemas.microsoft.com/office/drawing/2014/main" id="{B7394D7C-98ED-45C7-80BB-D36E91778EAF}"/>
                </a:ext>
              </a:extLst>
            </p:cNvPr>
            <p:cNvSpPr/>
            <p:nvPr/>
          </p:nvSpPr>
          <p:spPr bwMode="auto">
            <a:xfrm>
              <a:off x="2734404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3 w 33"/>
                <a:gd name="T5" fmla="*/ 8 h 17"/>
                <a:gd name="T6" fmla="*/ 13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3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0" name="ïs1ïḍè">
              <a:extLst>
                <a:ext uri="{FF2B5EF4-FFF2-40B4-BE49-F238E27FC236}">
                  <a16:creationId xmlns:a16="http://schemas.microsoft.com/office/drawing/2014/main" id="{17C8CF98-8497-4079-9411-1ADD45F8E621}"/>
                </a:ext>
              </a:extLst>
            </p:cNvPr>
            <p:cNvSpPr/>
            <p:nvPr/>
          </p:nvSpPr>
          <p:spPr bwMode="auto">
            <a:xfrm>
              <a:off x="269737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1" name="íSļïdé">
              <a:extLst>
                <a:ext uri="{FF2B5EF4-FFF2-40B4-BE49-F238E27FC236}">
                  <a16:creationId xmlns:a16="http://schemas.microsoft.com/office/drawing/2014/main" id="{4CB13C05-D94E-46B6-9E31-FB62D4FB6E8D}"/>
                </a:ext>
              </a:extLst>
            </p:cNvPr>
            <p:cNvSpPr/>
            <p:nvPr/>
          </p:nvSpPr>
          <p:spPr bwMode="auto">
            <a:xfrm>
              <a:off x="2660342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21 w 33"/>
                <a:gd name="T3" fmla="*/ 0 h 18"/>
                <a:gd name="T4" fmla="*/ 2 w 33"/>
                <a:gd name="T5" fmla="*/ 9 h 18"/>
                <a:gd name="T6" fmla="*/ 12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2" name="iṥ1iḋè">
              <a:extLst>
                <a:ext uri="{FF2B5EF4-FFF2-40B4-BE49-F238E27FC236}">
                  <a16:creationId xmlns:a16="http://schemas.microsoft.com/office/drawing/2014/main" id="{822F83E3-AF48-41BB-9F1F-E3A14FAC492A}"/>
                </a:ext>
              </a:extLst>
            </p:cNvPr>
            <p:cNvSpPr/>
            <p:nvPr/>
          </p:nvSpPr>
          <p:spPr bwMode="auto">
            <a:xfrm>
              <a:off x="2620226" y="2188383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3" name="îšḻïďe">
              <a:extLst>
                <a:ext uri="{FF2B5EF4-FFF2-40B4-BE49-F238E27FC236}">
                  <a16:creationId xmlns:a16="http://schemas.microsoft.com/office/drawing/2014/main" id="{0FF9441E-B7BF-45C4-AFEC-22BEC1C68365}"/>
                </a:ext>
              </a:extLst>
            </p:cNvPr>
            <p:cNvSpPr/>
            <p:nvPr/>
          </p:nvSpPr>
          <p:spPr bwMode="auto">
            <a:xfrm>
              <a:off x="2580109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4" name="îsḷîḓè">
              <a:extLst>
                <a:ext uri="{FF2B5EF4-FFF2-40B4-BE49-F238E27FC236}">
                  <a16:creationId xmlns:a16="http://schemas.microsoft.com/office/drawing/2014/main" id="{E974C855-447F-4974-876D-814193271F99}"/>
                </a:ext>
              </a:extLst>
            </p:cNvPr>
            <p:cNvSpPr/>
            <p:nvPr/>
          </p:nvSpPr>
          <p:spPr bwMode="auto">
            <a:xfrm>
              <a:off x="2539993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2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5" name="íṡľîďè">
              <a:extLst>
                <a:ext uri="{FF2B5EF4-FFF2-40B4-BE49-F238E27FC236}">
                  <a16:creationId xmlns:a16="http://schemas.microsoft.com/office/drawing/2014/main" id="{5B8C3B54-F993-4B5E-8464-31967A8670D8}"/>
                </a:ext>
              </a:extLst>
            </p:cNvPr>
            <p:cNvSpPr/>
            <p:nvPr/>
          </p:nvSpPr>
          <p:spPr bwMode="auto">
            <a:xfrm>
              <a:off x="2496790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6" name="îṡḷiḓé">
              <a:extLst>
                <a:ext uri="{FF2B5EF4-FFF2-40B4-BE49-F238E27FC236}">
                  <a16:creationId xmlns:a16="http://schemas.microsoft.com/office/drawing/2014/main" id="{FADD3F11-5F03-4926-BF32-90F947087FAF}"/>
                </a:ext>
              </a:extLst>
            </p:cNvPr>
            <p:cNvSpPr/>
            <p:nvPr/>
          </p:nvSpPr>
          <p:spPr bwMode="auto">
            <a:xfrm>
              <a:off x="2456674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2 w 36"/>
                <a:gd name="T3" fmla="*/ 0 h 20"/>
                <a:gd name="T4" fmla="*/ 2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2" y="0"/>
                  </a:cubicBezTo>
                  <a:cubicBezTo>
                    <a:pt x="14" y="0"/>
                    <a:pt x="5" y="4"/>
                    <a:pt x="2" y="10"/>
                  </a:cubicBezTo>
                  <a:cubicBezTo>
                    <a:pt x="0" y="15"/>
                    <a:pt x="4" y="20"/>
                    <a:pt x="13" y="20"/>
                  </a:cubicBezTo>
                  <a:cubicBezTo>
                    <a:pt x="21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7" name="iṧḻíḋé">
              <a:extLst>
                <a:ext uri="{FF2B5EF4-FFF2-40B4-BE49-F238E27FC236}">
                  <a16:creationId xmlns:a16="http://schemas.microsoft.com/office/drawing/2014/main" id="{46D5DA14-35A7-4D85-BE05-42CFD2A8C352}"/>
                </a:ext>
              </a:extLst>
            </p:cNvPr>
            <p:cNvSpPr/>
            <p:nvPr/>
          </p:nvSpPr>
          <p:spPr bwMode="auto">
            <a:xfrm>
              <a:off x="2413471" y="2623494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2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2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8" name="ïṩḷïḓê">
              <a:extLst>
                <a:ext uri="{FF2B5EF4-FFF2-40B4-BE49-F238E27FC236}">
                  <a16:creationId xmlns:a16="http://schemas.microsoft.com/office/drawing/2014/main" id="{688AC304-F8C6-4AA3-B4E4-1569B8A7AC56}"/>
                </a:ext>
              </a:extLst>
            </p:cNvPr>
            <p:cNvSpPr/>
            <p:nvPr/>
          </p:nvSpPr>
          <p:spPr bwMode="auto">
            <a:xfrm>
              <a:off x="2365639" y="2714528"/>
              <a:ext cx="134237" cy="80233"/>
            </a:xfrm>
            <a:custGeom>
              <a:avLst/>
              <a:gdLst>
                <a:gd name="T0" fmla="*/ 35 w 37"/>
                <a:gd name="T1" fmla="*/ 11 h 22"/>
                <a:gd name="T2" fmla="*/ 24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5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2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9" name="îşlïḋè">
              <a:extLst>
                <a:ext uri="{FF2B5EF4-FFF2-40B4-BE49-F238E27FC236}">
                  <a16:creationId xmlns:a16="http://schemas.microsoft.com/office/drawing/2014/main" id="{6504F832-778B-435A-A181-7E9AB56966A6}"/>
                </a:ext>
              </a:extLst>
            </p:cNvPr>
            <p:cNvSpPr/>
            <p:nvPr/>
          </p:nvSpPr>
          <p:spPr bwMode="auto">
            <a:xfrm>
              <a:off x="2317808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3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0" name="îṣľíḍé">
              <a:extLst>
                <a:ext uri="{FF2B5EF4-FFF2-40B4-BE49-F238E27FC236}">
                  <a16:creationId xmlns:a16="http://schemas.microsoft.com/office/drawing/2014/main" id="{9C19CD5F-168C-4754-8F2A-E46606942778}"/>
                </a:ext>
              </a:extLst>
            </p:cNvPr>
            <p:cNvSpPr/>
            <p:nvPr/>
          </p:nvSpPr>
          <p:spPr bwMode="auto">
            <a:xfrm>
              <a:off x="2269977" y="2907396"/>
              <a:ext cx="143495" cy="84863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1" name="iṥļîḍê">
              <a:extLst>
                <a:ext uri="{FF2B5EF4-FFF2-40B4-BE49-F238E27FC236}">
                  <a16:creationId xmlns:a16="http://schemas.microsoft.com/office/drawing/2014/main" id="{98E0C3BB-7B00-4EDA-90B2-34FB0082735B}"/>
                </a:ext>
              </a:extLst>
            </p:cNvPr>
            <p:cNvSpPr/>
            <p:nvPr/>
          </p:nvSpPr>
          <p:spPr bwMode="auto">
            <a:xfrm>
              <a:off x="2354839" y="1734757"/>
              <a:ext cx="115721" cy="58632"/>
            </a:xfrm>
            <a:custGeom>
              <a:avLst/>
              <a:gdLst>
                <a:gd name="T0" fmla="*/ 29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1 w 32"/>
                <a:gd name="T7" fmla="*/ 16 h 16"/>
                <a:gd name="T8" fmla="*/ 29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29" y="8"/>
                  </a:moveTo>
                  <a:cubicBezTo>
                    <a:pt x="32" y="3"/>
                    <a:pt x="27" y="0"/>
                    <a:pt x="20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1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2" name="îṣ1íḓe">
              <a:extLst>
                <a:ext uri="{FF2B5EF4-FFF2-40B4-BE49-F238E27FC236}">
                  <a16:creationId xmlns:a16="http://schemas.microsoft.com/office/drawing/2014/main" id="{F7CDF189-1333-40A9-A4D9-272B312A0136}"/>
                </a:ext>
              </a:extLst>
            </p:cNvPr>
            <p:cNvSpPr/>
            <p:nvPr/>
          </p:nvSpPr>
          <p:spPr bwMode="auto">
            <a:xfrm>
              <a:off x="2475189" y="1734757"/>
              <a:ext cx="115721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8" y="0"/>
                    <a:pt x="20" y="0"/>
                  </a:cubicBezTo>
                  <a:cubicBezTo>
                    <a:pt x="13" y="0"/>
                    <a:pt x="5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3" name="íṡḻiďe">
              <a:extLst>
                <a:ext uri="{FF2B5EF4-FFF2-40B4-BE49-F238E27FC236}">
                  <a16:creationId xmlns:a16="http://schemas.microsoft.com/office/drawing/2014/main" id="{25F53745-59E5-4573-A430-804A4F9B6374}"/>
                </a:ext>
              </a:extLst>
            </p:cNvPr>
            <p:cNvSpPr/>
            <p:nvPr/>
          </p:nvSpPr>
          <p:spPr bwMode="auto">
            <a:xfrm>
              <a:off x="2595539" y="1734757"/>
              <a:ext cx="117264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3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8" y="0"/>
                    <a:pt x="20" y="0"/>
                  </a:cubicBezTo>
                  <a:cubicBezTo>
                    <a:pt x="13" y="0"/>
                    <a:pt x="5" y="3"/>
                    <a:pt x="3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8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4" name="îṥļîdê">
              <a:extLst>
                <a:ext uri="{FF2B5EF4-FFF2-40B4-BE49-F238E27FC236}">
                  <a16:creationId xmlns:a16="http://schemas.microsoft.com/office/drawing/2014/main" id="{AD7B92FF-574C-45DD-8EE1-6F97BE2D0E74}"/>
                </a:ext>
              </a:extLst>
            </p:cNvPr>
            <p:cNvSpPr/>
            <p:nvPr/>
          </p:nvSpPr>
          <p:spPr bwMode="auto">
            <a:xfrm>
              <a:off x="2558508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3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5" name="iṣ1îḍe">
              <a:extLst>
                <a:ext uri="{FF2B5EF4-FFF2-40B4-BE49-F238E27FC236}">
                  <a16:creationId xmlns:a16="http://schemas.microsoft.com/office/drawing/2014/main" id="{D4E8D2DF-F3FF-46FC-BE87-A0173E6D0EC8}"/>
                </a:ext>
              </a:extLst>
            </p:cNvPr>
            <p:cNvSpPr/>
            <p:nvPr/>
          </p:nvSpPr>
          <p:spPr bwMode="auto">
            <a:xfrm>
              <a:off x="2523020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6" name="íşlidé">
              <a:extLst>
                <a:ext uri="{FF2B5EF4-FFF2-40B4-BE49-F238E27FC236}">
                  <a16:creationId xmlns:a16="http://schemas.microsoft.com/office/drawing/2014/main" id="{45ED759E-052F-49B7-969D-3718EE6CBAD2}"/>
                </a:ext>
              </a:extLst>
            </p:cNvPr>
            <p:cNvSpPr/>
            <p:nvPr/>
          </p:nvSpPr>
          <p:spPr bwMode="auto">
            <a:xfrm>
              <a:off x="248290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2 w 33"/>
                <a:gd name="T5" fmla="*/ 8 h 17"/>
                <a:gd name="T6" fmla="*/ 12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7" name="ïs1ïḋe">
              <a:extLst>
                <a:ext uri="{FF2B5EF4-FFF2-40B4-BE49-F238E27FC236}">
                  <a16:creationId xmlns:a16="http://schemas.microsoft.com/office/drawing/2014/main" id="{C3E417D1-EE35-427C-8556-B22E97ED60FF}"/>
                </a:ext>
              </a:extLst>
            </p:cNvPr>
            <p:cNvSpPr/>
            <p:nvPr/>
          </p:nvSpPr>
          <p:spPr bwMode="auto">
            <a:xfrm>
              <a:off x="2442787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8" name="ïṩliḓê">
              <a:extLst>
                <a:ext uri="{FF2B5EF4-FFF2-40B4-BE49-F238E27FC236}">
                  <a16:creationId xmlns:a16="http://schemas.microsoft.com/office/drawing/2014/main" id="{475D0000-C15B-42C3-8A32-E9532F898D5F}"/>
                </a:ext>
              </a:extLst>
            </p:cNvPr>
            <p:cNvSpPr/>
            <p:nvPr/>
          </p:nvSpPr>
          <p:spPr bwMode="auto">
            <a:xfrm>
              <a:off x="2401127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21 w 34"/>
                <a:gd name="T3" fmla="*/ 0 h 18"/>
                <a:gd name="T4" fmla="*/ 2 w 34"/>
                <a:gd name="T5" fmla="*/ 9 h 18"/>
                <a:gd name="T6" fmla="*/ 1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9" name="íṥḷiḓê">
              <a:extLst>
                <a:ext uri="{FF2B5EF4-FFF2-40B4-BE49-F238E27FC236}">
                  <a16:creationId xmlns:a16="http://schemas.microsoft.com/office/drawing/2014/main" id="{3F473402-964F-460A-B1B9-5AA28F700E64}"/>
                </a:ext>
              </a:extLst>
            </p:cNvPr>
            <p:cNvSpPr/>
            <p:nvPr/>
          </p:nvSpPr>
          <p:spPr bwMode="auto">
            <a:xfrm>
              <a:off x="2357925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0" name="iŝļîḑê">
              <a:extLst>
                <a:ext uri="{FF2B5EF4-FFF2-40B4-BE49-F238E27FC236}">
                  <a16:creationId xmlns:a16="http://schemas.microsoft.com/office/drawing/2014/main" id="{8515FB12-5F5D-49A4-B8F4-4BF0558B317A}"/>
                </a:ext>
              </a:extLst>
            </p:cNvPr>
            <p:cNvSpPr/>
            <p:nvPr/>
          </p:nvSpPr>
          <p:spPr bwMode="auto">
            <a:xfrm>
              <a:off x="2314722" y="2271702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1" name="ï$1idê">
              <a:extLst>
                <a:ext uri="{FF2B5EF4-FFF2-40B4-BE49-F238E27FC236}">
                  <a16:creationId xmlns:a16="http://schemas.microsoft.com/office/drawing/2014/main" id="{45889AEB-7580-481D-A739-B918F3BB4E6C}"/>
                </a:ext>
              </a:extLst>
            </p:cNvPr>
            <p:cNvSpPr/>
            <p:nvPr/>
          </p:nvSpPr>
          <p:spPr bwMode="auto">
            <a:xfrm>
              <a:off x="2269977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2" name="ïslíḋê">
              <a:extLst>
                <a:ext uri="{FF2B5EF4-FFF2-40B4-BE49-F238E27FC236}">
                  <a16:creationId xmlns:a16="http://schemas.microsoft.com/office/drawing/2014/main" id="{9D57742B-A439-44B2-9090-F46DA13DFF6D}"/>
                </a:ext>
              </a:extLst>
            </p:cNvPr>
            <p:cNvSpPr/>
            <p:nvPr/>
          </p:nvSpPr>
          <p:spPr bwMode="auto">
            <a:xfrm>
              <a:off x="2226774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3" name="iṣľíḓé">
              <a:extLst>
                <a:ext uri="{FF2B5EF4-FFF2-40B4-BE49-F238E27FC236}">
                  <a16:creationId xmlns:a16="http://schemas.microsoft.com/office/drawing/2014/main" id="{785CCE32-A8FE-471A-A605-E3922F270DC7}"/>
                </a:ext>
              </a:extLst>
            </p:cNvPr>
            <p:cNvSpPr/>
            <p:nvPr/>
          </p:nvSpPr>
          <p:spPr bwMode="auto">
            <a:xfrm>
              <a:off x="2178943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4" name="îşḻidê">
              <a:extLst>
                <a:ext uri="{FF2B5EF4-FFF2-40B4-BE49-F238E27FC236}">
                  <a16:creationId xmlns:a16="http://schemas.microsoft.com/office/drawing/2014/main" id="{1757DFB6-C455-4A15-8FBA-8C32D39CA0DE}"/>
                </a:ext>
              </a:extLst>
            </p:cNvPr>
            <p:cNvSpPr/>
            <p:nvPr/>
          </p:nvSpPr>
          <p:spPr bwMode="auto">
            <a:xfrm>
              <a:off x="2131111" y="2623494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5" name="íslídè">
              <a:extLst>
                <a:ext uri="{FF2B5EF4-FFF2-40B4-BE49-F238E27FC236}">
                  <a16:creationId xmlns:a16="http://schemas.microsoft.com/office/drawing/2014/main" id="{7321ADF5-7A72-4E76-98D7-32840AC05AE6}"/>
                </a:ext>
              </a:extLst>
            </p:cNvPr>
            <p:cNvSpPr/>
            <p:nvPr/>
          </p:nvSpPr>
          <p:spPr bwMode="auto">
            <a:xfrm>
              <a:off x="2189743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1 w 32"/>
                <a:gd name="T3" fmla="*/ 0 h 17"/>
                <a:gd name="T4" fmla="*/ 2 w 32"/>
                <a:gd name="T5" fmla="*/ 9 h 17"/>
                <a:gd name="T6" fmla="*/ 1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7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6" name="iśļidê">
              <a:extLst>
                <a:ext uri="{FF2B5EF4-FFF2-40B4-BE49-F238E27FC236}">
                  <a16:creationId xmlns:a16="http://schemas.microsoft.com/office/drawing/2014/main" id="{6326B12B-796A-44D7-875C-A9ED18F8BFA2}"/>
                </a:ext>
              </a:extLst>
            </p:cNvPr>
            <p:cNvSpPr/>
            <p:nvPr/>
          </p:nvSpPr>
          <p:spPr bwMode="auto">
            <a:xfrm>
              <a:off x="2314722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7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7" name="iŝľíḍé">
              <a:extLst>
                <a:ext uri="{FF2B5EF4-FFF2-40B4-BE49-F238E27FC236}">
                  <a16:creationId xmlns:a16="http://schemas.microsoft.com/office/drawing/2014/main" id="{6522880C-1A53-48BD-89EE-4C5EF13A27D6}"/>
                </a:ext>
              </a:extLst>
            </p:cNvPr>
            <p:cNvSpPr/>
            <p:nvPr/>
          </p:nvSpPr>
          <p:spPr bwMode="auto">
            <a:xfrm>
              <a:off x="2435072" y="1804190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8" name="îSliďe">
              <a:extLst>
                <a:ext uri="{FF2B5EF4-FFF2-40B4-BE49-F238E27FC236}">
                  <a16:creationId xmlns:a16="http://schemas.microsoft.com/office/drawing/2014/main" id="{58732686-3D09-45A7-AC3B-398348270D77}"/>
                </a:ext>
              </a:extLst>
            </p:cNvPr>
            <p:cNvSpPr/>
            <p:nvPr/>
          </p:nvSpPr>
          <p:spPr bwMode="auto">
            <a:xfrm>
              <a:off x="1895041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9" name="îšḻïďé">
              <a:extLst>
                <a:ext uri="{FF2B5EF4-FFF2-40B4-BE49-F238E27FC236}">
                  <a16:creationId xmlns:a16="http://schemas.microsoft.com/office/drawing/2014/main" id="{D497F53D-4855-4BFF-8EC0-BD45B84C811C}"/>
                </a:ext>
              </a:extLst>
            </p:cNvPr>
            <p:cNvSpPr/>
            <p:nvPr/>
          </p:nvSpPr>
          <p:spPr bwMode="auto">
            <a:xfrm>
              <a:off x="2023105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0" name="ïṣ1iḓê">
              <a:extLst>
                <a:ext uri="{FF2B5EF4-FFF2-40B4-BE49-F238E27FC236}">
                  <a16:creationId xmlns:a16="http://schemas.microsoft.com/office/drawing/2014/main" id="{F3C884A2-1A20-4E12-9F65-0AC7AE2A0803}"/>
                </a:ext>
              </a:extLst>
            </p:cNvPr>
            <p:cNvSpPr/>
            <p:nvPr/>
          </p:nvSpPr>
          <p:spPr bwMode="auto">
            <a:xfrm>
              <a:off x="2146541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1" name="îṩ1ïdê">
              <a:extLst>
                <a:ext uri="{FF2B5EF4-FFF2-40B4-BE49-F238E27FC236}">
                  <a16:creationId xmlns:a16="http://schemas.microsoft.com/office/drawing/2014/main" id="{DEC5B427-9B5A-4A00-A2D1-AEC51D4D62A3}"/>
                </a:ext>
              </a:extLst>
            </p:cNvPr>
            <p:cNvSpPr/>
            <p:nvPr/>
          </p:nvSpPr>
          <p:spPr bwMode="auto">
            <a:xfrm>
              <a:off x="2269977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2" name="iSļíḋe">
              <a:extLst>
                <a:ext uri="{FF2B5EF4-FFF2-40B4-BE49-F238E27FC236}">
                  <a16:creationId xmlns:a16="http://schemas.microsoft.com/office/drawing/2014/main" id="{B2286E58-3597-4D3D-9D45-30E03826D018}"/>
                </a:ext>
              </a:extLst>
            </p:cNvPr>
            <p:cNvSpPr/>
            <p:nvPr/>
          </p:nvSpPr>
          <p:spPr bwMode="auto">
            <a:xfrm>
              <a:off x="2394956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3" name="iśļíḑe">
              <a:extLst>
                <a:ext uri="{FF2B5EF4-FFF2-40B4-BE49-F238E27FC236}">
                  <a16:creationId xmlns:a16="http://schemas.microsoft.com/office/drawing/2014/main" id="{8FD5ECAB-C1F8-4614-A06F-25FF750EBAAB}"/>
                </a:ext>
              </a:extLst>
            </p:cNvPr>
            <p:cNvSpPr/>
            <p:nvPr/>
          </p:nvSpPr>
          <p:spPr bwMode="auto">
            <a:xfrm>
              <a:off x="1850295" y="1953855"/>
              <a:ext cx="124979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4" name="î$liḓe">
              <a:extLst>
                <a:ext uri="{FF2B5EF4-FFF2-40B4-BE49-F238E27FC236}">
                  <a16:creationId xmlns:a16="http://schemas.microsoft.com/office/drawing/2014/main" id="{A62EB271-49AC-46C8-88FC-E88AA7C51800}"/>
                </a:ext>
              </a:extLst>
            </p:cNvPr>
            <p:cNvSpPr/>
            <p:nvPr/>
          </p:nvSpPr>
          <p:spPr bwMode="auto">
            <a:xfrm>
              <a:off x="1975274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5" name="ísľiḋè">
              <a:extLst>
                <a:ext uri="{FF2B5EF4-FFF2-40B4-BE49-F238E27FC236}">
                  <a16:creationId xmlns:a16="http://schemas.microsoft.com/office/drawing/2014/main" id="{E206EF41-C249-476B-9312-699BC2824DE7}"/>
                </a:ext>
              </a:extLst>
            </p:cNvPr>
            <p:cNvSpPr/>
            <p:nvPr/>
          </p:nvSpPr>
          <p:spPr bwMode="auto">
            <a:xfrm>
              <a:off x="2103338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6" name="ïSḻîďê">
              <a:extLst>
                <a:ext uri="{FF2B5EF4-FFF2-40B4-BE49-F238E27FC236}">
                  <a16:creationId xmlns:a16="http://schemas.microsoft.com/office/drawing/2014/main" id="{1F4F7DEC-31CB-43D4-B8E4-B9983BD6F14D}"/>
                </a:ext>
              </a:extLst>
            </p:cNvPr>
            <p:cNvSpPr/>
            <p:nvPr/>
          </p:nvSpPr>
          <p:spPr bwMode="auto">
            <a:xfrm>
              <a:off x="2229860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2 w 33"/>
                <a:gd name="T5" fmla="*/ 8 h 17"/>
                <a:gd name="T6" fmla="*/ 12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7" name="îṣḻíḓê">
              <a:extLst>
                <a:ext uri="{FF2B5EF4-FFF2-40B4-BE49-F238E27FC236}">
                  <a16:creationId xmlns:a16="http://schemas.microsoft.com/office/drawing/2014/main" id="{EA7D0B6B-2C65-475A-A5F3-4B9B653A5A84}"/>
                </a:ext>
              </a:extLst>
            </p:cNvPr>
            <p:cNvSpPr/>
            <p:nvPr/>
          </p:nvSpPr>
          <p:spPr bwMode="auto">
            <a:xfrm>
              <a:off x="2354839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1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4" y="0"/>
                    <a:pt x="5" y="4"/>
                    <a:pt x="3" y="8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8" name="í$ļïďé">
              <a:extLst>
                <a:ext uri="{FF2B5EF4-FFF2-40B4-BE49-F238E27FC236}">
                  <a16:creationId xmlns:a16="http://schemas.microsoft.com/office/drawing/2014/main" id="{FCAD2B71-C79A-4134-A2A5-0A1D6547F713}"/>
                </a:ext>
              </a:extLst>
            </p:cNvPr>
            <p:cNvSpPr/>
            <p:nvPr/>
          </p:nvSpPr>
          <p:spPr bwMode="auto">
            <a:xfrm>
              <a:off x="1804007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9" name="ïṥ1ïḍé">
              <a:extLst>
                <a:ext uri="{FF2B5EF4-FFF2-40B4-BE49-F238E27FC236}">
                  <a16:creationId xmlns:a16="http://schemas.microsoft.com/office/drawing/2014/main" id="{4E9B3D64-2391-4140-BC3F-2180DE69A112}"/>
                </a:ext>
              </a:extLst>
            </p:cNvPr>
            <p:cNvSpPr/>
            <p:nvPr/>
          </p:nvSpPr>
          <p:spPr bwMode="auto">
            <a:xfrm>
              <a:off x="1930528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0" name="îṡļïḑê">
              <a:extLst>
                <a:ext uri="{FF2B5EF4-FFF2-40B4-BE49-F238E27FC236}">
                  <a16:creationId xmlns:a16="http://schemas.microsoft.com/office/drawing/2014/main" id="{AD8A99EC-46BC-4F6C-97A1-FDCD94DABFC1}"/>
                </a:ext>
              </a:extLst>
            </p:cNvPr>
            <p:cNvSpPr/>
            <p:nvPr/>
          </p:nvSpPr>
          <p:spPr bwMode="auto">
            <a:xfrm>
              <a:off x="2058593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1" name="í$ḷiḍe">
              <a:extLst>
                <a:ext uri="{FF2B5EF4-FFF2-40B4-BE49-F238E27FC236}">
                  <a16:creationId xmlns:a16="http://schemas.microsoft.com/office/drawing/2014/main" id="{4A6E3DDA-5D58-4223-ABFF-6BB07B0EF6EC}"/>
                </a:ext>
              </a:extLst>
            </p:cNvPr>
            <p:cNvSpPr/>
            <p:nvPr/>
          </p:nvSpPr>
          <p:spPr bwMode="auto">
            <a:xfrm>
              <a:off x="2186657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2" name="iṥlîďê">
              <a:extLst>
                <a:ext uri="{FF2B5EF4-FFF2-40B4-BE49-F238E27FC236}">
                  <a16:creationId xmlns:a16="http://schemas.microsoft.com/office/drawing/2014/main" id="{A71EBA35-C927-43EF-94B9-8C157B92B22A}"/>
                </a:ext>
              </a:extLst>
            </p:cNvPr>
            <p:cNvSpPr/>
            <p:nvPr/>
          </p:nvSpPr>
          <p:spPr bwMode="auto">
            <a:xfrm>
              <a:off x="2314722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1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3" name="iśľíḓé">
              <a:extLst>
                <a:ext uri="{FF2B5EF4-FFF2-40B4-BE49-F238E27FC236}">
                  <a16:creationId xmlns:a16="http://schemas.microsoft.com/office/drawing/2014/main" id="{80B4AA4D-A329-453A-8728-DC7970940EB9}"/>
                </a:ext>
              </a:extLst>
            </p:cNvPr>
            <p:cNvSpPr/>
            <p:nvPr/>
          </p:nvSpPr>
          <p:spPr bwMode="auto">
            <a:xfrm>
              <a:off x="1625025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4" name="îṩlïdé">
              <a:extLst>
                <a:ext uri="{FF2B5EF4-FFF2-40B4-BE49-F238E27FC236}">
                  <a16:creationId xmlns:a16="http://schemas.microsoft.com/office/drawing/2014/main" id="{5B96EFC7-B601-425D-8409-1E920FC898BD}"/>
                </a:ext>
              </a:extLst>
            </p:cNvPr>
            <p:cNvSpPr/>
            <p:nvPr/>
          </p:nvSpPr>
          <p:spPr bwMode="auto">
            <a:xfrm>
              <a:off x="1753090" y="2108150"/>
              <a:ext cx="126522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5" name="íSļíďé">
              <a:extLst>
                <a:ext uri="{FF2B5EF4-FFF2-40B4-BE49-F238E27FC236}">
                  <a16:creationId xmlns:a16="http://schemas.microsoft.com/office/drawing/2014/main" id="{B2004972-137D-44F0-AEB5-4213A1C3779D}"/>
                </a:ext>
              </a:extLst>
            </p:cNvPr>
            <p:cNvSpPr/>
            <p:nvPr/>
          </p:nvSpPr>
          <p:spPr bwMode="auto">
            <a:xfrm>
              <a:off x="1884240" y="2108150"/>
              <a:ext cx="123436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2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6" name="íṥ1ïďé">
              <a:extLst>
                <a:ext uri="{FF2B5EF4-FFF2-40B4-BE49-F238E27FC236}">
                  <a16:creationId xmlns:a16="http://schemas.microsoft.com/office/drawing/2014/main" id="{61121990-9497-4305-8A55-7154E0C639F1}"/>
                </a:ext>
              </a:extLst>
            </p:cNvPr>
            <p:cNvSpPr/>
            <p:nvPr/>
          </p:nvSpPr>
          <p:spPr bwMode="auto">
            <a:xfrm>
              <a:off x="2010761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7" name="iṡḷíḓè">
              <a:extLst>
                <a:ext uri="{FF2B5EF4-FFF2-40B4-BE49-F238E27FC236}">
                  <a16:creationId xmlns:a16="http://schemas.microsoft.com/office/drawing/2014/main" id="{03F68A17-10E6-4D86-8A7C-674FE216CFEA}"/>
                </a:ext>
              </a:extLst>
            </p:cNvPr>
            <p:cNvSpPr/>
            <p:nvPr/>
          </p:nvSpPr>
          <p:spPr bwMode="auto">
            <a:xfrm>
              <a:off x="2143455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8" name="í$ḷiḓe">
              <a:extLst>
                <a:ext uri="{FF2B5EF4-FFF2-40B4-BE49-F238E27FC236}">
                  <a16:creationId xmlns:a16="http://schemas.microsoft.com/office/drawing/2014/main" id="{002AAD1A-4398-4906-B7AC-C520BF37CF56}"/>
                </a:ext>
              </a:extLst>
            </p:cNvPr>
            <p:cNvSpPr/>
            <p:nvPr/>
          </p:nvSpPr>
          <p:spPr bwMode="auto">
            <a:xfrm>
              <a:off x="2269977" y="2108150"/>
              <a:ext cx="124979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3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9" name="iṡļïḍe">
              <a:extLst>
                <a:ext uri="{FF2B5EF4-FFF2-40B4-BE49-F238E27FC236}">
                  <a16:creationId xmlns:a16="http://schemas.microsoft.com/office/drawing/2014/main" id="{7248C439-786B-4652-99E4-3E32F49EEAC1}"/>
                </a:ext>
              </a:extLst>
            </p:cNvPr>
            <p:cNvSpPr/>
            <p:nvPr/>
          </p:nvSpPr>
          <p:spPr bwMode="auto">
            <a:xfrm>
              <a:off x="1023276" y="1878251"/>
              <a:ext cx="126522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3 w 35"/>
                <a:gd name="T5" fmla="*/ 9 h 17"/>
                <a:gd name="T6" fmla="*/ 11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0" name="îṣ1ïḓè">
              <a:extLst>
                <a:ext uri="{FF2B5EF4-FFF2-40B4-BE49-F238E27FC236}">
                  <a16:creationId xmlns:a16="http://schemas.microsoft.com/office/drawing/2014/main" id="{8ADD4389-FD37-45C2-B61E-D8D742025365}"/>
                </a:ext>
              </a:extLst>
            </p:cNvPr>
            <p:cNvSpPr/>
            <p:nvPr/>
          </p:nvSpPr>
          <p:spPr bwMode="auto">
            <a:xfrm>
              <a:off x="1146711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3 w 35"/>
                <a:gd name="T5" fmla="*/ 9 h 17"/>
                <a:gd name="T6" fmla="*/ 11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1" name="îṧļîḍè">
              <a:extLst>
                <a:ext uri="{FF2B5EF4-FFF2-40B4-BE49-F238E27FC236}">
                  <a16:creationId xmlns:a16="http://schemas.microsoft.com/office/drawing/2014/main" id="{613E1E95-B894-4FAF-B4D8-8287B1F4B0AB}"/>
                </a:ext>
              </a:extLst>
            </p:cNvPr>
            <p:cNvSpPr/>
            <p:nvPr/>
          </p:nvSpPr>
          <p:spPr bwMode="auto">
            <a:xfrm>
              <a:off x="1270147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4 w 35"/>
                <a:gd name="T5" fmla="*/ 9 h 17"/>
                <a:gd name="T6" fmla="*/ 12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2" name="ïślïḋè">
              <a:extLst>
                <a:ext uri="{FF2B5EF4-FFF2-40B4-BE49-F238E27FC236}">
                  <a16:creationId xmlns:a16="http://schemas.microsoft.com/office/drawing/2014/main" id="{69F1A3F9-BD90-4148-8D88-CF61396D9C66}"/>
                </a:ext>
              </a:extLst>
            </p:cNvPr>
            <p:cNvSpPr/>
            <p:nvPr/>
          </p:nvSpPr>
          <p:spPr bwMode="auto">
            <a:xfrm>
              <a:off x="1398211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7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3" name="ïSļïḑê">
              <a:extLst>
                <a:ext uri="{FF2B5EF4-FFF2-40B4-BE49-F238E27FC236}">
                  <a16:creationId xmlns:a16="http://schemas.microsoft.com/office/drawing/2014/main" id="{E346BC18-07BC-404A-8DE7-AECBA7657D9C}"/>
                </a:ext>
              </a:extLst>
            </p:cNvPr>
            <p:cNvSpPr/>
            <p:nvPr/>
          </p:nvSpPr>
          <p:spPr bwMode="auto">
            <a:xfrm>
              <a:off x="152319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4" name="iślíḋé">
              <a:extLst>
                <a:ext uri="{FF2B5EF4-FFF2-40B4-BE49-F238E27FC236}">
                  <a16:creationId xmlns:a16="http://schemas.microsoft.com/office/drawing/2014/main" id="{57AD4591-E1B6-4EFD-9389-FE17607161E7}"/>
                </a:ext>
              </a:extLst>
            </p:cNvPr>
            <p:cNvSpPr/>
            <p:nvPr/>
          </p:nvSpPr>
          <p:spPr bwMode="auto">
            <a:xfrm>
              <a:off x="1646626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5" name="ïś1ïḋè">
              <a:extLst>
                <a:ext uri="{FF2B5EF4-FFF2-40B4-BE49-F238E27FC236}">
                  <a16:creationId xmlns:a16="http://schemas.microsoft.com/office/drawing/2014/main" id="{8F1C9754-1BC1-4A2C-968B-929F9CCB92F9}"/>
                </a:ext>
              </a:extLst>
            </p:cNvPr>
            <p:cNvSpPr/>
            <p:nvPr/>
          </p:nvSpPr>
          <p:spPr bwMode="auto">
            <a:xfrm>
              <a:off x="1770062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6" name="ísļíďê">
              <a:extLst>
                <a:ext uri="{FF2B5EF4-FFF2-40B4-BE49-F238E27FC236}">
                  <a16:creationId xmlns:a16="http://schemas.microsoft.com/office/drawing/2014/main" id="{0F3B4981-BAEC-49A9-8811-1BD6C1915B0E}"/>
                </a:ext>
              </a:extLst>
            </p:cNvPr>
            <p:cNvSpPr/>
            <p:nvPr/>
          </p:nvSpPr>
          <p:spPr bwMode="auto">
            <a:xfrm>
              <a:off x="839665" y="1953855"/>
              <a:ext cx="128065" cy="63261"/>
            </a:xfrm>
            <a:custGeom>
              <a:avLst/>
              <a:gdLst>
                <a:gd name="T0" fmla="*/ 31 w 35"/>
                <a:gd name="T1" fmla="*/ 8 h 17"/>
                <a:gd name="T2" fmla="*/ 24 w 35"/>
                <a:gd name="T3" fmla="*/ 0 h 17"/>
                <a:gd name="T4" fmla="*/ 3 w 35"/>
                <a:gd name="T5" fmla="*/ 8 h 17"/>
                <a:gd name="T6" fmla="*/ 11 w 35"/>
                <a:gd name="T7" fmla="*/ 17 h 17"/>
                <a:gd name="T8" fmla="*/ 31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7" name="ïṣḷíḋè">
              <a:extLst>
                <a:ext uri="{FF2B5EF4-FFF2-40B4-BE49-F238E27FC236}">
                  <a16:creationId xmlns:a16="http://schemas.microsoft.com/office/drawing/2014/main" id="{D0FC960C-5BCA-4120-8A5F-D357E3C65E5C}"/>
                </a:ext>
              </a:extLst>
            </p:cNvPr>
            <p:cNvSpPr/>
            <p:nvPr/>
          </p:nvSpPr>
          <p:spPr bwMode="auto">
            <a:xfrm>
              <a:off x="964644" y="1953855"/>
              <a:ext cx="126522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4 w 35"/>
                <a:gd name="T5" fmla="*/ 8 h 17"/>
                <a:gd name="T6" fmla="*/ 11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8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8" name="ï$lídè">
              <a:extLst>
                <a:ext uri="{FF2B5EF4-FFF2-40B4-BE49-F238E27FC236}">
                  <a16:creationId xmlns:a16="http://schemas.microsoft.com/office/drawing/2014/main" id="{C7ECA99F-3239-4905-8327-D86230C48B52}"/>
                </a:ext>
              </a:extLst>
            </p:cNvPr>
            <p:cNvSpPr/>
            <p:nvPr/>
          </p:nvSpPr>
          <p:spPr bwMode="auto">
            <a:xfrm>
              <a:off x="1091165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3 w 35"/>
                <a:gd name="T5" fmla="*/ 8 h 17"/>
                <a:gd name="T6" fmla="*/ 11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4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9" name="íš1iďè">
              <a:extLst>
                <a:ext uri="{FF2B5EF4-FFF2-40B4-BE49-F238E27FC236}">
                  <a16:creationId xmlns:a16="http://schemas.microsoft.com/office/drawing/2014/main" id="{FEE6F20B-876B-4060-9324-FE87235E3A9D}"/>
                </a:ext>
              </a:extLst>
            </p:cNvPr>
            <p:cNvSpPr/>
            <p:nvPr/>
          </p:nvSpPr>
          <p:spPr bwMode="auto">
            <a:xfrm>
              <a:off x="1216144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4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0" name="iSļiḓe">
              <a:extLst>
                <a:ext uri="{FF2B5EF4-FFF2-40B4-BE49-F238E27FC236}">
                  <a16:creationId xmlns:a16="http://schemas.microsoft.com/office/drawing/2014/main" id="{7CBF010E-D93C-4DD6-81EC-1BA9A706B4BC}"/>
                </a:ext>
              </a:extLst>
            </p:cNvPr>
            <p:cNvSpPr/>
            <p:nvPr/>
          </p:nvSpPr>
          <p:spPr bwMode="auto">
            <a:xfrm>
              <a:off x="1344209" y="1953855"/>
              <a:ext cx="126522" cy="63261"/>
            </a:xfrm>
            <a:custGeom>
              <a:avLst/>
              <a:gdLst>
                <a:gd name="T0" fmla="*/ 32 w 35"/>
                <a:gd name="T1" fmla="*/ 8 h 17"/>
                <a:gd name="T2" fmla="*/ 23 w 35"/>
                <a:gd name="T3" fmla="*/ 0 h 17"/>
                <a:gd name="T4" fmla="*/ 3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1" name="iş1ïḍe">
              <a:extLst>
                <a:ext uri="{FF2B5EF4-FFF2-40B4-BE49-F238E27FC236}">
                  <a16:creationId xmlns:a16="http://schemas.microsoft.com/office/drawing/2014/main" id="{53244110-5B48-48E6-81B7-A02C7155F0CE}"/>
                </a:ext>
              </a:extLst>
            </p:cNvPr>
            <p:cNvSpPr/>
            <p:nvPr/>
          </p:nvSpPr>
          <p:spPr bwMode="auto">
            <a:xfrm>
              <a:off x="1470730" y="1953855"/>
              <a:ext cx="124979" cy="63261"/>
            </a:xfrm>
            <a:custGeom>
              <a:avLst/>
              <a:gdLst>
                <a:gd name="T0" fmla="*/ 31 w 34"/>
                <a:gd name="T1" fmla="*/ 8 h 17"/>
                <a:gd name="T2" fmla="*/ 23 w 34"/>
                <a:gd name="T3" fmla="*/ 0 h 17"/>
                <a:gd name="T4" fmla="*/ 3 w 34"/>
                <a:gd name="T5" fmla="*/ 8 h 17"/>
                <a:gd name="T6" fmla="*/ 11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2" name="îṡlîdê">
              <a:extLst>
                <a:ext uri="{FF2B5EF4-FFF2-40B4-BE49-F238E27FC236}">
                  <a16:creationId xmlns:a16="http://schemas.microsoft.com/office/drawing/2014/main" id="{9DBDC0D1-C3B8-463B-A53D-CEB152729982}"/>
                </a:ext>
              </a:extLst>
            </p:cNvPr>
            <p:cNvSpPr/>
            <p:nvPr/>
          </p:nvSpPr>
          <p:spPr bwMode="auto">
            <a:xfrm>
              <a:off x="1595708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3 w 35"/>
                <a:gd name="T3" fmla="*/ 0 h 17"/>
                <a:gd name="T4" fmla="*/ 4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7" y="4"/>
                    <a:pt x="4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3" name="iṣ1ïḑê">
              <a:extLst>
                <a:ext uri="{FF2B5EF4-FFF2-40B4-BE49-F238E27FC236}">
                  <a16:creationId xmlns:a16="http://schemas.microsoft.com/office/drawing/2014/main" id="{AF4D38F1-4200-425F-BFEC-D468467AE10F}"/>
                </a:ext>
              </a:extLst>
            </p:cNvPr>
            <p:cNvSpPr/>
            <p:nvPr/>
          </p:nvSpPr>
          <p:spPr bwMode="auto">
            <a:xfrm>
              <a:off x="1723773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3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4" name="íṣlïḍè">
              <a:extLst>
                <a:ext uri="{FF2B5EF4-FFF2-40B4-BE49-F238E27FC236}">
                  <a16:creationId xmlns:a16="http://schemas.microsoft.com/office/drawing/2014/main" id="{77B4478C-FBF1-45AF-950B-A5B6A6222CEF}"/>
                </a:ext>
              </a:extLst>
            </p:cNvPr>
            <p:cNvSpPr/>
            <p:nvPr/>
          </p:nvSpPr>
          <p:spPr bwMode="auto">
            <a:xfrm>
              <a:off x="906012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5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5" y="0"/>
                  </a:cubicBezTo>
                  <a:cubicBezTo>
                    <a:pt x="17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5" name="í$liḍê">
              <a:extLst>
                <a:ext uri="{FF2B5EF4-FFF2-40B4-BE49-F238E27FC236}">
                  <a16:creationId xmlns:a16="http://schemas.microsoft.com/office/drawing/2014/main" id="{A4E79B4B-C535-4BBC-90E2-EFB3E3675492}"/>
                </a:ext>
              </a:extLst>
            </p:cNvPr>
            <p:cNvSpPr/>
            <p:nvPr/>
          </p:nvSpPr>
          <p:spPr bwMode="auto">
            <a:xfrm>
              <a:off x="1034076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7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6" name="íŝḻîḋe">
              <a:extLst>
                <a:ext uri="{FF2B5EF4-FFF2-40B4-BE49-F238E27FC236}">
                  <a16:creationId xmlns:a16="http://schemas.microsoft.com/office/drawing/2014/main" id="{61221D6B-700B-47A2-9F03-3AFE9975C7AD}"/>
                </a:ext>
              </a:extLst>
            </p:cNvPr>
            <p:cNvSpPr/>
            <p:nvPr/>
          </p:nvSpPr>
          <p:spPr bwMode="auto">
            <a:xfrm>
              <a:off x="1160597" y="2031003"/>
              <a:ext cx="132693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7" name="íšḷiḑê">
              <a:extLst>
                <a:ext uri="{FF2B5EF4-FFF2-40B4-BE49-F238E27FC236}">
                  <a16:creationId xmlns:a16="http://schemas.microsoft.com/office/drawing/2014/main" id="{9881EF78-455F-4E25-8920-686995F8EEDE}"/>
                </a:ext>
              </a:extLst>
            </p:cNvPr>
            <p:cNvSpPr/>
            <p:nvPr/>
          </p:nvSpPr>
          <p:spPr bwMode="auto">
            <a:xfrm>
              <a:off x="1288663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8" name="iṧḷídè">
              <a:extLst>
                <a:ext uri="{FF2B5EF4-FFF2-40B4-BE49-F238E27FC236}">
                  <a16:creationId xmlns:a16="http://schemas.microsoft.com/office/drawing/2014/main" id="{CA915DD9-159E-48A6-A9B6-8EB51AA0B582}"/>
                </a:ext>
              </a:extLst>
            </p:cNvPr>
            <p:cNvSpPr/>
            <p:nvPr/>
          </p:nvSpPr>
          <p:spPr bwMode="auto">
            <a:xfrm>
              <a:off x="1416727" y="2031003"/>
              <a:ext cx="128065" cy="61718"/>
            </a:xfrm>
            <a:custGeom>
              <a:avLst/>
              <a:gdLst>
                <a:gd name="T0" fmla="*/ 32 w 35"/>
                <a:gd name="T1" fmla="*/ 9 h 17"/>
                <a:gd name="T2" fmla="*/ 24 w 35"/>
                <a:gd name="T3" fmla="*/ 0 h 17"/>
                <a:gd name="T4" fmla="*/ 4 w 35"/>
                <a:gd name="T5" fmla="*/ 9 h 17"/>
                <a:gd name="T6" fmla="*/ 12 w 35"/>
                <a:gd name="T7" fmla="*/ 17 h 17"/>
                <a:gd name="T8" fmla="*/ 32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9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9" name="í$ľîḑe">
              <a:extLst>
                <a:ext uri="{FF2B5EF4-FFF2-40B4-BE49-F238E27FC236}">
                  <a16:creationId xmlns:a16="http://schemas.microsoft.com/office/drawing/2014/main" id="{0B88CDE5-D70A-40FE-8456-FF8CFD7F44E2}"/>
                </a:ext>
              </a:extLst>
            </p:cNvPr>
            <p:cNvSpPr/>
            <p:nvPr/>
          </p:nvSpPr>
          <p:spPr bwMode="auto">
            <a:xfrm>
              <a:off x="1547878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3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0" name="ïśļîḓe">
              <a:extLst>
                <a:ext uri="{FF2B5EF4-FFF2-40B4-BE49-F238E27FC236}">
                  <a16:creationId xmlns:a16="http://schemas.microsoft.com/office/drawing/2014/main" id="{B40E73EF-DC91-46C4-A872-352660626D87}"/>
                </a:ext>
              </a:extLst>
            </p:cNvPr>
            <p:cNvSpPr/>
            <p:nvPr/>
          </p:nvSpPr>
          <p:spPr bwMode="auto">
            <a:xfrm>
              <a:off x="1675942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1" name="ïṣḻíḍè">
              <a:extLst>
                <a:ext uri="{FF2B5EF4-FFF2-40B4-BE49-F238E27FC236}">
                  <a16:creationId xmlns:a16="http://schemas.microsoft.com/office/drawing/2014/main" id="{1C943863-3C4C-4413-B2F0-5CA5DC0E9591}"/>
                </a:ext>
              </a:extLst>
            </p:cNvPr>
            <p:cNvSpPr/>
            <p:nvPr/>
          </p:nvSpPr>
          <p:spPr bwMode="auto">
            <a:xfrm>
              <a:off x="975444" y="2108150"/>
              <a:ext cx="131151" cy="64804"/>
            </a:xfrm>
            <a:custGeom>
              <a:avLst/>
              <a:gdLst>
                <a:gd name="T0" fmla="*/ 33 w 36"/>
                <a:gd name="T1" fmla="*/ 9 h 18"/>
                <a:gd name="T2" fmla="*/ 25 w 36"/>
                <a:gd name="T3" fmla="*/ 0 h 18"/>
                <a:gd name="T4" fmla="*/ 4 w 36"/>
                <a:gd name="T5" fmla="*/ 9 h 18"/>
                <a:gd name="T6" fmla="*/ 12 w 36"/>
                <a:gd name="T7" fmla="*/ 18 h 18"/>
                <a:gd name="T8" fmla="*/ 33 w 36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33" y="9"/>
                  </a:moveTo>
                  <a:cubicBezTo>
                    <a:pt x="36" y="4"/>
                    <a:pt x="33" y="0"/>
                    <a:pt x="25" y="0"/>
                  </a:cubicBezTo>
                  <a:cubicBezTo>
                    <a:pt x="17" y="0"/>
                    <a:pt x="8" y="4"/>
                    <a:pt x="4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2" name="ïṡľïḍê">
              <a:extLst>
                <a:ext uri="{FF2B5EF4-FFF2-40B4-BE49-F238E27FC236}">
                  <a16:creationId xmlns:a16="http://schemas.microsoft.com/office/drawing/2014/main" id="{F407A2D4-F868-4EB9-A0FF-490C5D7C6CFA}"/>
                </a:ext>
              </a:extLst>
            </p:cNvPr>
            <p:cNvSpPr/>
            <p:nvPr/>
          </p:nvSpPr>
          <p:spPr bwMode="auto">
            <a:xfrm>
              <a:off x="1106595" y="2108150"/>
              <a:ext cx="131151" cy="64804"/>
            </a:xfrm>
            <a:custGeom>
              <a:avLst/>
              <a:gdLst>
                <a:gd name="T0" fmla="*/ 32 w 36"/>
                <a:gd name="T1" fmla="*/ 9 h 18"/>
                <a:gd name="T2" fmla="*/ 24 w 36"/>
                <a:gd name="T3" fmla="*/ 0 h 18"/>
                <a:gd name="T4" fmla="*/ 3 w 36"/>
                <a:gd name="T5" fmla="*/ 9 h 18"/>
                <a:gd name="T6" fmla="*/ 11 w 36"/>
                <a:gd name="T7" fmla="*/ 18 h 18"/>
                <a:gd name="T8" fmla="*/ 32 w 36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4"/>
                    <a:pt x="3" y="18"/>
                    <a:pt x="11" y="18"/>
                  </a:cubicBezTo>
                  <a:cubicBezTo>
                    <a:pt x="19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3" name="i$1íḑé">
              <a:extLst>
                <a:ext uri="{FF2B5EF4-FFF2-40B4-BE49-F238E27FC236}">
                  <a16:creationId xmlns:a16="http://schemas.microsoft.com/office/drawing/2014/main" id="{D265AEB3-4EE3-4172-AB50-2040466222A6}"/>
                </a:ext>
              </a:extLst>
            </p:cNvPr>
            <p:cNvSpPr/>
            <p:nvPr/>
          </p:nvSpPr>
          <p:spPr bwMode="auto">
            <a:xfrm>
              <a:off x="654511" y="2188383"/>
              <a:ext cx="134237" cy="69433"/>
            </a:xfrm>
            <a:custGeom>
              <a:avLst/>
              <a:gdLst>
                <a:gd name="T0" fmla="*/ 33 w 37"/>
                <a:gd name="T1" fmla="*/ 9 h 19"/>
                <a:gd name="T2" fmla="*/ 26 w 37"/>
                <a:gd name="T3" fmla="*/ 0 h 19"/>
                <a:gd name="T4" fmla="*/ 4 w 37"/>
                <a:gd name="T5" fmla="*/ 9 h 19"/>
                <a:gd name="T6" fmla="*/ 12 w 37"/>
                <a:gd name="T7" fmla="*/ 19 h 19"/>
                <a:gd name="T8" fmla="*/ 33 w 37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9">
                  <a:moveTo>
                    <a:pt x="33" y="9"/>
                  </a:moveTo>
                  <a:cubicBezTo>
                    <a:pt x="37" y="4"/>
                    <a:pt x="34" y="0"/>
                    <a:pt x="26" y="0"/>
                  </a:cubicBezTo>
                  <a:cubicBezTo>
                    <a:pt x="18" y="0"/>
                    <a:pt x="8" y="4"/>
                    <a:pt x="4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4" name="îS1ïḓe">
              <a:extLst>
                <a:ext uri="{FF2B5EF4-FFF2-40B4-BE49-F238E27FC236}">
                  <a16:creationId xmlns:a16="http://schemas.microsoft.com/office/drawing/2014/main" id="{82688C77-7622-484C-B6D2-7E6BC2FB2ED6}"/>
                </a:ext>
              </a:extLst>
            </p:cNvPr>
            <p:cNvSpPr/>
            <p:nvPr/>
          </p:nvSpPr>
          <p:spPr bwMode="auto">
            <a:xfrm>
              <a:off x="785662" y="2188383"/>
              <a:ext cx="134237" cy="69433"/>
            </a:xfrm>
            <a:custGeom>
              <a:avLst/>
              <a:gdLst>
                <a:gd name="T0" fmla="*/ 33 w 37"/>
                <a:gd name="T1" fmla="*/ 9 h 19"/>
                <a:gd name="T2" fmla="*/ 25 w 37"/>
                <a:gd name="T3" fmla="*/ 0 h 19"/>
                <a:gd name="T4" fmla="*/ 4 w 37"/>
                <a:gd name="T5" fmla="*/ 9 h 19"/>
                <a:gd name="T6" fmla="*/ 12 w 37"/>
                <a:gd name="T7" fmla="*/ 19 h 19"/>
                <a:gd name="T8" fmla="*/ 33 w 37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9">
                  <a:moveTo>
                    <a:pt x="33" y="9"/>
                  </a:moveTo>
                  <a:cubicBezTo>
                    <a:pt x="37" y="4"/>
                    <a:pt x="33" y="0"/>
                    <a:pt x="25" y="0"/>
                  </a:cubicBezTo>
                  <a:cubicBezTo>
                    <a:pt x="17" y="0"/>
                    <a:pt x="8" y="4"/>
                    <a:pt x="4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5" name="íŝ1ïďê">
              <a:extLst>
                <a:ext uri="{FF2B5EF4-FFF2-40B4-BE49-F238E27FC236}">
                  <a16:creationId xmlns:a16="http://schemas.microsoft.com/office/drawing/2014/main" id="{DB1512EC-6701-437E-B0A3-DA9389E831C0}"/>
                </a:ext>
              </a:extLst>
            </p:cNvPr>
            <p:cNvSpPr/>
            <p:nvPr/>
          </p:nvSpPr>
          <p:spPr bwMode="auto">
            <a:xfrm>
              <a:off x="1836408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6" name="îŝlîḍê">
              <a:extLst>
                <a:ext uri="{FF2B5EF4-FFF2-40B4-BE49-F238E27FC236}">
                  <a16:creationId xmlns:a16="http://schemas.microsoft.com/office/drawing/2014/main" id="{079DA955-D766-4A5F-81D8-081E7147C061}"/>
                </a:ext>
              </a:extLst>
            </p:cNvPr>
            <p:cNvSpPr/>
            <p:nvPr/>
          </p:nvSpPr>
          <p:spPr bwMode="auto">
            <a:xfrm>
              <a:off x="1964473" y="2188383"/>
              <a:ext cx="126522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7" name="ïṧľíḍê">
              <a:extLst>
                <a:ext uri="{FF2B5EF4-FFF2-40B4-BE49-F238E27FC236}">
                  <a16:creationId xmlns:a16="http://schemas.microsoft.com/office/drawing/2014/main" id="{D71E9E97-CD78-4AA0-9570-509959866A1A}"/>
                </a:ext>
              </a:extLst>
            </p:cNvPr>
            <p:cNvSpPr/>
            <p:nvPr/>
          </p:nvSpPr>
          <p:spPr bwMode="auto">
            <a:xfrm>
              <a:off x="2095623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8" name="ïṩḷîḑè">
              <a:extLst>
                <a:ext uri="{FF2B5EF4-FFF2-40B4-BE49-F238E27FC236}">
                  <a16:creationId xmlns:a16="http://schemas.microsoft.com/office/drawing/2014/main" id="{D3359C28-852D-448D-A7AC-04F63EE9E7DB}"/>
                </a:ext>
              </a:extLst>
            </p:cNvPr>
            <p:cNvSpPr/>
            <p:nvPr/>
          </p:nvSpPr>
          <p:spPr bwMode="auto">
            <a:xfrm>
              <a:off x="2226774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9" name="iṩḷïdé">
              <a:extLst>
                <a:ext uri="{FF2B5EF4-FFF2-40B4-BE49-F238E27FC236}">
                  <a16:creationId xmlns:a16="http://schemas.microsoft.com/office/drawing/2014/main" id="{41E83CD3-FA38-4DE8-81A2-B70F0CA8AA97}"/>
                </a:ext>
              </a:extLst>
            </p:cNvPr>
            <p:cNvSpPr/>
            <p:nvPr/>
          </p:nvSpPr>
          <p:spPr bwMode="auto">
            <a:xfrm>
              <a:off x="1785491" y="2271702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2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0" name="išḷîďé">
              <a:extLst>
                <a:ext uri="{FF2B5EF4-FFF2-40B4-BE49-F238E27FC236}">
                  <a16:creationId xmlns:a16="http://schemas.microsoft.com/office/drawing/2014/main" id="{0BA9D2A1-C7D8-453C-9490-9A7415025124}"/>
                </a:ext>
              </a:extLst>
            </p:cNvPr>
            <p:cNvSpPr/>
            <p:nvPr/>
          </p:nvSpPr>
          <p:spPr bwMode="auto">
            <a:xfrm>
              <a:off x="1916641" y="2271702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1" name="iSļíḋé">
              <a:extLst>
                <a:ext uri="{FF2B5EF4-FFF2-40B4-BE49-F238E27FC236}">
                  <a16:creationId xmlns:a16="http://schemas.microsoft.com/office/drawing/2014/main" id="{E9A62A3A-66C9-4E75-ABED-8B7D4C26E76B}"/>
                </a:ext>
              </a:extLst>
            </p:cNvPr>
            <p:cNvSpPr/>
            <p:nvPr/>
          </p:nvSpPr>
          <p:spPr bwMode="auto">
            <a:xfrm>
              <a:off x="2050878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2" name="îṥḻiḑê">
              <a:extLst>
                <a:ext uri="{FF2B5EF4-FFF2-40B4-BE49-F238E27FC236}">
                  <a16:creationId xmlns:a16="http://schemas.microsoft.com/office/drawing/2014/main" id="{6898C946-2D29-47B7-A4EB-2DC2520C5C63}"/>
                </a:ext>
              </a:extLst>
            </p:cNvPr>
            <p:cNvSpPr/>
            <p:nvPr/>
          </p:nvSpPr>
          <p:spPr bwMode="auto">
            <a:xfrm>
              <a:off x="2183571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3" name="í$ļíďè">
              <a:extLst>
                <a:ext uri="{FF2B5EF4-FFF2-40B4-BE49-F238E27FC236}">
                  <a16:creationId xmlns:a16="http://schemas.microsoft.com/office/drawing/2014/main" id="{5253A0E5-C80A-4F9A-BF07-570162814DAC}"/>
                </a:ext>
              </a:extLst>
            </p:cNvPr>
            <p:cNvSpPr/>
            <p:nvPr/>
          </p:nvSpPr>
          <p:spPr bwMode="auto">
            <a:xfrm>
              <a:off x="1868810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2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4" y="19"/>
                    <a:pt x="12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4" name="íṧlîďè">
              <a:extLst>
                <a:ext uri="{FF2B5EF4-FFF2-40B4-BE49-F238E27FC236}">
                  <a16:creationId xmlns:a16="http://schemas.microsoft.com/office/drawing/2014/main" id="{76F3B9E3-8D63-4132-ABD8-0619F4A8CA7D}"/>
                </a:ext>
              </a:extLst>
            </p:cNvPr>
            <p:cNvSpPr/>
            <p:nvPr/>
          </p:nvSpPr>
          <p:spPr bwMode="auto">
            <a:xfrm>
              <a:off x="2004590" y="2356565"/>
              <a:ext cx="126522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4" y="19"/>
                    <a:pt x="12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5" name="íšļîḍè">
              <a:extLst>
                <a:ext uri="{FF2B5EF4-FFF2-40B4-BE49-F238E27FC236}">
                  <a16:creationId xmlns:a16="http://schemas.microsoft.com/office/drawing/2014/main" id="{5D603C09-6183-408E-8E9F-4BC1DC03F6EF}"/>
                </a:ext>
              </a:extLst>
            </p:cNvPr>
            <p:cNvSpPr/>
            <p:nvPr/>
          </p:nvSpPr>
          <p:spPr bwMode="auto">
            <a:xfrm>
              <a:off x="2135740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1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6" name="isḻïdè">
              <a:extLst>
                <a:ext uri="{FF2B5EF4-FFF2-40B4-BE49-F238E27FC236}">
                  <a16:creationId xmlns:a16="http://schemas.microsoft.com/office/drawing/2014/main" id="{1E9C534F-5D97-4B55-81A9-AA2E1D55A47A}"/>
                </a:ext>
              </a:extLst>
            </p:cNvPr>
            <p:cNvSpPr/>
            <p:nvPr/>
          </p:nvSpPr>
          <p:spPr bwMode="auto">
            <a:xfrm>
              <a:off x="1817893" y="2439884"/>
              <a:ext cx="135779" cy="74061"/>
            </a:xfrm>
            <a:custGeom>
              <a:avLst/>
              <a:gdLst>
                <a:gd name="T0" fmla="*/ 33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3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3" y="10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6" y="0"/>
                    <a:pt x="6" y="5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7" name="íṣlidê">
              <a:extLst>
                <a:ext uri="{FF2B5EF4-FFF2-40B4-BE49-F238E27FC236}">
                  <a16:creationId xmlns:a16="http://schemas.microsoft.com/office/drawing/2014/main" id="{B744FD95-A465-45F2-8B4E-206B27C5E473}"/>
                </a:ext>
              </a:extLst>
            </p:cNvPr>
            <p:cNvSpPr/>
            <p:nvPr/>
          </p:nvSpPr>
          <p:spPr bwMode="auto">
            <a:xfrm>
              <a:off x="1953672" y="2439884"/>
              <a:ext cx="134237" cy="74061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6" y="0"/>
                    <a:pt x="6" y="5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1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8" name="îşḻïḑê">
              <a:extLst>
                <a:ext uri="{FF2B5EF4-FFF2-40B4-BE49-F238E27FC236}">
                  <a16:creationId xmlns:a16="http://schemas.microsoft.com/office/drawing/2014/main" id="{01965738-A167-45F2-8C61-549118F18C5B}"/>
                </a:ext>
              </a:extLst>
            </p:cNvPr>
            <p:cNvSpPr/>
            <p:nvPr/>
          </p:nvSpPr>
          <p:spPr bwMode="auto">
            <a:xfrm>
              <a:off x="2090995" y="2439884"/>
              <a:ext cx="132693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2 w 36"/>
                <a:gd name="T5" fmla="*/ 10 h 20"/>
                <a:gd name="T6" fmla="*/ 1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5" y="5"/>
                    <a:pt x="2" y="10"/>
                  </a:cubicBezTo>
                  <a:cubicBezTo>
                    <a:pt x="0" y="16"/>
                    <a:pt x="4" y="20"/>
                    <a:pt x="12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9" name="išḻîḋe">
              <a:extLst>
                <a:ext uri="{FF2B5EF4-FFF2-40B4-BE49-F238E27FC236}">
                  <a16:creationId xmlns:a16="http://schemas.microsoft.com/office/drawing/2014/main" id="{033A5E5F-9D96-4E26-B93D-6F0F31556D44}"/>
                </a:ext>
              </a:extLst>
            </p:cNvPr>
            <p:cNvSpPr/>
            <p:nvPr/>
          </p:nvSpPr>
          <p:spPr bwMode="auto">
            <a:xfrm>
              <a:off x="1766976" y="2532461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3" y="0"/>
                    <a:pt x="24" y="0"/>
                  </a:cubicBezTo>
                  <a:cubicBezTo>
                    <a:pt x="16" y="0"/>
                    <a:pt x="6" y="4"/>
                    <a:pt x="3" y="10"/>
                  </a:cubicBezTo>
                  <a:cubicBezTo>
                    <a:pt x="0" y="15"/>
                    <a:pt x="4" y="20"/>
                    <a:pt x="13" y="20"/>
                  </a:cubicBezTo>
                  <a:cubicBezTo>
                    <a:pt x="21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0" name="íṥlidè">
              <a:extLst>
                <a:ext uri="{FF2B5EF4-FFF2-40B4-BE49-F238E27FC236}">
                  <a16:creationId xmlns:a16="http://schemas.microsoft.com/office/drawing/2014/main" id="{7C61D555-AB0F-4551-9C62-E2B3300520A6}"/>
                </a:ext>
              </a:extLst>
            </p:cNvPr>
            <p:cNvSpPr/>
            <p:nvPr/>
          </p:nvSpPr>
          <p:spPr bwMode="auto">
            <a:xfrm>
              <a:off x="1905841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4 w 36"/>
                <a:gd name="T3" fmla="*/ 0 h 20"/>
                <a:gd name="T4" fmla="*/ 3 w 36"/>
                <a:gd name="T5" fmla="*/ 10 h 20"/>
                <a:gd name="T6" fmla="*/ 1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4" y="20"/>
                    <a:pt x="12" y="20"/>
                  </a:cubicBezTo>
                  <a:cubicBezTo>
                    <a:pt x="21" y="20"/>
                    <a:pt x="30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1" name="iş1íďé">
              <a:extLst>
                <a:ext uri="{FF2B5EF4-FFF2-40B4-BE49-F238E27FC236}">
                  <a16:creationId xmlns:a16="http://schemas.microsoft.com/office/drawing/2014/main" id="{1F901A42-8772-4FBA-A261-2E5950A94EE2}"/>
                </a:ext>
              </a:extLst>
            </p:cNvPr>
            <p:cNvSpPr/>
            <p:nvPr/>
          </p:nvSpPr>
          <p:spPr bwMode="auto">
            <a:xfrm>
              <a:off x="2040077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3" y="0"/>
                    <a:pt x="24" y="0"/>
                  </a:cubicBezTo>
                  <a:cubicBezTo>
                    <a:pt x="16" y="0"/>
                    <a:pt x="6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2" name="ïṥ1ídè">
              <a:extLst>
                <a:ext uri="{FF2B5EF4-FFF2-40B4-BE49-F238E27FC236}">
                  <a16:creationId xmlns:a16="http://schemas.microsoft.com/office/drawing/2014/main" id="{ABC6E74E-2CC1-4344-A125-B5B27470CBD8}"/>
                </a:ext>
              </a:extLst>
            </p:cNvPr>
            <p:cNvSpPr/>
            <p:nvPr/>
          </p:nvSpPr>
          <p:spPr bwMode="auto">
            <a:xfrm>
              <a:off x="1850295" y="2623494"/>
              <a:ext cx="138865" cy="72519"/>
            </a:xfrm>
            <a:custGeom>
              <a:avLst/>
              <a:gdLst>
                <a:gd name="T0" fmla="*/ 35 w 38"/>
                <a:gd name="T1" fmla="*/ 10 h 20"/>
                <a:gd name="T2" fmla="*/ 25 w 38"/>
                <a:gd name="T3" fmla="*/ 0 h 20"/>
                <a:gd name="T4" fmla="*/ 4 w 38"/>
                <a:gd name="T5" fmla="*/ 10 h 20"/>
                <a:gd name="T6" fmla="*/ 14 w 38"/>
                <a:gd name="T7" fmla="*/ 20 h 20"/>
                <a:gd name="T8" fmla="*/ 35 w 38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35" y="10"/>
                  </a:moveTo>
                  <a:cubicBezTo>
                    <a:pt x="38" y="4"/>
                    <a:pt x="34" y="0"/>
                    <a:pt x="25" y="0"/>
                  </a:cubicBezTo>
                  <a:cubicBezTo>
                    <a:pt x="16" y="0"/>
                    <a:pt x="7" y="4"/>
                    <a:pt x="4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2" y="16"/>
                    <a:pt x="35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3" name="ïṩļiḋê">
              <a:extLst>
                <a:ext uri="{FF2B5EF4-FFF2-40B4-BE49-F238E27FC236}">
                  <a16:creationId xmlns:a16="http://schemas.microsoft.com/office/drawing/2014/main" id="{098C8B63-FE17-489E-89B5-03C41DBDB3E3}"/>
                </a:ext>
              </a:extLst>
            </p:cNvPr>
            <p:cNvSpPr/>
            <p:nvPr/>
          </p:nvSpPr>
          <p:spPr bwMode="auto">
            <a:xfrm>
              <a:off x="1993789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4" name="îṩlîḑè">
              <a:extLst>
                <a:ext uri="{FF2B5EF4-FFF2-40B4-BE49-F238E27FC236}">
                  <a16:creationId xmlns:a16="http://schemas.microsoft.com/office/drawing/2014/main" id="{FFEEE717-968B-4B75-9C4E-B13FC39C3F98}"/>
                </a:ext>
              </a:extLst>
            </p:cNvPr>
            <p:cNvSpPr/>
            <p:nvPr/>
          </p:nvSpPr>
          <p:spPr bwMode="auto">
            <a:xfrm>
              <a:off x="1942872" y="2714528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3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1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5" name="îṣḷîḋé">
              <a:extLst>
                <a:ext uri="{FF2B5EF4-FFF2-40B4-BE49-F238E27FC236}">
                  <a16:creationId xmlns:a16="http://schemas.microsoft.com/office/drawing/2014/main" id="{C73CA244-49D5-47E9-ACCC-5D5D606B0C1D}"/>
                </a:ext>
              </a:extLst>
            </p:cNvPr>
            <p:cNvSpPr/>
            <p:nvPr/>
          </p:nvSpPr>
          <p:spPr bwMode="auto">
            <a:xfrm>
              <a:off x="2084823" y="2714528"/>
              <a:ext cx="134237" cy="80233"/>
            </a:xfrm>
            <a:custGeom>
              <a:avLst/>
              <a:gdLst>
                <a:gd name="T0" fmla="*/ 34 w 37"/>
                <a:gd name="T1" fmla="*/ 11 h 22"/>
                <a:gd name="T2" fmla="*/ 24 w 37"/>
                <a:gd name="T3" fmla="*/ 0 h 22"/>
                <a:gd name="T4" fmla="*/ 3 w 37"/>
                <a:gd name="T5" fmla="*/ 11 h 22"/>
                <a:gd name="T6" fmla="*/ 1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3" y="0"/>
                    <a:pt x="24" y="0"/>
                  </a:cubicBezTo>
                  <a:cubicBezTo>
                    <a:pt x="15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6" name="isļiďe">
              <a:extLst>
                <a:ext uri="{FF2B5EF4-FFF2-40B4-BE49-F238E27FC236}">
                  <a16:creationId xmlns:a16="http://schemas.microsoft.com/office/drawing/2014/main" id="{BF434B33-5880-4384-9317-129D3D881427}"/>
                </a:ext>
              </a:extLst>
            </p:cNvPr>
            <p:cNvSpPr/>
            <p:nvPr/>
          </p:nvSpPr>
          <p:spPr bwMode="auto">
            <a:xfrm>
              <a:off x="2033905" y="2810191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5 w 38"/>
                <a:gd name="T3" fmla="*/ 0 h 22"/>
                <a:gd name="T4" fmla="*/ 3 w 38"/>
                <a:gd name="T5" fmla="*/ 11 h 22"/>
                <a:gd name="T6" fmla="*/ 13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7" name="ïs1íďe">
              <a:extLst>
                <a:ext uri="{FF2B5EF4-FFF2-40B4-BE49-F238E27FC236}">
                  <a16:creationId xmlns:a16="http://schemas.microsoft.com/office/drawing/2014/main" id="{56E95DE9-0610-4B13-A7C9-DB8AC9B6E1C3}"/>
                </a:ext>
              </a:extLst>
            </p:cNvPr>
            <p:cNvSpPr/>
            <p:nvPr/>
          </p:nvSpPr>
          <p:spPr bwMode="auto">
            <a:xfrm>
              <a:off x="2718973" y="1734757"/>
              <a:ext cx="114178" cy="58632"/>
            </a:xfrm>
            <a:custGeom>
              <a:avLst/>
              <a:gdLst>
                <a:gd name="T0" fmla="*/ 29 w 31"/>
                <a:gd name="T1" fmla="*/ 8 h 16"/>
                <a:gd name="T2" fmla="*/ 20 w 31"/>
                <a:gd name="T3" fmla="*/ 0 h 16"/>
                <a:gd name="T4" fmla="*/ 2 w 31"/>
                <a:gd name="T5" fmla="*/ 8 h 16"/>
                <a:gd name="T6" fmla="*/ 12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31" y="3"/>
                    <a:pt x="27" y="0"/>
                    <a:pt x="20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8" name="ïŝḻîḑê">
              <a:extLst>
                <a:ext uri="{FF2B5EF4-FFF2-40B4-BE49-F238E27FC236}">
                  <a16:creationId xmlns:a16="http://schemas.microsoft.com/office/drawing/2014/main" id="{C63AA89E-3EA1-4BBD-918C-B22E8CA5EDC9}"/>
                </a:ext>
              </a:extLst>
            </p:cNvPr>
            <p:cNvSpPr/>
            <p:nvPr/>
          </p:nvSpPr>
          <p:spPr bwMode="auto">
            <a:xfrm>
              <a:off x="2683486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5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9" name="î$ľíḑé">
              <a:extLst>
                <a:ext uri="{FF2B5EF4-FFF2-40B4-BE49-F238E27FC236}">
                  <a16:creationId xmlns:a16="http://schemas.microsoft.com/office/drawing/2014/main" id="{C36A2F9C-6B18-4AE0-AF84-CF4B066CB928}"/>
                </a:ext>
              </a:extLst>
            </p:cNvPr>
            <p:cNvSpPr/>
            <p:nvPr/>
          </p:nvSpPr>
          <p:spPr bwMode="auto">
            <a:xfrm>
              <a:off x="2646455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0" name="ïṥľîḓè">
              <a:extLst>
                <a:ext uri="{FF2B5EF4-FFF2-40B4-BE49-F238E27FC236}">
                  <a16:creationId xmlns:a16="http://schemas.microsoft.com/office/drawing/2014/main" id="{6D5FC294-3416-49CA-AED8-3D00EFB89D77}"/>
                </a:ext>
              </a:extLst>
            </p:cNvPr>
            <p:cNvSpPr/>
            <p:nvPr/>
          </p:nvSpPr>
          <p:spPr bwMode="auto">
            <a:xfrm>
              <a:off x="2609425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4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1" name="î$líḋê">
              <a:extLst>
                <a:ext uri="{FF2B5EF4-FFF2-40B4-BE49-F238E27FC236}">
                  <a16:creationId xmlns:a16="http://schemas.microsoft.com/office/drawing/2014/main" id="{0E9365DD-7FAD-457C-9AD4-A47196B8673B}"/>
                </a:ext>
              </a:extLst>
            </p:cNvPr>
            <p:cNvSpPr/>
            <p:nvPr/>
          </p:nvSpPr>
          <p:spPr bwMode="auto">
            <a:xfrm>
              <a:off x="2569308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2" name="ïşļíḍe">
              <a:extLst>
                <a:ext uri="{FF2B5EF4-FFF2-40B4-BE49-F238E27FC236}">
                  <a16:creationId xmlns:a16="http://schemas.microsoft.com/office/drawing/2014/main" id="{8546CC9E-74AC-4A50-873A-644A7AA4791D}"/>
                </a:ext>
              </a:extLst>
            </p:cNvPr>
            <p:cNvSpPr/>
            <p:nvPr/>
          </p:nvSpPr>
          <p:spPr bwMode="auto">
            <a:xfrm>
              <a:off x="2529192" y="2108150"/>
              <a:ext cx="124979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3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3" name="ïsļíḓê">
              <a:extLst>
                <a:ext uri="{FF2B5EF4-FFF2-40B4-BE49-F238E27FC236}">
                  <a16:creationId xmlns:a16="http://schemas.microsoft.com/office/drawing/2014/main" id="{16CBC2CE-EDE4-442B-9729-D65B62D1E36F}"/>
                </a:ext>
              </a:extLst>
            </p:cNvPr>
            <p:cNvSpPr/>
            <p:nvPr/>
          </p:nvSpPr>
          <p:spPr bwMode="auto">
            <a:xfrm>
              <a:off x="2489075" y="2188383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2 w 34"/>
                <a:gd name="T3" fmla="*/ 0 h 19"/>
                <a:gd name="T4" fmla="*/ 3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4" name="îS1ide">
              <a:extLst>
                <a:ext uri="{FF2B5EF4-FFF2-40B4-BE49-F238E27FC236}">
                  <a16:creationId xmlns:a16="http://schemas.microsoft.com/office/drawing/2014/main" id="{48CACA8F-1A22-41F5-A27E-627DDC8EDA12}"/>
                </a:ext>
              </a:extLst>
            </p:cNvPr>
            <p:cNvSpPr/>
            <p:nvPr/>
          </p:nvSpPr>
          <p:spPr bwMode="auto">
            <a:xfrm>
              <a:off x="2448958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2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5" name="íšľïdè">
              <a:extLst>
                <a:ext uri="{FF2B5EF4-FFF2-40B4-BE49-F238E27FC236}">
                  <a16:creationId xmlns:a16="http://schemas.microsoft.com/office/drawing/2014/main" id="{A1370080-03DB-48FA-9818-7D25CB9BB2A8}"/>
                </a:ext>
              </a:extLst>
            </p:cNvPr>
            <p:cNvSpPr/>
            <p:nvPr/>
          </p:nvSpPr>
          <p:spPr bwMode="auto">
            <a:xfrm>
              <a:off x="2405756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6" name="ïslïḑé">
              <a:extLst>
                <a:ext uri="{FF2B5EF4-FFF2-40B4-BE49-F238E27FC236}">
                  <a16:creationId xmlns:a16="http://schemas.microsoft.com/office/drawing/2014/main" id="{088EE015-658A-4858-ACA8-6379CF1FBFBF}"/>
                </a:ext>
              </a:extLst>
            </p:cNvPr>
            <p:cNvSpPr/>
            <p:nvPr/>
          </p:nvSpPr>
          <p:spPr bwMode="auto">
            <a:xfrm>
              <a:off x="2361010" y="2439884"/>
              <a:ext cx="132693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7" name="ïṡľiḓé">
              <a:extLst>
                <a:ext uri="{FF2B5EF4-FFF2-40B4-BE49-F238E27FC236}">
                  <a16:creationId xmlns:a16="http://schemas.microsoft.com/office/drawing/2014/main" id="{EFA7ACDE-DFDC-4500-BEA6-B95531318F9F}"/>
                </a:ext>
              </a:extLst>
            </p:cNvPr>
            <p:cNvSpPr/>
            <p:nvPr/>
          </p:nvSpPr>
          <p:spPr bwMode="auto">
            <a:xfrm>
              <a:off x="2317807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5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8" name="isḷíḑè">
              <a:extLst>
                <a:ext uri="{FF2B5EF4-FFF2-40B4-BE49-F238E27FC236}">
                  <a16:creationId xmlns:a16="http://schemas.microsoft.com/office/drawing/2014/main" id="{D858F5D0-7E99-496E-8A14-852D5B793D5C}"/>
                </a:ext>
              </a:extLst>
            </p:cNvPr>
            <p:cNvSpPr/>
            <p:nvPr/>
          </p:nvSpPr>
          <p:spPr bwMode="auto">
            <a:xfrm>
              <a:off x="2269977" y="2623494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2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9" name="iṣḷîdê">
              <a:extLst>
                <a:ext uri="{FF2B5EF4-FFF2-40B4-BE49-F238E27FC236}">
                  <a16:creationId xmlns:a16="http://schemas.microsoft.com/office/drawing/2014/main" id="{2395BEA8-5033-4689-9809-B11F8E8B0198}"/>
                </a:ext>
              </a:extLst>
            </p:cNvPr>
            <p:cNvSpPr/>
            <p:nvPr/>
          </p:nvSpPr>
          <p:spPr bwMode="auto">
            <a:xfrm>
              <a:off x="2223688" y="2714528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0" name="iŝ1iḋè">
              <a:extLst>
                <a:ext uri="{FF2B5EF4-FFF2-40B4-BE49-F238E27FC236}">
                  <a16:creationId xmlns:a16="http://schemas.microsoft.com/office/drawing/2014/main" id="{663B2C6C-FC3A-4DCA-88C2-4D000BEB781A}"/>
                </a:ext>
              </a:extLst>
            </p:cNvPr>
            <p:cNvSpPr/>
            <p:nvPr/>
          </p:nvSpPr>
          <p:spPr bwMode="auto">
            <a:xfrm>
              <a:off x="2175856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25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1" name="íṧḻiḓè">
              <a:extLst>
                <a:ext uri="{FF2B5EF4-FFF2-40B4-BE49-F238E27FC236}">
                  <a16:creationId xmlns:a16="http://schemas.microsoft.com/office/drawing/2014/main" id="{9E473A14-D72E-410A-B466-3DA20A6117CD}"/>
                </a:ext>
              </a:extLst>
            </p:cNvPr>
            <p:cNvSpPr/>
            <p:nvPr/>
          </p:nvSpPr>
          <p:spPr bwMode="auto">
            <a:xfrm>
              <a:off x="2124940" y="2907396"/>
              <a:ext cx="141951" cy="84863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4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7" y="5"/>
                    <a:pt x="4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2" name="ïşļïḑè">
              <a:extLst>
                <a:ext uri="{FF2B5EF4-FFF2-40B4-BE49-F238E27FC236}">
                  <a16:creationId xmlns:a16="http://schemas.microsoft.com/office/drawing/2014/main" id="{741AA482-BFC7-48DC-B85F-0CE7A028471E}"/>
                </a:ext>
              </a:extLst>
            </p:cNvPr>
            <p:cNvSpPr/>
            <p:nvPr/>
          </p:nvSpPr>
          <p:spPr bwMode="auto">
            <a:xfrm>
              <a:off x="2074022" y="3010774"/>
              <a:ext cx="145037" cy="83319"/>
            </a:xfrm>
            <a:custGeom>
              <a:avLst/>
              <a:gdLst>
                <a:gd name="T0" fmla="*/ 37 w 40"/>
                <a:gd name="T1" fmla="*/ 11 h 23"/>
                <a:gd name="T2" fmla="*/ 26 w 40"/>
                <a:gd name="T3" fmla="*/ 0 h 23"/>
                <a:gd name="T4" fmla="*/ 4 w 40"/>
                <a:gd name="T5" fmla="*/ 11 h 23"/>
                <a:gd name="T6" fmla="*/ 14 w 40"/>
                <a:gd name="T7" fmla="*/ 23 h 23"/>
                <a:gd name="T8" fmla="*/ 37 w 40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37" y="11"/>
                  </a:moveTo>
                  <a:cubicBezTo>
                    <a:pt x="40" y="5"/>
                    <a:pt x="35" y="0"/>
                    <a:pt x="26" y="0"/>
                  </a:cubicBezTo>
                  <a:cubicBezTo>
                    <a:pt x="17" y="0"/>
                    <a:pt x="7" y="5"/>
                    <a:pt x="4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4" y="23"/>
                    <a:pt x="33" y="18"/>
                    <a:pt x="3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3" name="íṣlíḓe">
              <a:extLst>
                <a:ext uri="{FF2B5EF4-FFF2-40B4-BE49-F238E27FC236}">
                  <a16:creationId xmlns:a16="http://schemas.microsoft.com/office/drawing/2014/main" id="{0F9C78E0-B59F-43C5-9BF0-6B9C08E7753D}"/>
                </a:ext>
              </a:extLst>
            </p:cNvPr>
            <p:cNvSpPr/>
            <p:nvPr/>
          </p:nvSpPr>
          <p:spPr bwMode="auto">
            <a:xfrm>
              <a:off x="2223688" y="3010774"/>
              <a:ext cx="141951" cy="83319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4" name="íşľïďè">
              <a:extLst>
                <a:ext uri="{FF2B5EF4-FFF2-40B4-BE49-F238E27FC236}">
                  <a16:creationId xmlns:a16="http://schemas.microsoft.com/office/drawing/2014/main" id="{9B7279BC-16F4-4400-9FDC-C90362C023D2}"/>
                </a:ext>
              </a:extLst>
            </p:cNvPr>
            <p:cNvSpPr/>
            <p:nvPr/>
          </p:nvSpPr>
          <p:spPr bwMode="auto">
            <a:xfrm>
              <a:off x="2368725" y="3010774"/>
              <a:ext cx="141951" cy="83319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4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5" name="î$1íḑê">
              <a:extLst>
                <a:ext uri="{FF2B5EF4-FFF2-40B4-BE49-F238E27FC236}">
                  <a16:creationId xmlns:a16="http://schemas.microsoft.com/office/drawing/2014/main" id="{9ABEACA5-7EC7-426C-ACAA-3E1C0D4E5380}"/>
                </a:ext>
              </a:extLst>
            </p:cNvPr>
            <p:cNvSpPr/>
            <p:nvPr/>
          </p:nvSpPr>
          <p:spPr bwMode="auto">
            <a:xfrm>
              <a:off x="2518390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24 w 38"/>
                <a:gd name="T3" fmla="*/ 0 h 23"/>
                <a:gd name="T4" fmla="*/ 2 w 38"/>
                <a:gd name="T5" fmla="*/ 11 h 23"/>
                <a:gd name="T6" fmla="*/ 1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5" y="0"/>
                    <a:pt x="5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6" name="îṣliḑê">
              <a:extLst>
                <a:ext uri="{FF2B5EF4-FFF2-40B4-BE49-F238E27FC236}">
                  <a16:creationId xmlns:a16="http://schemas.microsoft.com/office/drawing/2014/main" id="{B47D808D-75A0-4EB1-A7FC-6E30DECD92ED}"/>
                </a:ext>
              </a:extLst>
            </p:cNvPr>
            <p:cNvSpPr/>
            <p:nvPr/>
          </p:nvSpPr>
          <p:spPr bwMode="auto">
            <a:xfrm>
              <a:off x="2320893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5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4" y="0"/>
                    <a:pt x="25" y="0"/>
                  </a:cubicBezTo>
                  <a:cubicBezTo>
                    <a:pt x="16" y="0"/>
                    <a:pt x="6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7" name="ïSľíḍé">
              <a:extLst>
                <a:ext uri="{FF2B5EF4-FFF2-40B4-BE49-F238E27FC236}">
                  <a16:creationId xmlns:a16="http://schemas.microsoft.com/office/drawing/2014/main" id="{A9EA4C27-0DC9-4B22-9795-BA9AC1EC48AE}"/>
                </a:ext>
              </a:extLst>
            </p:cNvPr>
            <p:cNvSpPr/>
            <p:nvPr/>
          </p:nvSpPr>
          <p:spPr bwMode="auto">
            <a:xfrm>
              <a:off x="2470560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5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4" y="0"/>
                    <a:pt x="25" y="0"/>
                  </a:cubicBezTo>
                  <a:cubicBezTo>
                    <a:pt x="15" y="0"/>
                    <a:pt x="6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8" name="ïś1íḋè">
              <a:extLst>
                <a:ext uri="{FF2B5EF4-FFF2-40B4-BE49-F238E27FC236}">
                  <a16:creationId xmlns:a16="http://schemas.microsoft.com/office/drawing/2014/main" id="{8A654D44-28E9-4356-986D-09AC3B8803F3}"/>
                </a:ext>
              </a:extLst>
            </p:cNvPr>
            <p:cNvSpPr/>
            <p:nvPr/>
          </p:nvSpPr>
          <p:spPr bwMode="auto">
            <a:xfrm>
              <a:off x="2620225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4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3" y="0"/>
                    <a:pt x="24" y="0"/>
                  </a:cubicBezTo>
                  <a:cubicBezTo>
                    <a:pt x="15" y="0"/>
                    <a:pt x="5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9" name="îšḻiďe">
              <a:extLst>
                <a:ext uri="{FF2B5EF4-FFF2-40B4-BE49-F238E27FC236}">
                  <a16:creationId xmlns:a16="http://schemas.microsoft.com/office/drawing/2014/main" id="{31883696-C1FA-4CF9-9D3F-BD162B94CF1E}"/>
                </a:ext>
              </a:extLst>
            </p:cNvPr>
            <p:cNvSpPr/>
            <p:nvPr/>
          </p:nvSpPr>
          <p:spPr bwMode="auto">
            <a:xfrm>
              <a:off x="2573936" y="3222157"/>
              <a:ext cx="145037" cy="87948"/>
            </a:xfrm>
            <a:custGeom>
              <a:avLst/>
              <a:gdLst>
                <a:gd name="T0" fmla="*/ 37 w 40"/>
                <a:gd name="T1" fmla="*/ 12 h 24"/>
                <a:gd name="T2" fmla="*/ 25 w 40"/>
                <a:gd name="T3" fmla="*/ 0 h 24"/>
                <a:gd name="T4" fmla="*/ 3 w 40"/>
                <a:gd name="T5" fmla="*/ 12 h 24"/>
                <a:gd name="T6" fmla="*/ 15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6" y="0"/>
                    <a:pt x="6" y="5"/>
                    <a:pt x="3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4" y="24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0" name="iṩḻíḑè">
              <a:extLst>
                <a:ext uri="{FF2B5EF4-FFF2-40B4-BE49-F238E27FC236}">
                  <a16:creationId xmlns:a16="http://schemas.microsoft.com/office/drawing/2014/main" id="{D5E54901-9A4B-4A02-A9CF-34539DED4B13}"/>
                </a:ext>
              </a:extLst>
            </p:cNvPr>
            <p:cNvSpPr/>
            <p:nvPr/>
          </p:nvSpPr>
          <p:spPr bwMode="auto">
            <a:xfrm>
              <a:off x="3029106" y="3222157"/>
              <a:ext cx="141951" cy="87948"/>
            </a:xfrm>
            <a:custGeom>
              <a:avLst/>
              <a:gdLst>
                <a:gd name="T0" fmla="*/ 36 w 39"/>
                <a:gd name="T1" fmla="*/ 12 h 24"/>
                <a:gd name="T2" fmla="*/ 24 w 39"/>
                <a:gd name="T3" fmla="*/ 0 h 24"/>
                <a:gd name="T4" fmla="*/ 3 w 39"/>
                <a:gd name="T5" fmla="*/ 12 h 24"/>
                <a:gd name="T6" fmla="*/ 15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4" y="24"/>
                    <a:pt x="34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1" name="íśľîḋê">
              <a:extLst>
                <a:ext uri="{FF2B5EF4-FFF2-40B4-BE49-F238E27FC236}">
                  <a16:creationId xmlns:a16="http://schemas.microsoft.com/office/drawing/2014/main" id="{A4B64B96-F716-4FBF-9017-046CD5C1DEBE}"/>
                </a:ext>
              </a:extLst>
            </p:cNvPr>
            <p:cNvSpPr/>
            <p:nvPr/>
          </p:nvSpPr>
          <p:spPr bwMode="auto">
            <a:xfrm>
              <a:off x="3183401" y="3222157"/>
              <a:ext cx="137323" cy="87948"/>
            </a:xfrm>
            <a:custGeom>
              <a:avLst/>
              <a:gdLst>
                <a:gd name="T0" fmla="*/ 36 w 38"/>
                <a:gd name="T1" fmla="*/ 12 h 24"/>
                <a:gd name="T2" fmla="*/ 23 w 38"/>
                <a:gd name="T3" fmla="*/ 0 h 24"/>
                <a:gd name="T4" fmla="*/ 2 w 38"/>
                <a:gd name="T5" fmla="*/ 12 h 24"/>
                <a:gd name="T6" fmla="*/ 15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19"/>
                    <a:pt x="5" y="24"/>
                    <a:pt x="15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2" name="i$1íḑê">
              <a:extLst>
                <a:ext uri="{FF2B5EF4-FFF2-40B4-BE49-F238E27FC236}">
                  <a16:creationId xmlns:a16="http://schemas.microsoft.com/office/drawing/2014/main" id="{ADAE04ED-0F84-4AF9-87E4-BA657FBE5F12}"/>
                </a:ext>
              </a:extLst>
            </p:cNvPr>
            <p:cNvSpPr/>
            <p:nvPr/>
          </p:nvSpPr>
          <p:spPr bwMode="auto">
            <a:xfrm>
              <a:off x="3333066" y="3222157"/>
              <a:ext cx="137323" cy="87948"/>
            </a:xfrm>
            <a:custGeom>
              <a:avLst/>
              <a:gdLst>
                <a:gd name="T0" fmla="*/ 36 w 38"/>
                <a:gd name="T1" fmla="*/ 12 h 24"/>
                <a:gd name="T2" fmla="*/ 23 w 38"/>
                <a:gd name="T3" fmla="*/ 0 h 24"/>
                <a:gd name="T4" fmla="*/ 2 w 38"/>
                <a:gd name="T5" fmla="*/ 12 h 24"/>
                <a:gd name="T6" fmla="*/ 15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5" y="24"/>
                    <a:pt x="34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3" name="îšļïdé">
              <a:extLst>
                <a:ext uri="{FF2B5EF4-FFF2-40B4-BE49-F238E27FC236}">
                  <a16:creationId xmlns:a16="http://schemas.microsoft.com/office/drawing/2014/main" id="{6978763E-CC1A-4E3C-824F-65676149A7E4}"/>
                </a:ext>
              </a:extLst>
            </p:cNvPr>
            <p:cNvSpPr/>
            <p:nvPr/>
          </p:nvSpPr>
          <p:spPr bwMode="auto">
            <a:xfrm>
              <a:off x="2683486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5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5" y="25"/>
                    <a:pt x="15" y="25"/>
                  </a:cubicBezTo>
                  <a:cubicBezTo>
                    <a:pt x="24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4" name="íś1îďé">
              <a:extLst>
                <a:ext uri="{FF2B5EF4-FFF2-40B4-BE49-F238E27FC236}">
                  <a16:creationId xmlns:a16="http://schemas.microsoft.com/office/drawing/2014/main" id="{4C77BB0C-2423-4649-B889-6173C2DCC67C}"/>
                </a:ext>
              </a:extLst>
            </p:cNvPr>
            <p:cNvSpPr/>
            <p:nvPr/>
          </p:nvSpPr>
          <p:spPr bwMode="auto">
            <a:xfrm>
              <a:off x="2836237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5" y="25"/>
                    <a:pt x="15" y="25"/>
                  </a:cubicBezTo>
                  <a:cubicBezTo>
                    <a:pt x="24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5" name="iṥḷïde">
              <a:extLst>
                <a:ext uri="{FF2B5EF4-FFF2-40B4-BE49-F238E27FC236}">
                  <a16:creationId xmlns:a16="http://schemas.microsoft.com/office/drawing/2014/main" id="{C80E9B54-0C44-4383-9757-89008F58E8A3}"/>
                </a:ext>
              </a:extLst>
            </p:cNvPr>
            <p:cNvSpPr/>
            <p:nvPr/>
          </p:nvSpPr>
          <p:spPr bwMode="auto">
            <a:xfrm>
              <a:off x="2988990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6" y="25"/>
                    <a:pt x="15" y="25"/>
                  </a:cubicBezTo>
                  <a:cubicBezTo>
                    <a:pt x="25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6" name="ïśľïde">
              <a:extLst>
                <a:ext uri="{FF2B5EF4-FFF2-40B4-BE49-F238E27FC236}">
                  <a16:creationId xmlns:a16="http://schemas.microsoft.com/office/drawing/2014/main" id="{09E77695-A4A2-4903-923A-2C90C9F00FF8}"/>
                </a:ext>
              </a:extLst>
            </p:cNvPr>
            <p:cNvSpPr/>
            <p:nvPr/>
          </p:nvSpPr>
          <p:spPr bwMode="auto">
            <a:xfrm>
              <a:off x="3143284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5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7" name="iṩ1idê">
              <a:extLst>
                <a:ext uri="{FF2B5EF4-FFF2-40B4-BE49-F238E27FC236}">
                  <a16:creationId xmlns:a16="http://schemas.microsoft.com/office/drawing/2014/main" id="{C69E3EC3-DA0E-4BB2-B164-AB704653E232}"/>
                </a:ext>
              </a:extLst>
            </p:cNvPr>
            <p:cNvSpPr/>
            <p:nvPr/>
          </p:nvSpPr>
          <p:spPr bwMode="auto">
            <a:xfrm>
              <a:off x="3296035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6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6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8" name="íśliḍe">
              <a:extLst>
                <a:ext uri="{FF2B5EF4-FFF2-40B4-BE49-F238E27FC236}">
                  <a16:creationId xmlns:a16="http://schemas.microsoft.com/office/drawing/2014/main" id="{22410DB8-2439-4BC5-846F-3A5419FAA01E}"/>
                </a:ext>
              </a:extLst>
            </p:cNvPr>
            <p:cNvSpPr/>
            <p:nvPr/>
          </p:nvSpPr>
          <p:spPr bwMode="auto">
            <a:xfrm>
              <a:off x="3448788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3 w 39"/>
                <a:gd name="T3" fmla="*/ 0 h 25"/>
                <a:gd name="T4" fmla="*/ 3 w 39"/>
                <a:gd name="T5" fmla="*/ 12 h 25"/>
                <a:gd name="T6" fmla="*/ 16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3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6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9" name="î$ľíḋè">
              <a:extLst>
                <a:ext uri="{FF2B5EF4-FFF2-40B4-BE49-F238E27FC236}">
                  <a16:creationId xmlns:a16="http://schemas.microsoft.com/office/drawing/2014/main" id="{D95CD424-42ED-4CA1-BE7F-F6EF7D3B3721}"/>
                </a:ext>
              </a:extLst>
            </p:cNvPr>
            <p:cNvSpPr/>
            <p:nvPr/>
          </p:nvSpPr>
          <p:spPr bwMode="auto">
            <a:xfrm>
              <a:off x="2793035" y="3445885"/>
              <a:ext cx="145037" cy="94120"/>
            </a:xfrm>
            <a:custGeom>
              <a:avLst/>
              <a:gdLst>
                <a:gd name="T0" fmla="*/ 37 w 40"/>
                <a:gd name="T1" fmla="*/ 12 h 26"/>
                <a:gd name="T2" fmla="*/ 25 w 40"/>
                <a:gd name="T3" fmla="*/ 0 h 26"/>
                <a:gd name="T4" fmla="*/ 3 w 40"/>
                <a:gd name="T5" fmla="*/ 12 h 26"/>
                <a:gd name="T6" fmla="*/ 15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20"/>
                    <a:pt x="5" y="26"/>
                    <a:pt x="15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0" name="íŝľîḍé">
              <a:extLst>
                <a:ext uri="{FF2B5EF4-FFF2-40B4-BE49-F238E27FC236}">
                  <a16:creationId xmlns:a16="http://schemas.microsoft.com/office/drawing/2014/main" id="{551592E1-8016-40C3-A7B1-27A046369277}"/>
                </a:ext>
              </a:extLst>
            </p:cNvPr>
            <p:cNvSpPr/>
            <p:nvPr/>
          </p:nvSpPr>
          <p:spPr bwMode="auto">
            <a:xfrm>
              <a:off x="2948873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4 w 39"/>
                <a:gd name="T3" fmla="*/ 0 h 26"/>
                <a:gd name="T4" fmla="*/ 2 w 39"/>
                <a:gd name="T5" fmla="*/ 12 h 26"/>
                <a:gd name="T6" fmla="*/ 15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2" y="12"/>
                  </a:cubicBezTo>
                  <a:cubicBezTo>
                    <a:pt x="0" y="20"/>
                    <a:pt x="5" y="26"/>
                    <a:pt x="15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1" name="i$1ïḋè">
              <a:extLst>
                <a:ext uri="{FF2B5EF4-FFF2-40B4-BE49-F238E27FC236}">
                  <a16:creationId xmlns:a16="http://schemas.microsoft.com/office/drawing/2014/main" id="{8A47E3F9-C2E4-48E2-9A02-EFFCC6D764AD}"/>
                </a:ext>
              </a:extLst>
            </p:cNvPr>
            <p:cNvSpPr/>
            <p:nvPr/>
          </p:nvSpPr>
          <p:spPr bwMode="auto">
            <a:xfrm>
              <a:off x="3103168" y="3445885"/>
              <a:ext cx="145037" cy="94120"/>
            </a:xfrm>
            <a:custGeom>
              <a:avLst/>
              <a:gdLst>
                <a:gd name="T0" fmla="*/ 38 w 40"/>
                <a:gd name="T1" fmla="*/ 12 h 26"/>
                <a:gd name="T2" fmla="*/ 25 w 40"/>
                <a:gd name="T3" fmla="*/ 0 h 26"/>
                <a:gd name="T4" fmla="*/ 3 w 40"/>
                <a:gd name="T5" fmla="*/ 12 h 26"/>
                <a:gd name="T6" fmla="*/ 16 w 40"/>
                <a:gd name="T7" fmla="*/ 26 h 26"/>
                <a:gd name="T8" fmla="*/ 38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8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6" y="26"/>
                    <a:pt x="35" y="20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2" name="íŝḷíḓé">
              <a:extLst>
                <a:ext uri="{FF2B5EF4-FFF2-40B4-BE49-F238E27FC236}">
                  <a16:creationId xmlns:a16="http://schemas.microsoft.com/office/drawing/2014/main" id="{6F461FC2-5F14-4471-AD83-5958B83CCAC2}"/>
                </a:ext>
              </a:extLst>
            </p:cNvPr>
            <p:cNvSpPr/>
            <p:nvPr/>
          </p:nvSpPr>
          <p:spPr bwMode="auto">
            <a:xfrm>
              <a:off x="3259005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4 w 39"/>
                <a:gd name="T3" fmla="*/ 0 h 26"/>
                <a:gd name="T4" fmla="*/ 2 w 39"/>
                <a:gd name="T5" fmla="*/ 12 h 26"/>
                <a:gd name="T6" fmla="*/ 16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2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3" name="îSlidé">
              <a:extLst>
                <a:ext uri="{FF2B5EF4-FFF2-40B4-BE49-F238E27FC236}">
                  <a16:creationId xmlns:a16="http://schemas.microsoft.com/office/drawing/2014/main" id="{8FF808F9-98D1-4140-8929-C99AC41072BF}"/>
                </a:ext>
              </a:extLst>
            </p:cNvPr>
            <p:cNvSpPr/>
            <p:nvPr/>
          </p:nvSpPr>
          <p:spPr bwMode="auto">
            <a:xfrm>
              <a:off x="3416385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3 w 39"/>
                <a:gd name="T3" fmla="*/ 0 h 26"/>
                <a:gd name="T4" fmla="*/ 2 w 39"/>
                <a:gd name="T5" fmla="*/ 12 h 26"/>
                <a:gd name="T6" fmla="*/ 16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3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4" name="íş1îḋê">
              <a:extLst>
                <a:ext uri="{FF2B5EF4-FFF2-40B4-BE49-F238E27FC236}">
                  <a16:creationId xmlns:a16="http://schemas.microsoft.com/office/drawing/2014/main" id="{75153F54-89F1-4237-BB61-C7BC8AE9E2E2}"/>
                </a:ext>
              </a:extLst>
            </p:cNvPr>
            <p:cNvSpPr/>
            <p:nvPr/>
          </p:nvSpPr>
          <p:spPr bwMode="auto">
            <a:xfrm>
              <a:off x="3573766" y="3445885"/>
              <a:ext cx="137323" cy="94120"/>
            </a:xfrm>
            <a:custGeom>
              <a:avLst/>
              <a:gdLst>
                <a:gd name="T0" fmla="*/ 36 w 38"/>
                <a:gd name="T1" fmla="*/ 12 h 26"/>
                <a:gd name="T2" fmla="*/ 23 w 38"/>
                <a:gd name="T3" fmla="*/ 0 h 26"/>
                <a:gd name="T4" fmla="*/ 2 w 38"/>
                <a:gd name="T5" fmla="*/ 12 h 26"/>
                <a:gd name="T6" fmla="*/ 15 w 38"/>
                <a:gd name="T7" fmla="*/ 26 h 26"/>
                <a:gd name="T8" fmla="*/ 36 w 38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6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3" y="0"/>
                    <a:pt x="4" y="5"/>
                    <a:pt x="2" y="12"/>
                  </a:cubicBezTo>
                  <a:cubicBezTo>
                    <a:pt x="0" y="20"/>
                    <a:pt x="6" y="26"/>
                    <a:pt x="15" y="26"/>
                  </a:cubicBezTo>
                  <a:cubicBezTo>
                    <a:pt x="25" y="26"/>
                    <a:pt x="35" y="20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5" name="îṣ1iḑè">
              <a:extLst>
                <a:ext uri="{FF2B5EF4-FFF2-40B4-BE49-F238E27FC236}">
                  <a16:creationId xmlns:a16="http://schemas.microsoft.com/office/drawing/2014/main" id="{593EE691-8F70-4FDB-9ACE-4B576F8A2DE0}"/>
                </a:ext>
              </a:extLst>
            </p:cNvPr>
            <p:cNvSpPr/>
            <p:nvPr/>
          </p:nvSpPr>
          <p:spPr bwMode="auto">
            <a:xfrm>
              <a:off x="2587823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26 w 41"/>
                <a:gd name="T3" fmla="*/ 0 h 27"/>
                <a:gd name="T4" fmla="*/ 3 w 41"/>
                <a:gd name="T5" fmla="*/ 14 h 27"/>
                <a:gd name="T6" fmla="*/ 1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41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5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6" name="îṩḻídê">
              <a:extLst>
                <a:ext uri="{FF2B5EF4-FFF2-40B4-BE49-F238E27FC236}">
                  <a16:creationId xmlns:a16="http://schemas.microsoft.com/office/drawing/2014/main" id="{D7E1308F-C9E4-43D4-A133-9CD6C7C5C57F}"/>
                </a:ext>
              </a:extLst>
            </p:cNvPr>
            <p:cNvSpPr/>
            <p:nvPr/>
          </p:nvSpPr>
          <p:spPr bwMode="auto">
            <a:xfrm>
              <a:off x="2748290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5 w 40"/>
                <a:gd name="T3" fmla="*/ 0 h 27"/>
                <a:gd name="T4" fmla="*/ 2 w 40"/>
                <a:gd name="T5" fmla="*/ 14 h 27"/>
                <a:gd name="T6" fmla="*/ 15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1"/>
                    <a:pt x="5" y="27"/>
                    <a:pt x="15" y="27"/>
                  </a:cubicBezTo>
                  <a:cubicBezTo>
                    <a:pt x="25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7" name="ïṣḻiḓé">
              <a:extLst>
                <a:ext uri="{FF2B5EF4-FFF2-40B4-BE49-F238E27FC236}">
                  <a16:creationId xmlns:a16="http://schemas.microsoft.com/office/drawing/2014/main" id="{608C79D8-DA42-4F6B-8D9A-518EC2460A79}"/>
                </a:ext>
              </a:extLst>
            </p:cNvPr>
            <p:cNvSpPr/>
            <p:nvPr/>
          </p:nvSpPr>
          <p:spPr bwMode="auto">
            <a:xfrm>
              <a:off x="2905670" y="3558520"/>
              <a:ext cx="145037" cy="98749"/>
            </a:xfrm>
            <a:custGeom>
              <a:avLst/>
              <a:gdLst>
                <a:gd name="T0" fmla="*/ 38 w 40"/>
                <a:gd name="T1" fmla="*/ 14 h 27"/>
                <a:gd name="T2" fmla="*/ 25 w 40"/>
                <a:gd name="T3" fmla="*/ 0 h 27"/>
                <a:gd name="T4" fmla="*/ 3 w 40"/>
                <a:gd name="T5" fmla="*/ 14 h 27"/>
                <a:gd name="T6" fmla="*/ 16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5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8" name="iśļïďe">
              <a:extLst>
                <a:ext uri="{FF2B5EF4-FFF2-40B4-BE49-F238E27FC236}">
                  <a16:creationId xmlns:a16="http://schemas.microsoft.com/office/drawing/2014/main" id="{F9BF7DB8-D79B-49FE-B99F-7228663333EA}"/>
                </a:ext>
              </a:extLst>
            </p:cNvPr>
            <p:cNvSpPr/>
            <p:nvPr/>
          </p:nvSpPr>
          <p:spPr bwMode="auto">
            <a:xfrm>
              <a:off x="3063051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25 w 41"/>
                <a:gd name="T3" fmla="*/ 0 h 27"/>
                <a:gd name="T4" fmla="*/ 3 w 41"/>
                <a:gd name="T5" fmla="*/ 14 h 27"/>
                <a:gd name="T6" fmla="*/ 1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9" name="iśļïḋé">
              <a:extLst>
                <a:ext uri="{FF2B5EF4-FFF2-40B4-BE49-F238E27FC236}">
                  <a16:creationId xmlns:a16="http://schemas.microsoft.com/office/drawing/2014/main" id="{86619E40-5E16-4A5C-84AD-C755A8F64621}"/>
                </a:ext>
              </a:extLst>
            </p:cNvPr>
            <p:cNvSpPr/>
            <p:nvPr/>
          </p:nvSpPr>
          <p:spPr bwMode="auto">
            <a:xfrm>
              <a:off x="3223517" y="3558520"/>
              <a:ext cx="145037" cy="98749"/>
            </a:xfrm>
            <a:custGeom>
              <a:avLst/>
              <a:gdLst>
                <a:gd name="T0" fmla="*/ 37 w 40"/>
                <a:gd name="T1" fmla="*/ 14 h 27"/>
                <a:gd name="T2" fmla="*/ 24 w 40"/>
                <a:gd name="T3" fmla="*/ 0 h 27"/>
                <a:gd name="T4" fmla="*/ 2 w 40"/>
                <a:gd name="T5" fmla="*/ 14 h 27"/>
                <a:gd name="T6" fmla="*/ 15 w 40"/>
                <a:gd name="T7" fmla="*/ 27 h 27"/>
                <a:gd name="T8" fmla="*/ 37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7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1"/>
                    <a:pt x="6" y="27"/>
                    <a:pt x="15" y="27"/>
                  </a:cubicBezTo>
                  <a:cubicBezTo>
                    <a:pt x="25" y="27"/>
                    <a:pt x="35" y="21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0" name="îṩḻiḋé">
              <a:extLst>
                <a:ext uri="{FF2B5EF4-FFF2-40B4-BE49-F238E27FC236}">
                  <a16:creationId xmlns:a16="http://schemas.microsoft.com/office/drawing/2014/main" id="{9BED9E26-FC10-4BBC-8389-B2F7A081582C}"/>
                </a:ext>
              </a:extLst>
            </p:cNvPr>
            <p:cNvSpPr/>
            <p:nvPr/>
          </p:nvSpPr>
          <p:spPr bwMode="auto">
            <a:xfrm>
              <a:off x="3379355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4 w 40"/>
                <a:gd name="T3" fmla="*/ 0 h 27"/>
                <a:gd name="T4" fmla="*/ 2 w 40"/>
                <a:gd name="T5" fmla="*/ 14 h 27"/>
                <a:gd name="T6" fmla="*/ 16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2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1" name="i$líḑe">
              <a:extLst>
                <a:ext uri="{FF2B5EF4-FFF2-40B4-BE49-F238E27FC236}">
                  <a16:creationId xmlns:a16="http://schemas.microsoft.com/office/drawing/2014/main" id="{4F6880B5-F44B-465A-8023-92A92F6AE27F}"/>
                </a:ext>
              </a:extLst>
            </p:cNvPr>
            <p:cNvSpPr/>
            <p:nvPr/>
          </p:nvSpPr>
          <p:spPr bwMode="auto">
            <a:xfrm>
              <a:off x="3536735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4 w 40"/>
                <a:gd name="T3" fmla="*/ 0 h 27"/>
                <a:gd name="T4" fmla="*/ 3 w 40"/>
                <a:gd name="T5" fmla="*/ 14 h 27"/>
                <a:gd name="T6" fmla="*/ 17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3" y="14"/>
                  </a:cubicBezTo>
                  <a:cubicBezTo>
                    <a:pt x="0" y="21"/>
                    <a:pt x="7" y="27"/>
                    <a:pt x="17" y="27"/>
                  </a:cubicBezTo>
                  <a:cubicBezTo>
                    <a:pt x="26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2" name="îsḻíḋé">
              <a:extLst>
                <a:ext uri="{FF2B5EF4-FFF2-40B4-BE49-F238E27FC236}">
                  <a16:creationId xmlns:a16="http://schemas.microsoft.com/office/drawing/2014/main" id="{5828B064-F4B6-4E4F-96F1-7059078E2DC0}"/>
                </a:ext>
              </a:extLst>
            </p:cNvPr>
            <p:cNvSpPr/>
            <p:nvPr/>
          </p:nvSpPr>
          <p:spPr bwMode="auto">
            <a:xfrm>
              <a:off x="3697202" y="3558520"/>
              <a:ext cx="141951" cy="98749"/>
            </a:xfrm>
            <a:custGeom>
              <a:avLst/>
              <a:gdLst>
                <a:gd name="T0" fmla="*/ 37 w 39"/>
                <a:gd name="T1" fmla="*/ 14 h 27"/>
                <a:gd name="T2" fmla="*/ 23 w 39"/>
                <a:gd name="T3" fmla="*/ 0 h 27"/>
                <a:gd name="T4" fmla="*/ 2 w 39"/>
                <a:gd name="T5" fmla="*/ 14 h 27"/>
                <a:gd name="T6" fmla="*/ 16 w 39"/>
                <a:gd name="T7" fmla="*/ 27 h 27"/>
                <a:gd name="T8" fmla="*/ 37 w 39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7">
                  <a:moveTo>
                    <a:pt x="37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5" y="21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3" name="îṩlíḍê">
              <a:extLst>
                <a:ext uri="{FF2B5EF4-FFF2-40B4-BE49-F238E27FC236}">
                  <a16:creationId xmlns:a16="http://schemas.microsoft.com/office/drawing/2014/main" id="{05E92C02-CDCA-49E0-84BD-69164D90FDE1}"/>
                </a:ext>
              </a:extLst>
            </p:cNvPr>
            <p:cNvSpPr/>
            <p:nvPr/>
          </p:nvSpPr>
          <p:spPr bwMode="auto">
            <a:xfrm>
              <a:off x="2539992" y="3678869"/>
              <a:ext cx="154295" cy="103378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5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5" y="28"/>
                    <a:pt x="15" y="28"/>
                  </a:cubicBezTo>
                  <a:cubicBezTo>
                    <a:pt x="25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4" name="íṧḷïde">
              <a:extLst>
                <a:ext uri="{FF2B5EF4-FFF2-40B4-BE49-F238E27FC236}">
                  <a16:creationId xmlns:a16="http://schemas.microsoft.com/office/drawing/2014/main" id="{1357E35D-E93F-41D3-9DF4-BE1FAFDA20E8}"/>
                </a:ext>
              </a:extLst>
            </p:cNvPr>
            <p:cNvSpPr/>
            <p:nvPr/>
          </p:nvSpPr>
          <p:spPr bwMode="auto">
            <a:xfrm>
              <a:off x="2700458" y="3678869"/>
              <a:ext cx="149666" cy="103378"/>
            </a:xfrm>
            <a:custGeom>
              <a:avLst/>
              <a:gdLst>
                <a:gd name="T0" fmla="*/ 39 w 41"/>
                <a:gd name="T1" fmla="*/ 14 h 28"/>
                <a:gd name="T2" fmla="*/ 26 w 41"/>
                <a:gd name="T3" fmla="*/ 0 h 28"/>
                <a:gd name="T4" fmla="*/ 3 w 41"/>
                <a:gd name="T5" fmla="*/ 14 h 28"/>
                <a:gd name="T6" fmla="*/ 15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8"/>
                    <a:pt x="15" y="28"/>
                  </a:cubicBezTo>
                  <a:cubicBezTo>
                    <a:pt x="25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5" name="îşlíḓé">
              <a:extLst>
                <a:ext uri="{FF2B5EF4-FFF2-40B4-BE49-F238E27FC236}">
                  <a16:creationId xmlns:a16="http://schemas.microsoft.com/office/drawing/2014/main" id="{21CC6D74-4045-4583-9DCC-C1561C2B569D}"/>
                </a:ext>
              </a:extLst>
            </p:cNvPr>
            <p:cNvSpPr/>
            <p:nvPr/>
          </p:nvSpPr>
          <p:spPr bwMode="auto">
            <a:xfrm>
              <a:off x="2860925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6" y="0"/>
                    <a:pt x="5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6" name="ïṧľíďé">
              <a:extLst>
                <a:ext uri="{FF2B5EF4-FFF2-40B4-BE49-F238E27FC236}">
                  <a16:creationId xmlns:a16="http://schemas.microsoft.com/office/drawing/2014/main" id="{E4F001D8-6AA9-4B14-A276-8765F34CAFC5}"/>
                </a:ext>
              </a:extLst>
            </p:cNvPr>
            <p:cNvSpPr/>
            <p:nvPr/>
          </p:nvSpPr>
          <p:spPr bwMode="auto">
            <a:xfrm>
              <a:off x="3022934" y="3678869"/>
              <a:ext cx="148123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7" name="îṧḷíḋê">
              <a:extLst>
                <a:ext uri="{FF2B5EF4-FFF2-40B4-BE49-F238E27FC236}">
                  <a16:creationId xmlns:a16="http://schemas.microsoft.com/office/drawing/2014/main" id="{8A22E5A2-EE91-4E6E-AB97-7D7B421DC947}"/>
                </a:ext>
              </a:extLst>
            </p:cNvPr>
            <p:cNvSpPr/>
            <p:nvPr/>
          </p:nvSpPr>
          <p:spPr bwMode="auto">
            <a:xfrm>
              <a:off x="3183401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4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8" name="iṣ1iḋê">
              <a:extLst>
                <a:ext uri="{FF2B5EF4-FFF2-40B4-BE49-F238E27FC236}">
                  <a16:creationId xmlns:a16="http://schemas.microsoft.com/office/drawing/2014/main" id="{200D587F-8DCF-43B5-9684-EAB085AFD760}"/>
                </a:ext>
              </a:extLst>
            </p:cNvPr>
            <p:cNvSpPr/>
            <p:nvPr/>
          </p:nvSpPr>
          <p:spPr bwMode="auto">
            <a:xfrm>
              <a:off x="3343867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9" name="í$ḻïḓè">
              <a:extLst>
                <a:ext uri="{FF2B5EF4-FFF2-40B4-BE49-F238E27FC236}">
                  <a16:creationId xmlns:a16="http://schemas.microsoft.com/office/drawing/2014/main" id="{279316C0-1FEA-4C50-AF16-EA1A81598ABE}"/>
                </a:ext>
              </a:extLst>
            </p:cNvPr>
            <p:cNvSpPr/>
            <p:nvPr/>
          </p:nvSpPr>
          <p:spPr bwMode="auto">
            <a:xfrm>
              <a:off x="3504334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0" name="ïs1ïḓé">
              <a:extLst>
                <a:ext uri="{FF2B5EF4-FFF2-40B4-BE49-F238E27FC236}">
                  <a16:creationId xmlns:a16="http://schemas.microsoft.com/office/drawing/2014/main" id="{C744FA42-4B5C-49C2-8668-BBE481D52EA1}"/>
                </a:ext>
              </a:extLst>
            </p:cNvPr>
            <p:cNvSpPr/>
            <p:nvPr/>
          </p:nvSpPr>
          <p:spPr bwMode="auto">
            <a:xfrm>
              <a:off x="3664800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1" name="ïslíḍè">
              <a:extLst>
                <a:ext uri="{FF2B5EF4-FFF2-40B4-BE49-F238E27FC236}">
                  <a16:creationId xmlns:a16="http://schemas.microsoft.com/office/drawing/2014/main" id="{D2D008B5-BC55-4F67-8136-087DC63C0DE0}"/>
                </a:ext>
              </a:extLst>
            </p:cNvPr>
            <p:cNvSpPr/>
            <p:nvPr/>
          </p:nvSpPr>
          <p:spPr bwMode="auto">
            <a:xfrm>
              <a:off x="3825267" y="3678869"/>
              <a:ext cx="141951" cy="103378"/>
            </a:xfrm>
            <a:custGeom>
              <a:avLst/>
              <a:gdLst>
                <a:gd name="T0" fmla="*/ 38 w 39"/>
                <a:gd name="T1" fmla="*/ 14 h 28"/>
                <a:gd name="T2" fmla="*/ 23 w 39"/>
                <a:gd name="T3" fmla="*/ 0 h 28"/>
                <a:gd name="T4" fmla="*/ 2 w 39"/>
                <a:gd name="T5" fmla="*/ 14 h 28"/>
                <a:gd name="T6" fmla="*/ 17 w 39"/>
                <a:gd name="T7" fmla="*/ 28 h 28"/>
                <a:gd name="T8" fmla="*/ 38 w 3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8">
                  <a:moveTo>
                    <a:pt x="38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2" name="iṡļîďé">
              <a:extLst>
                <a:ext uri="{FF2B5EF4-FFF2-40B4-BE49-F238E27FC236}">
                  <a16:creationId xmlns:a16="http://schemas.microsoft.com/office/drawing/2014/main" id="{D30AAB8C-0C19-4368-9DCE-1A6D02F2EA70}"/>
                </a:ext>
              </a:extLst>
            </p:cNvPr>
            <p:cNvSpPr/>
            <p:nvPr/>
          </p:nvSpPr>
          <p:spPr bwMode="auto">
            <a:xfrm>
              <a:off x="3985733" y="3678869"/>
              <a:ext cx="141951" cy="103378"/>
            </a:xfrm>
            <a:custGeom>
              <a:avLst/>
              <a:gdLst>
                <a:gd name="T0" fmla="*/ 38 w 39"/>
                <a:gd name="T1" fmla="*/ 14 h 28"/>
                <a:gd name="T2" fmla="*/ 23 w 39"/>
                <a:gd name="T3" fmla="*/ 0 h 28"/>
                <a:gd name="T4" fmla="*/ 2 w 39"/>
                <a:gd name="T5" fmla="*/ 14 h 28"/>
                <a:gd name="T6" fmla="*/ 17 w 39"/>
                <a:gd name="T7" fmla="*/ 28 h 28"/>
                <a:gd name="T8" fmla="*/ 38 w 3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8">
                  <a:moveTo>
                    <a:pt x="38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3" name="ísļïḓè">
              <a:extLst>
                <a:ext uri="{FF2B5EF4-FFF2-40B4-BE49-F238E27FC236}">
                  <a16:creationId xmlns:a16="http://schemas.microsoft.com/office/drawing/2014/main" id="{EDAB61DB-5248-401C-9F50-0A5F6C86A99D}"/>
                </a:ext>
              </a:extLst>
            </p:cNvPr>
            <p:cNvSpPr/>
            <p:nvPr/>
          </p:nvSpPr>
          <p:spPr bwMode="auto">
            <a:xfrm>
              <a:off x="2654170" y="3803849"/>
              <a:ext cx="152752" cy="101834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5" y="28"/>
                    <a:pt x="16" y="28"/>
                  </a:cubicBezTo>
                  <a:cubicBezTo>
                    <a:pt x="26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4" name="iṣḷîḋé">
              <a:extLst>
                <a:ext uri="{FF2B5EF4-FFF2-40B4-BE49-F238E27FC236}">
                  <a16:creationId xmlns:a16="http://schemas.microsoft.com/office/drawing/2014/main" id="{1F9DD92A-0645-435D-BD79-DC9CB3DDB971}"/>
                </a:ext>
              </a:extLst>
            </p:cNvPr>
            <p:cNvSpPr/>
            <p:nvPr/>
          </p:nvSpPr>
          <p:spPr bwMode="auto">
            <a:xfrm>
              <a:off x="2814636" y="3803849"/>
              <a:ext cx="152752" cy="101834"/>
            </a:xfrm>
            <a:custGeom>
              <a:avLst/>
              <a:gdLst>
                <a:gd name="T0" fmla="*/ 40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40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7" y="0"/>
                    <a:pt x="6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7" y="28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5" name="îS1ïḋé">
              <a:extLst>
                <a:ext uri="{FF2B5EF4-FFF2-40B4-BE49-F238E27FC236}">
                  <a16:creationId xmlns:a16="http://schemas.microsoft.com/office/drawing/2014/main" id="{AB1E9BD3-2906-4213-B663-9FE8FC6CDD02}"/>
                </a:ext>
              </a:extLst>
            </p:cNvPr>
            <p:cNvSpPr/>
            <p:nvPr/>
          </p:nvSpPr>
          <p:spPr bwMode="auto">
            <a:xfrm>
              <a:off x="2978188" y="3803849"/>
              <a:ext cx="152752" cy="101834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6" name="íṥ1iḍe">
              <a:extLst>
                <a:ext uri="{FF2B5EF4-FFF2-40B4-BE49-F238E27FC236}">
                  <a16:creationId xmlns:a16="http://schemas.microsoft.com/office/drawing/2014/main" id="{C42573FB-75F5-4F89-9676-0689DDA66816}"/>
                </a:ext>
              </a:extLst>
            </p:cNvPr>
            <p:cNvSpPr/>
            <p:nvPr/>
          </p:nvSpPr>
          <p:spPr bwMode="auto">
            <a:xfrm>
              <a:off x="3143284" y="3803849"/>
              <a:ext cx="149666" cy="101834"/>
            </a:xfrm>
            <a:custGeom>
              <a:avLst/>
              <a:gdLst>
                <a:gd name="T0" fmla="*/ 39 w 41"/>
                <a:gd name="T1" fmla="*/ 14 h 28"/>
                <a:gd name="T2" fmla="*/ 25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7" name="íṧlîdê">
              <a:extLst>
                <a:ext uri="{FF2B5EF4-FFF2-40B4-BE49-F238E27FC236}">
                  <a16:creationId xmlns:a16="http://schemas.microsoft.com/office/drawing/2014/main" id="{3DD4E250-CABA-43CE-9363-9B9773A5A733}"/>
                </a:ext>
              </a:extLst>
            </p:cNvPr>
            <p:cNvSpPr/>
            <p:nvPr/>
          </p:nvSpPr>
          <p:spPr bwMode="auto">
            <a:xfrm>
              <a:off x="3306837" y="3803849"/>
              <a:ext cx="149666" cy="101834"/>
            </a:xfrm>
            <a:custGeom>
              <a:avLst/>
              <a:gdLst>
                <a:gd name="T0" fmla="*/ 38 w 41"/>
                <a:gd name="T1" fmla="*/ 14 h 28"/>
                <a:gd name="T2" fmla="*/ 24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8" name="iṣlíḑé">
              <a:extLst>
                <a:ext uri="{FF2B5EF4-FFF2-40B4-BE49-F238E27FC236}">
                  <a16:creationId xmlns:a16="http://schemas.microsoft.com/office/drawing/2014/main" id="{AC060DD4-16B6-48B6-9ACD-D02C4C729F32}"/>
                </a:ext>
              </a:extLst>
            </p:cNvPr>
            <p:cNvSpPr/>
            <p:nvPr/>
          </p:nvSpPr>
          <p:spPr bwMode="auto">
            <a:xfrm>
              <a:off x="3467303" y="3803849"/>
              <a:ext cx="149666" cy="101834"/>
            </a:xfrm>
            <a:custGeom>
              <a:avLst/>
              <a:gdLst>
                <a:gd name="T0" fmla="*/ 39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7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9" name="ïSľîḓe">
              <a:extLst>
                <a:ext uri="{FF2B5EF4-FFF2-40B4-BE49-F238E27FC236}">
                  <a16:creationId xmlns:a16="http://schemas.microsoft.com/office/drawing/2014/main" id="{D3F9FB2B-CAC6-45F9-9492-FE65095B9EA8}"/>
                </a:ext>
              </a:extLst>
            </p:cNvPr>
            <p:cNvSpPr/>
            <p:nvPr/>
          </p:nvSpPr>
          <p:spPr bwMode="auto">
            <a:xfrm>
              <a:off x="3630855" y="3803849"/>
              <a:ext cx="146580" cy="101834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0" name="ïṩḻîḓè">
              <a:extLst>
                <a:ext uri="{FF2B5EF4-FFF2-40B4-BE49-F238E27FC236}">
                  <a16:creationId xmlns:a16="http://schemas.microsoft.com/office/drawing/2014/main" id="{3B0E587E-0515-41EC-A7A1-9F3DE98E806E}"/>
                </a:ext>
              </a:extLst>
            </p:cNvPr>
            <p:cNvSpPr/>
            <p:nvPr/>
          </p:nvSpPr>
          <p:spPr bwMode="auto">
            <a:xfrm>
              <a:off x="3795950" y="3803849"/>
              <a:ext cx="145037" cy="101834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1" name="ís1ïḋè">
              <a:extLst>
                <a:ext uri="{FF2B5EF4-FFF2-40B4-BE49-F238E27FC236}">
                  <a16:creationId xmlns:a16="http://schemas.microsoft.com/office/drawing/2014/main" id="{90EAE4A7-3883-4927-BD7E-C264BB3CC4A0}"/>
                </a:ext>
              </a:extLst>
            </p:cNvPr>
            <p:cNvSpPr/>
            <p:nvPr/>
          </p:nvSpPr>
          <p:spPr bwMode="auto">
            <a:xfrm>
              <a:off x="3956417" y="3803849"/>
              <a:ext cx="146580" cy="101834"/>
            </a:xfrm>
            <a:custGeom>
              <a:avLst/>
              <a:gdLst>
                <a:gd name="T0" fmla="*/ 39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9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9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2" name="î$ḷíḍê">
              <a:extLst>
                <a:ext uri="{FF2B5EF4-FFF2-40B4-BE49-F238E27FC236}">
                  <a16:creationId xmlns:a16="http://schemas.microsoft.com/office/drawing/2014/main" id="{6633C74F-B6BE-499B-9B27-3D8234BB9CE7}"/>
                </a:ext>
              </a:extLst>
            </p:cNvPr>
            <p:cNvSpPr/>
            <p:nvPr/>
          </p:nvSpPr>
          <p:spPr bwMode="auto">
            <a:xfrm>
              <a:off x="4119969" y="3803849"/>
              <a:ext cx="146580" cy="101834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3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3" name="iṥļïḋé">
              <a:extLst>
                <a:ext uri="{FF2B5EF4-FFF2-40B4-BE49-F238E27FC236}">
                  <a16:creationId xmlns:a16="http://schemas.microsoft.com/office/drawing/2014/main" id="{55CA7B94-EF5C-47E6-ACE0-F39D0050FB89}"/>
                </a:ext>
              </a:extLst>
            </p:cNvPr>
            <p:cNvSpPr/>
            <p:nvPr/>
          </p:nvSpPr>
          <p:spPr bwMode="auto">
            <a:xfrm>
              <a:off x="2603253" y="3931913"/>
              <a:ext cx="155838" cy="104920"/>
            </a:xfrm>
            <a:custGeom>
              <a:avLst/>
              <a:gdLst>
                <a:gd name="T0" fmla="*/ 40 w 43"/>
                <a:gd name="T1" fmla="*/ 14 h 29"/>
                <a:gd name="T2" fmla="*/ 27 w 43"/>
                <a:gd name="T3" fmla="*/ 0 h 29"/>
                <a:gd name="T4" fmla="*/ 3 w 43"/>
                <a:gd name="T5" fmla="*/ 14 h 29"/>
                <a:gd name="T6" fmla="*/ 16 w 43"/>
                <a:gd name="T7" fmla="*/ 29 h 29"/>
                <a:gd name="T8" fmla="*/ 40 w 43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">
                  <a:moveTo>
                    <a:pt x="40" y="14"/>
                  </a:moveTo>
                  <a:cubicBezTo>
                    <a:pt x="43" y="6"/>
                    <a:pt x="37" y="0"/>
                    <a:pt x="27" y="0"/>
                  </a:cubicBezTo>
                  <a:cubicBezTo>
                    <a:pt x="17" y="0"/>
                    <a:pt x="6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4" name="íśľîde">
              <a:extLst>
                <a:ext uri="{FF2B5EF4-FFF2-40B4-BE49-F238E27FC236}">
                  <a16:creationId xmlns:a16="http://schemas.microsoft.com/office/drawing/2014/main" id="{B1A60099-F6CE-4EFB-AB16-1B82F26DADD0}"/>
                </a:ext>
              </a:extLst>
            </p:cNvPr>
            <p:cNvSpPr/>
            <p:nvPr/>
          </p:nvSpPr>
          <p:spPr bwMode="auto">
            <a:xfrm>
              <a:off x="2769891" y="3931913"/>
              <a:ext cx="154295" cy="104920"/>
            </a:xfrm>
            <a:custGeom>
              <a:avLst/>
              <a:gdLst>
                <a:gd name="T0" fmla="*/ 39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6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5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6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5" name="íŝḷidê">
              <a:extLst>
                <a:ext uri="{FF2B5EF4-FFF2-40B4-BE49-F238E27FC236}">
                  <a16:creationId xmlns:a16="http://schemas.microsoft.com/office/drawing/2014/main" id="{70ED3CA3-B3F3-4B71-BD81-84A84078964E}"/>
                </a:ext>
              </a:extLst>
            </p:cNvPr>
            <p:cNvSpPr/>
            <p:nvPr/>
          </p:nvSpPr>
          <p:spPr bwMode="auto">
            <a:xfrm>
              <a:off x="2934986" y="3931913"/>
              <a:ext cx="152752" cy="104920"/>
            </a:xfrm>
            <a:custGeom>
              <a:avLst/>
              <a:gdLst>
                <a:gd name="T0" fmla="*/ 40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6 w 42"/>
                <a:gd name="T7" fmla="*/ 29 h 29"/>
                <a:gd name="T8" fmla="*/ 40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6" name="iṧ1ïḋê">
              <a:extLst>
                <a:ext uri="{FF2B5EF4-FFF2-40B4-BE49-F238E27FC236}">
                  <a16:creationId xmlns:a16="http://schemas.microsoft.com/office/drawing/2014/main" id="{6E8A8287-3222-46E2-BC7C-8803E279A737}"/>
                </a:ext>
              </a:extLst>
            </p:cNvPr>
            <p:cNvSpPr/>
            <p:nvPr/>
          </p:nvSpPr>
          <p:spPr bwMode="auto">
            <a:xfrm>
              <a:off x="3098538" y="3931913"/>
              <a:ext cx="154295" cy="104920"/>
            </a:xfrm>
            <a:custGeom>
              <a:avLst/>
              <a:gdLst>
                <a:gd name="T0" fmla="*/ 40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7 w 42"/>
                <a:gd name="T7" fmla="*/ 29 h 29"/>
                <a:gd name="T8" fmla="*/ 40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7" name="ïṡlïḓè">
              <a:extLst>
                <a:ext uri="{FF2B5EF4-FFF2-40B4-BE49-F238E27FC236}">
                  <a16:creationId xmlns:a16="http://schemas.microsoft.com/office/drawing/2014/main" id="{9C98222F-A1DD-4B06-B961-5AD5BC6EEAAB}"/>
                </a:ext>
              </a:extLst>
            </p:cNvPr>
            <p:cNvSpPr/>
            <p:nvPr/>
          </p:nvSpPr>
          <p:spPr bwMode="auto">
            <a:xfrm>
              <a:off x="3266720" y="3931913"/>
              <a:ext cx="152752" cy="104920"/>
            </a:xfrm>
            <a:custGeom>
              <a:avLst/>
              <a:gdLst>
                <a:gd name="T0" fmla="*/ 39 w 42"/>
                <a:gd name="T1" fmla="*/ 14 h 29"/>
                <a:gd name="T2" fmla="*/ 25 w 42"/>
                <a:gd name="T3" fmla="*/ 0 h 29"/>
                <a:gd name="T4" fmla="*/ 2 w 42"/>
                <a:gd name="T5" fmla="*/ 14 h 29"/>
                <a:gd name="T6" fmla="*/ 16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8" name="ïṥļíḍè">
              <a:extLst>
                <a:ext uri="{FF2B5EF4-FFF2-40B4-BE49-F238E27FC236}">
                  <a16:creationId xmlns:a16="http://schemas.microsoft.com/office/drawing/2014/main" id="{090A146A-A6FA-459A-9B6C-5F88C7D84DD6}"/>
                </a:ext>
              </a:extLst>
            </p:cNvPr>
            <p:cNvSpPr/>
            <p:nvPr/>
          </p:nvSpPr>
          <p:spPr bwMode="auto">
            <a:xfrm>
              <a:off x="3430272" y="3931913"/>
              <a:ext cx="154295" cy="104920"/>
            </a:xfrm>
            <a:custGeom>
              <a:avLst/>
              <a:gdLst>
                <a:gd name="T0" fmla="*/ 39 w 42"/>
                <a:gd name="T1" fmla="*/ 14 h 29"/>
                <a:gd name="T2" fmla="*/ 25 w 42"/>
                <a:gd name="T3" fmla="*/ 0 h 29"/>
                <a:gd name="T4" fmla="*/ 3 w 42"/>
                <a:gd name="T5" fmla="*/ 14 h 29"/>
                <a:gd name="T6" fmla="*/ 17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9" name="íS1íḋè">
              <a:extLst>
                <a:ext uri="{FF2B5EF4-FFF2-40B4-BE49-F238E27FC236}">
                  <a16:creationId xmlns:a16="http://schemas.microsoft.com/office/drawing/2014/main" id="{89160335-CCCA-41D0-BF08-B15C00755649}"/>
                </a:ext>
              </a:extLst>
            </p:cNvPr>
            <p:cNvSpPr/>
            <p:nvPr/>
          </p:nvSpPr>
          <p:spPr bwMode="auto">
            <a:xfrm>
              <a:off x="3598453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6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0" name="ïṧ1ïḍé">
              <a:extLst>
                <a:ext uri="{FF2B5EF4-FFF2-40B4-BE49-F238E27FC236}">
                  <a16:creationId xmlns:a16="http://schemas.microsoft.com/office/drawing/2014/main" id="{68FED9C2-4A31-44AD-BA45-056FDC2A5F1C}"/>
                </a:ext>
              </a:extLst>
            </p:cNvPr>
            <p:cNvSpPr/>
            <p:nvPr/>
          </p:nvSpPr>
          <p:spPr bwMode="auto">
            <a:xfrm>
              <a:off x="3763549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7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1" name="îṩlïdé">
              <a:extLst>
                <a:ext uri="{FF2B5EF4-FFF2-40B4-BE49-F238E27FC236}">
                  <a16:creationId xmlns:a16="http://schemas.microsoft.com/office/drawing/2014/main" id="{E5E53858-8B2E-44AC-AEA1-1DAD6C890014}"/>
                </a:ext>
              </a:extLst>
            </p:cNvPr>
            <p:cNvSpPr/>
            <p:nvPr/>
          </p:nvSpPr>
          <p:spPr bwMode="auto">
            <a:xfrm>
              <a:off x="3927101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8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7" y="29"/>
                    <a:pt x="18" y="29"/>
                  </a:cubicBezTo>
                  <a:cubicBezTo>
                    <a:pt x="28" y="29"/>
                    <a:pt x="38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2" name="ïṡlîdê">
              <a:extLst>
                <a:ext uri="{FF2B5EF4-FFF2-40B4-BE49-F238E27FC236}">
                  <a16:creationId xmlns:a16="http://schemas.microsoft.com/office/drawing/2014/main" id="{60235959-4822-4E4C-87F5-6F64616E9B01}"/>
                </a:ext>
              </a:extLst>
            </p:cNvPr>
            <p:cNvSpPr/>
            <p:nvPr/>
          </p:nvSpPr>
          <p:spPr bwMode="auto">
            <a:xfrm>
              <a:off x="2718973" y="4063064"/>
              <a:ext cx="160466" cy="109550"/>
            </a:xfrm>
            <a:custGeom>
              <a:avLst/>
              <a:gdLst>
                <a:gd name="T0" fmla="*/ 41 w 44"/>
                <a:gd name="T1" fmla="*/ 15 h 30"/>
                <a:gd name="T2" fmla="*/ 28 w 44"/>
                <a:gd name="T3" fmla="*/ 0 h 30"/>
                <a:gd name="T4" fmla="*/ 3 w 44"/>
                <a:gd name="T5" fmla="*/ 15 h 30"/>
                <a:gd name="T6" fmla="*/ 17 w 44"/>
                <a:gd name="T7" fmla="*/ 30 h 30"/>
                <a:gd name="T8" fmla="*/ 41 w 44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0">
                  <a:moveTo>
                    <a:pt x="41" y="15"/>
                  </a:moveTo>
                  <a:cubicBezTo>
                    <a:pt x="44" y="6"/>
                    <a:pt x="38" y="0"/>
                    <a:pt x="28" y="0"/>
                  </a:cubicBezTo>
                  <a:cubicBezTo>
                    <a:pt x="17" y="0"/>
                    <a:pt x="6" y="6"/>
                    <a:pt x="3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8" y="23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3" name="íṡļïḓè">
              <a:extLst>
                <a:ext uri="{FF2B5EF4-FFF2-40B4-BE49-F238E27FC236}">
                  <a16:creationId xmlns:a16="http://schemas.microsoft.com/office/drawing/2014/main" id="{79B7810E-8B9A-406B-A56E-ADC33C4E80D8}"/>
                </a:ext>
              </a:extLst>
            </p:cNvPr>
            <p:cNvSpPr/>
            <p:nvPr/>
          </p:nvSpPr>
          <p:spPr bwMode="auto">
            <a:xfrm>
              <a:off x="2890241" y="4063064"/>
              <a:ext cx="157381" cy="109550"/>
            </a:xfrm>
            <a:custGeom>
              <a:avLst/>
              <a:gdLst>
                <a:gd name="T0" fmla="*/ 40 w 43"/>
                <a:gd name="T1" fmla="*/ 15 h 30"/>
                <a:gd name="T2" fmla="*/ 26 w 43"/>
                <a:gd name="T3" fmla="*/ 0 h 30"/>
                <a:gd name="T4" fmla="*/ 2 w 43"/>
                <a:gd name="T5" fmla="*/ 15 h 30"/>
                <a:gd name="T6" fmla="*/ 16 w 43"/>
                <a:gd name="T7" fmla="*/ 30 h 30"/>
                <a:gd name="T8" fmla="*/ 40 w 43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0">
                  <a:moveTo>
                    <a:pt x="40" y="15"/>
                  </a:moveTo>
                  <a:cubicBezTo>
                    <a:pt x="43" y="6"/>
                    <a:pt x="36" y="0"/>
                    <a:pt x="26" y="0"/>
                  </a:cubicBezTo>
                  <a:cubicBezTo>
                    <a:pt x="16" y="0"/>
                    <a:pt x="5" y="6"/>
                    <a:pt x="2" y="15"/>
                  </a:cubicBezTo>
                  <a:cubicBezTo>
                    <a:pt x="0" y="23"/>
                    <a:pt x="6" y="30"/>
                    <a:pt x="16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4" name="îšlíḑê">
              <a:extLst>
                <a:ext uri="{FF2B5EF4-FFF2-40B4-BE49-F238E27FC236}">
                  <a16:creationId xmlns:a16="http://schemas.microsoft.com/office/drawing/2014/main" id="{D98D8A8F-9676-4CB6-B260-CE01A889F3E2}"/>
                </a:ext>
              </a:extLst>
            </p:cNvPr>
            <p:cNvSpPr/>
            <p:nvPr/>
          </p:nvSpPr>
          <p:spPr bwMode="auto">
            <a:xfrm>
              <a:off x="3058422" y="4063064"/>
              <a:ext cx="154295" cy="109550"/>
            </a:xfrm>
            <a:custGeom>
              <a:avLst/>
              <a:gdLst>
                <a:gd name="T0" fmla="*/ 40 w 42"/>
                <a:gd name="T1" fmla="*/ 15 h 30"/>
                <a:gd name="T2" fmla="*/ 26 w 42"/>
                <a:gd name="T3" fmla="*/ 0 h 30"/>
                <a:gd name="T4" fmla="*/ 2 w 42"/>
                <a:gd name="T5" fmla="*/ 15 h 30"/>
                <a:gd name="T6" fmla="*/ 16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5" y="6"/>
                    <a:pt x="2" y="15"/>
                  </a:cubicBezTo>
                  <a:cubicBezTo>
                    <a:pt x="0" y="23"/>
                    <a:pt x="6" y="30"/>
                    <a:pt x="16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5" name="ïšľîďè">
              <a:extLst>
                <a:ext uri="{FF2B5EF4-FFF2-40B4-BE49-F238E27FC236}">
                  <a16:creationId xmlns:a16="http://schemas.microsoft.com/office/drawing/2014/main" id="{D1C722FD-4A3D-4A56-8D1F-DF61BEB0EB49}"/>
                </a:ext>
              </a:extLst>
            </p:cNvPr>
            <p:cNvSpPr/>
            <p:nvPr/>
          </p:nvSpPr>
          <p:spPr bwMode="auto">
            <a:xfrm>
              <a:off x="3226603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6" y="0"/>
                    <a:pt x="25" y="0"/>
                  </a:cubicBezTo>
                  <a:cubicBezTo>
                    <a:pt x="15" y="0"/>
                    <a:pt x="5" y="6"/>
                    <a:pt x="2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6" name="ïSḻîḍè">
              <a:extLst>
                <a:ext uri="{FF2B5EF4-FFF2-40B4-BE49-F238E27FC236}">
                  <a16:creationId xmlns:a16="http://schemas.microsoft.com/office/drawing/2014/main" id="{D7BEC143-C658-4A14-9A5C-BC2F07CE09A8}"/>
                </a:ext>
              </a:extLst>
            </p:cNvPr>
            <p:cNvSpPr/>
            <p:nvPr/>
          </p:nvSpPr>
          <p:spPr bwMode="auto">
            <a:xfrm>
              <a:off x="3394784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2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7" name="işľïḑe">
              <a:extLst>
                <a:ext uri="{FF2B5EF4-FFF2-40B4-BE49-F238E27FC236}">
                  <a16:creationId xmlns:a16="http://schemas.microsoft.com/office/drawing/2014/main" id="{04B26B4C-AE90-458E-A962-6EA4E625759F}"/>
                </a:ext>
              </a:extLst>
            </p:cNvPr>
            <p:cNvSpPr/>
            <p:nvPr/>
          </p:nvSpPr>
          <p:spPr bwMode="auto">
            <a:xfrm>
              <a:off x="3562966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4" y="6"/>
                    <a:pt x="2" y="15"/>
                  </a:cubicBezTo>
                  <a:cubicBezTo>
                    <a:pt x="0" y="23"/>
                    <a:pt x="7" y="30"/>
                    <a:pt x="17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8" name="iŝḻidê">
              <a:extLst>
                <a:ext uri="{FF2B5EF4-FFF2-40B4-BE49-F238E27FC236}">
                  <a16:creationId xmlns:a16="http://schemas.microsoft.com/office/drawing/2014/main" id="{264493FE-CF0C-477D-A96D-4C8177F4F0D3}"/>
                </a:ext>
              </a:extLst>
            </p:cNvPr>
            <p:cNvSpPr/>
            <p:nvPr/>
          </p:nvSpPr>
          <p:spPr bwMode="auto">
            <a:xfrm>
              <a:off x="3729604" y="4063064"/>
              <a:ext cx="154295" cy="109550"/>
            </a:xfrm>
            <a:custGeom>
              <a:avLst/>
              <a:gdLst>
                <a:gd name="T0" fmla="*/ 40 w 42"/>
                <a:gd name="T1" fmla="*/ 15 h 30"/>
                <a:gd name="T2" fmla="*/ 24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4" y="0"/>
                  </a:cubicBezTo>
                  <a:cubicBezTo>
                    <a:pt x="14" y="0"/>
                    <a:pt x="4" y="6"/>
                    <a:pt x="2" y="15"/>
                  </a:cubicBezTo>
                  <a:cubicBezTo>
                    <a:pt x="0" y="23"/>
                    <a:pt x="7" y="30"/>
                    <a:pt x="17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9" name="ïS1îdé">
              <a:extLst>
                <a:ext uri="{FF2B5EF4-FFF2-40B4-BE49-F238E27FC236}">
                  <a16:creationId xmlns:a16="http://schemas.microsoft.com/office/drawing/2014/main" id="{0EDFDA9E-C410-42FD-848D-2A81E7C3D8A8}"/>
                </a:ext>
              </a:extLst>
            </p:cNvPr>
            <p:cNvSpPr/>
            <p:nvPr/>
          </p:nvSpPr>
          <p:spPr bwMode="auto">
            <a:xfrm>
              <a:off x="3897785" y="4063064"/>
              <a:ext cx="149666" cy="109550"/>
            </a:xfrm>
            <a:custGeom>
              <a:avLst/>
              <a:gdLst>
                <a:gd name="T0" fmla="*/ 40 w 41"/>
                <a:gd name="T1" fmla="*/ 15 h 30"/>
                <a:gd name="T2" fmla="*/ 24 w 41"/>
                <a:gd name="T3" fmla="*/ 0 h 30"/>
                <a:gd name="T4" fmla="*/ 2 w 41"/>
                <a:gd name="T5" fmla="*/ 15 h 30"/>
                <a:gd name="T6" fmla="*/ 18 w 41"/>
                <a:gd name="T7" fmla="*/ 30 h 30"/>
                <a:gd name="T8" fmla="*/ 40 w 41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0">
                  <a:moveTo>
                    <a:pt x="40" y="15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5"/>
                  </a:cubicBezTo>
                  <a:cubicBezTo>
                    <a:pt x="0" y="23"/>
                    <a:pt x="7" y="30"/>
                    <a:pt x="18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0" name="íSḻide">
              <a:extLst>
                <a:ext uri="{FF2B5EF4-FFF2-40B4-BE49-F238E27FC236}">
                  <a16:creationId xmlns:a16="http://schemas.microsoft.com/office/drawing/2014/main" id="{F41F09CF-EBD9-45CB-BBE6-3D221BEF93BB}"/>
                </a:ext>
              </a:extLst>
            </p:cNvPr>
            <p:cNvSpPr/>
            <p:nvPr/>
          </p:nvSpPr>
          <p:spPr bwMode="auto">
            <a:xfrm>
              <a:off x="2843953" y="4198843"/>
              <a:ext cx="160466" cy="112636"/>
            </a:xfrm>
            <a:custGeom>
              <a:avLst/>
              <a:gdLst>
                <a:gd name="T0" fmla="*/ 41 w 44"/>
                <a:gd name="T1" fmla="*/ 15 h 31"/>
                <a:gd name="T2" fmla="*/ 27 w 44"/>
                <a:gd name="T3" fmla="*/ 0 h 31"/>
                <a:gd name="T4" fmla="*/ 3 w 44"/>
                <a:gd name="T5" fmla="*/ 15 h 31"/>
                <a:gd name="T6" fmla="*/ 16 w 44"/>
                <a:gd name="T7" fmla="*/ 31 h 31"/>
                <a:gd name="T8" fmla="*/ 41 w 44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1">
                  <a:moveTo>
                    <a:pt x="41" y="15"/>
                  </a:moveTo>
                  <a:cubicBezTo>
                    <a:pt x="44" y="7"/>
                    <a:pt x="37" y="0"/>
                    <a:pt x="27" y="0"/>
                  </a:cubicBezTo>
                  <a:cubicBezTo>
                    <a:pt x="16" y="0"/>
                    <a:pt x="6" y="7"/>
                    <a:pt x="3" y="15"/>
                  </a:cubicBezTo>
                  <a:cubicBezTo>
                    <a:pt x="0" y="24"/>
                    <a:pt x="6" y="31"/>
                    <a:pt x="16" y="31"/>
                  </a:cubicBezTo>
                  <a:cubicBezTo>
                    <a:pt x="27" y="31"/>
                    <a:pt x="38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1" name="iśľïďe">
              <a:extLst>
                <a:ext uri="{FF2B5EF4-FFF2-40B4-BE49-F238E27FC236}">
                  <a16:creationId xmlns:a16="http://schemas.microsoft.com/office/drawing/2014/main" id="{7EB7A34F-1824-49EB-B81D-969A4C933A6A}"/>
                </a:ext>
              </a:extLst>
            </p:cNvPr>
            <p:cNvSpPr/>
            <p:nvPr/>
          </p:nvSpPr>
          <p:spPr bwMode="auto">
            <a:xfrm>
              <a:off x="3015219" y="4198843"/>
              <a:ext cx="155838" cy="112636"/>
            </a:xfrm>
            <a:custGeom>
              <a:avLst/>
              <a:gdLst>
                <a:gd name="T0" fmla="*/ 40 w 43"/>
                <a:gd name="T1" fmla="*/ 15 h 31"/>
                <a:gd name="T2" fmla="*/ 26 w 43"/>
                <a:gd name="T3" fmla="*/ 0 h 31"/>
                <a:gd name="T4" fmla="*/ 2 w 43"/>
                <a:gd name="T5" fmla="*/ 15 h 31"/>
                <a:gd name="T6" fmla="*/ 16 w 43"/>
                <a:gd name="T7" fmla="*/ 31 h 31"/>
                <a:gd name="T8" fmla="*/ 40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0" y="15"/>
                  </a:moveTo>
                  <a:cubicBezTo>
                    <a:pt x="43" y="7"/>
                    <a:pt x="37" y="0"/>
                    <a:pt x="26" y="0"/>
                  </a:cubicBezTo>
                  <a:cubicBezTo>
                    <a:pt x="16" y="0"/>
                    <a:pt x="5" y="7"/>
                    <a:pt x="2" y="15"/>
                  </a:cubicBezTo>
                  <a:cubicBezTo>
                    <a:pt x="0" y="24"/>
                    <a:pt x="6" y="31"/>
                    <a:pt x="16" y="31"/>
                  </a:cubicBezTo>
                  <a:cubicBezTo>
                    <a:pt x="27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2" name="iŝḻiḓê">
              <a:extLst>
                <a:ext uri="{FF2B5EF4-FFF2-40B4-BE49-F238E27FC236}">
                  <a16:creationId xmlns:a16="http://schemas.microsoft.com/office/drawing/2014/main" id="{4184751F-3CD0-444D-A366-B9641977B245}"/>
                </a:ext>
              </a:extLst>
            </p:cNvPr>
            <p:cNvSpPr/>
            <p:nvPr/>
          </p:nvSpPr>
          <p:spPr bwMode="auto">
            <a:xfrm>
              <a:off x="3183401" y="4198843"/>
              <a:ext cx="160466" cy="112636"/>
            </a:xfrm>
            <a:custGeom>
              <a:avLst/>
              <a:gdLst>
                <a:gd name="T0" fmla="*/ 41 w 44"/>
                <a:gd name="T1" fmla="*/ 15 h 31"/>
                <a:gd name="T2" fmla="*/ 27 w 44"/>
                <a:gd name="T3" fmla="*/ 0 h 31"/>
                <a:gd name="T4" fmla="*/ 3 w 44"/>
                <a:gd name="T5" fmla="*/ 15 h 31"/>
                <a:gd name="T6" fmla="*/ 17 w 44"/>
                <a:gd name="T7" fmla="*/ 31 h 31"/>
                <a:gd name="T8" fmla="*/ 41 w 44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1">
                  <a:moveTo>
                    <a:pt x="41" y="15"/>
                  </a:moveTo>
                  <a:cubicBezTo>
                    <a:pt x="44" y="7"/>
                    <a:pt x="37" y="0"/>
                    <a:pt x="27" y="0"/>
                  </a:cubicBezTo>
                  <a:cubicBezTo>
                    <a:pt x="16" y="0"/>
                    <a:pt x="6" y="7"/>
                    <a:pt x="3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9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3" name="iṧliḍê">
              <a:extLst>
                <a:ext uri="{FF2B5EF4-FFF2-40B4-BE49-F238E27FC236}">
                  <a16:creationId xmlns:a16="http://schemas.microsoft.com/office/drawing/2014/main" id="{C3899810-CCC8-4BFF-9358-9399A95CF929}"/>
                </a:ext>
              </a:extLst>
            </p:cNvPr>
            <p:cNvSpPr/>
            <p:nvPr/>
          </p:nvSpPr>
          <p:spPr bwMode="auto">
            <a:xfrm>
              <a:off x="3354667" y="4198843"/>
              <a:ext cx="155838" cy="112636"/>
            </a:xfrm>
            <a:custGeom>
              <a:avLst/>
              <a:gdLst>
                <a:gd name="T0" fmla="*/ 41 w 43"/>
                <a:gd name="T1" fmla="*/ 15 h 31"/>
                <a:gd name="T2" fmla="*/ 26 w 43"/>
                <a:gd name="T3" fmla="*/ 0 h 31"/>
                <a:gd name="T4" fmla="*/ 3 w 43"/>
                <a:gd name="T5" fmla="*/ 15 h 31"/>
                <a:gd name="T6" fmla="*/ 17 w 43"/>
                <a:gd name="T7" fmla="*/ 31 h 31"/>
                <a:gd name="T8" fmla="*/ 41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1" y="15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6" y="0"/>
                    <a:pt x="5" y="7"/>
                    <a:pt x="3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4" name="ïṥḷîḓê">
              <a:extLst>
                <a:ext uri="{FF2B5EF4-FFF2-40B4-BE49-F238E27FC236}">
                  <a16:creationId xmlns:a16="http://schemas.microsoft.com/office/drawing/2014/main" id="{B8805D62-7588-4004-9696-830D5F18E49F}"/>
                </a:ext>
              </a:extLst>
            </p:cNvPr>
            <p:cNvSpPr/>
            <p:nvPr/>
          </p:nvSpPr>
          <p:spPr bwMode="auto">
            <a:xfrm>
              <a:off x="3525935" y="4198843"/>
              <a:ext cx="157381" cy="112636"/>
            </a:xfrm>
            <a:custGeom>
              <a:avLst/>
              <a:gdLst>
                <a:gd name="T0" fmla="*/ 40 w 43"/>
                <a:gd name="T1" fmla="*/ 15 h 31"/>
                <a:gd name="T2" fmla="*/ 25 w 43"/>
                <a:gd name="T3" fmla="*/ 0 h 31"/>
                <a:gd name="T4" fmla="*/ 2 w 43"/>
                <a:gd name="T5" fmla="*/ 15 h 31"/>
                <a:gd name="T6" fmla="*/ 17 w 43"/>
                <a:gd name="T7" fmla="*/ 31 h 31"/>
                <a:gd name="T8" fmla="*/ 40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0" y="15"/>
                  </a:moveTo>
                  <a:cubicBezTo>
                    <a:pt x="43" y="7"/>
                    <a:pt x="36" y="0"/>
                    <a:pt x="25" y="0"/>
                  </a:cubicBezTo>
                  <a:cubicBezTo>
                    <a:pt x="15" y="0"/>
                    <a:pt x="5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5" name="í$ḻidè">
              <a:extLst>
                <a:ext uri="{FF2B5EF4-FFF2-40B4-BE49-F238E27FC236}">
                  <a16:creationId xmlns:a16="http://schemas.microsoft.com/office/drawing/2014/main" id="{0897AAF6-8C0D-4126-8DD4-F9C7B65B1ACF}"/>
                </a:ext>
              </a:extLst>
            </p:cNvPr>
            <p:cNvSpPr/>
            <p:nvPr/>
          </p:nvSpPr>
          <p:spPr bwMode="auto">
            <a:xfrm>
              <a:off x="3697202" y="4198843"/>
              <a:ext cx="152752" cy="112636"/>
            </a:xfrm>
            <a:custGeom>
              <a:avLst/>
              <a:gdLst>
                <a:gd name="T0" fmla="*/ 40 w 42"/>
                <a:gd name="T1" fmla="*/ 15 h 31"/>
                <a:gd name="T2" fmla="*/ 25 w 42"/>
                <a:gd name="T3" fmla="*/ 0 h 31"/>
                <a:gd name="T4" fmla="*/ 2 w 42"/>
                <a:gd name="T5" fmla="*/ 15 h 31"/>
                <a:gd name="T6" fmla="*/ 17 w 42"/>
                <a:gd name="T7" fmla="*/ 31 h 31"/>
                <a:gd name="T8" fmla="*/ 40 w 42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1">
                  <a:moveTo>
                    <a:pt x="40" y="15"/>
                  </a:moveTo>
                  <a:cubicBezTo>
                    <a:pt x="42" y="7"/>
                    <a:pt x="35" y="0"/>
                    <a:pt x="25" y="0"/>
                  </a:cubicBezTo>
                  <a:cubicBezTo>
                    <a:pt x="14" y="0"/>
                    <a:pt x="4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6" name="íSḻiḓè">
              <a:extLst>
                <a:ext uri="{FF2B5EF4-FFF2-40B4-BE49-F238E27FC236}">
                  <a16:creationId xmlns:a16="http://schemas.microsoft.com/office/drawing/2014/main" id="{09FA1F1C-0141-4735-87A7-2FF7F8EC8EEF}"/>
                </a:ext>
              </a:extLst>
            </p:cNvPr>
            <p:cNvSpPr/>
            <p:nvPr/>
          </p:nvSpPr>
          <p:spPr bwMode="auto">
            <a:xfrm>
              <a:off x="3868469" y="4198843"/>
              <a:ext cx="154295" cy="112636"/>
            </a:xfrm>
            <a:custGeom>
              <a:avLst/>
              <a:gdLst>
                <a:gd name="T0" fmla="*/ 40 w 42"/>
                <a:gd name="T1" fmla="*/ 15 h 31"/>
                <a:gd name="T2" fmla="*/ 24 w 42"/>
                <a:gd name="T3" fmla="*/ 0 h 31"/>
                <a:gd name="T4" fmla="*/ 2 w 42"/>
                <a:gd name="T5" fmla="*/ 15 h 31"/>
                <a:gd name="T6" fmla="*/ 17 w 42"/>
                <a:gd name="T7" fmla="*/ 31 h 31"/>
                <a:gd name="T8" fmla="*/ 40 w 42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1">
                  <a:moveTo>
                    <a:pt x="40" y="15"/>
                  </a:moveTo>
                  <a:cubicBezTo>
                    <a:pt x="42" y="7"/>
                    <a:pt x="35" y="0"/>
                    <a:pt x="24" y="0"/>
                  </a:cubicBezTo>
                  <a:cubicBezTo>
                    <a:pt x="14" y="0"/>
                    <a:pt x="4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7" name="î$ḷïdè">
              <a:extLst>
                <a:ext uri="{FF2B5EF4-FFF2-40B4-BE49-F238E27FC236}">
                  <a16:creationId xmlns:a16="http://schemas.microsoft.com/office/drawing/2014/main" id="{3BD16CDD-2F68-494C-B3D2-1F970B12EA3C}"/>
                </a:ext>
              </a:extLst>
            </p:cNvPr>
            <p:cNvSpPr/>
            <p:nvPr/>
          </p:nvSpPr>
          <p:spPr bwMode="auto">
            <a:xfrm>
              <a:off x="2793035" y="4337708"/>
              <a:ext cx="163552" cy="115721"/>
            </a:xfrm>
            <a:custGeom>
              <a:avLst/>
              <a:gdLst>
                <a:gd name="T0" fmla="*/ 42 w 45"/>
                <a:gd name="T1" fmla="*/ 16 h 32"/>
                <a:gd name="T2" fmla="*/ 28 w 45"/>
                <a:gd name="T3" fmla="*/ 0 h 32"/>
                <a:gd name="T4" fmla="*/ 3 w 45"/>
                <a:gd name="T5" fmla="*/ 16 h 32"/>
                <a:gd name="T6" fmla="*/ 17 w 45"/>
                <a:gd name="T7" fmla="*/ 32 h 32"/>
                <a:gd name="T8" fmla="*/ 42 w 45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2">
                  <a:moveTo>
                    <a:pt x="42" y="16"/>
                  </a:moveTo>
                  <a:cubicBezTo>
                    <a:pt x="45" y="7"/>
                    <a:pt x="39" y="0"/>
                    <a:pt x="28" y="0"/>
                  </a:cubicBezTo>
                  <a:cubicBezTo>
                    <a:pt x="17" y="0"/>
                    <a:pt x="6" y="7"/>
                    <a:pt x="3" y="16"/>
                  </a:cubicBezTo>
                  <a:cubicBezTo>
                    <a:pt x="0" y="25"/>
                    <a:pt x="7" y="32"/>
                    <a:pt x="17" y="32"/>
                  </a:cubicBezTo>
                  <a:cubicBezTo>
                    <a:pt x="28" y="32"/>
                    <a:pt x="39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8" name="iŝliḑè">
              <a:extLst>
                <a:ext uri="{FF2B5EF4-FFF2-40B4-BE49-F238E27FC236}">
                  <a16:creationId xmlns:a16="http://schemas.microsoft.com/office/drawing/2014/main" id="{73E1F252-05C7-44EC-98D6-3559DE5C7401}"/>
                </a:ext>
              </a:extLst>
            </p:cNvPr>
            <p:cNvSpPr/>
            <p:nvPr/>
          </p:nvSpPr>
          <p:spPr bwMode="auto">
            <a:xfrm>
              <a:off x="2967388" y="4337708"/>
              <a:ext cx="160466" cy="115721"/>
            </a:xfrm>
            <a:custGeom>
              <a:avLst/>
              <a:gdLst>
                <a:gd name="T0" fmla="*/ 42 w 44"/>
                <a:gd name="T1" fmla="*/ 16 h 32"/>
                <a:gd name="T2" fmla="*/ 27 w 44"/>
                <a:gd name="T3" fmla="*/ 0 h 32"/>
                <a:gd name="T4" fmla="*/ 3 w 44"/>
                <a:gd name="T5" fmla="*/ 16 h 32"/>
                <a:gd name="T6" fmla="*/ 17 w 44"/>
                <a:gd name="T7" fmla="*/ 32 h 32"/>
                <a:gd name="T8" fmla="*/ 42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2" y="16"/>
                  </a:moveTo>
                  <a:cubicBezTo>
                    <a:pt x="44" y="7"/>
                    <a:pt x="38" y="0"/>
                    <a:pt x="27" y="0"/>
                  </a:cubicBezTo>
                  <a:cubicBezTo>
                    <a:pt x="17" y="0"/>
                    <a:pt x="6" y="7"/>
                    <a:pt x="3" y="16"/>
                  </a:cubicBezTo>
                  <a:cubicBezTo>
                    <a:pt x="0" y="25"/>
                    <a:pt x="6" y="32"/>
                    <a:pt x="17" y="32"/>
                  </a:cubicBezTo>
                  <a:cubicBezTo>
                    <a:pt x="28" y="32"/>
                    <a:pt x="39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9" name="íṩļïḋé">
              <a:extLst>
                <a:ext uri="{FF2B5EF4-FFF2-40B4-BE49-F238E27FC236}">
                  <a16:creationId xmlns:a16="http://schemas.microsoft.com/office/drawing/2014/main" id="{1819EAA9-2233-4BB0-AD78-BBAF7D002660}"/>
                </a:ext>
              </a:extLst>
            </p:cNvPr>
            <p:cNvSpPr/>
            <p:nvPr/>
          </p:nvSpPr>
          <p:spPr bwMode="auto">
            <a:xfrm>
              <a:off x="3143284" y="4337708"/>
              <a:ext cx="160466" cy="115721"/>
            </a:xfrm>
            <a:custGeom>
              <a:avLst/>
              <a:gdLst>
                <a:gd name="T0" fmla="*/ 41 w 44"/>
                <a:gd name="T1" fmla="*/ 16 h 32"/>
                <a:gd name="T2" fmla="*/ 26 w 44"/>
                <a:gd name="T3" fmla="*/ 0 h 32"/>
                <a:gd name="T4" fmla="*/ 2 w 44"/>
                <a:gd name="T5" fmla="*/ 16 h 32"/>
                <a:gd name="T6" fmla="*/ 17 w 44"/>
                <a:gd name="T7" fmla="*/ 32 h 32"/>
                <a:gd name="T8" fmla="*/ 41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1" y="16"/>
                  </a:moveTo>
                  <a:cubicBezTo>
                    <a:pt x="44" y="7"/>
                    <a:pt x="37" y="0"/>
                    <a:pt x="26" y="0"/>
                  </a:cubicBezTo>
                  <a:cubicBezTo>
                    <a:pt x="16" y="0"/>
                    <a:pt x="5" y="7"/>
                    <a:pt x="2" y="16"/>
                  </a:cubicBezTo>
                  <a:cubicBezTo>
                    <a:pt x="0" y="25"/>
                    <a:pt x="6" y="32"/>
                    <a:pt x="17" y="32"/>
                  </a:cubicBezTo>
                  <a:cubicBezTo>
                    <a:pt x="28" y="32"/>
                    <a:pt x="38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0" name="íṣļîḍé">
              <a:extLst>
                <a:ext uri="{FF2B5EF4-FFF2-40B4-BE49-F238E27FC236}">
                  <a16:creationId xmlns:a16="http://schemas.microsoft.com/office/drawing/2014/main" id="{3DF903BA-94DB-4247-BFE5-EA1A934739F8}"/>
                </a:ext>
              </a:extLst>
            </p:cNvPr>
            <p:cNvSpPr/>
            <p:nvPr/>
          </p:nvSpPr>
          <p:spPr bwMode="auto">
            <a:xfrm>
              <a:off x="3314551" y="4337708"/>
              <a:ext cx="160466" cy="115721"/>
            </a:xfrm>
            <a:custGeom>
              <a:avLst/>
              <a:gdLst>
                <a:gd name="T0" fmla="*/ 41 w 44"/>
                <a:gd name="T1" fmla="*/ 16 h 32"/>
                <a:gd name="T2" fmla="*/ 26 w 44"/>
                <a:gd name="T3" fmla="*/ 0 h 32"/>
                <a:gd name="T4" fmla="*/ 3 w 44"/>
                <a:gd name="T5" fmla="*/ 16 h 32"/>
                <a:gd name="T6" fmla="*/ 18 w 44"/>
                <a:gd name="T7" fmla="*/ 32 h 32"/>
                <a:gd name="T8" fmla="*/ 41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1" y="16"/>
                  </a:moveTo>
                  <a:cubicBezTo>
                    <a:pt x="44" y="7"/>
                    <a:pt x="37" y="0"/>
                    <a:pt x="26" y="0"/>
                  </a:cubicBezTo>
                  <a:cubicBezTo>
                    <a:pt x="16" y="0"/>
                    <a:pt x="5" y="7"/>
                    <a:pt x="3" y="16"/>
                  </a:cubicBezTo>
                  <a:cubicBezTo>
                    <a:pt x="0" y="25"/>
                    <a:pt x="7" y="32"/>
                    <a:pt x="18" y="32"/>
                  </a:cubicBezTo>
                  <a:cubicBezTo>
                    <a:pt x="28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1" name="iṧļîḓé">
              <a:extLst>
                <a:ext uri="{FF2B5EF4-FFF2-40B4-BE49-F238E27FC236}">
                  <a16:creationId xmlns:a16="http://schemas.microsoft.com/office/drawing/2014/main" id="{115A0C97-0A56-481F-8554-BCA8BEF7C2EE}"/>
                </a:ext>
              </a:extLst>
            </p:cNvPr>
            <p:cNvSpPr/>
            <p:nvPr/>
          </p:nvSpPr>
          <p:spPr bwMode="auto">
            <a:xfrm>
              <a:off x="3488904" y="4337708"/>
              <a:ext cx="157381" cy="115721"/>
            </a:xfrm>
            <a:custGeom>
              <a:avLst/>
              <a:gdLst>
                <a:gd name="T0" fmla="*/ 41 w 43"/>
                <a:gd name="T1" fmla="*/ 16 h 32"/>
                <a:gd name="T2" fmla="*/ 26 w 43"/>
                <a:gd name="T3" fmla="*/ 0 h 32"/>
                <a:gd name="T4" fmla="*/ 2 w 43"/>
                <a:gd name="T5" fmla="*/ 16 h 32"/>
                <a:gd name="T6" fmla="*/ 17 w 43"/>
                <a:gd name="T7" fmla="*/ 32 h 32"/>
                <a:gd name="T8" fmla="*/ 41 w 43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2">
                  <a:moveTo>
                    <a:pt x="41" y="16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5" y="0"/>
                    <a:pt x="4" y="7"/>
                    <a:pt x="2" y="16"/>
                  </a:cubicBezTo>
                  <a:cubicBezTo>
                    <a:pt x="0" y="25"/>
                    <a:pt x="7" y="32"/>
                    <a:pt x="17" y="32"/>
                  </a:cubicBezTo>
                  <a:cubicBezTo>
                    <a:pt x="28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2" name="ïṧ1ïḍè">
              <a:extLst>
                <a:ext uri="{FF2B5EF4-FFF2-40B4-BE49-F238E27FC236}">
                  <a16:creationId xmlns:a16="http://schemas.microsoft.com/office/drawing/2014/main" id="{D9E8C1FF-9CB5-48C4-A2D7-3B50DA9DE282}"/>
                </a:ext>
              </a:extLst>
            </p:cNvPr>
            <p:cNvSpPr/>
            <p:nvPr/>
          </p:nvSpPr>
          <p:spPr bwMode="auto">
            <a:xfrm>
              <a:off x="2745204" y="4479659"/>
              <a:ext cx="163552" cy="123436"/>
            </a:xfrm>
            <a:custGeom>
              <a:avLst/>
              <a:gdLst>
                <a:gd name="T0" fmla="*/ 42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7 w 45"/>
                <a:gd name="T7" fmla="*/ 34 h 34"/>
                <a:gd name="T8" fmla="*/ 42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2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6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3" name="iSľíḍê">
              <a:extLst>
                <a:ext uri="{FF2B5EF4-FFF2-40B4-BE49-F238E27FC236}">
                  <a16:creationId xmlns:a16="http://schemas.microsoft.com/office/drawing/2014/main" id="{0F21392C-56C1-4FFC-A85B-E8AAC992AF29}"/>
                </a:ext>
              </a:extLst>
            </p:cNvPr>
            <p:cNvSpPr/>
            <p:nvPr/>
          </p:nvSpPr>
          <p:spPr bwMode="auto">
            <a:xfrm>
              <a:off x="2919557" y="4479659"/>
              <a:ext cx="165096" cy="123436"/>
            </a:xfrm>
            <a:custGeom>
              <a:avLst/>
              <a:gdLst>
                <a:gd name="T0" fmla="*/ 42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7 w 45"/>
                <a:gd name="T7" fmla="*/ 34 h 34"/>
                <a:gd name="T8" fmla="*/ 42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2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6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4" name="îsḷîďé">
              <a:extLst>
                <a:ext uri="{FF2B5EF4-FFF2-40B4-BE49-F238E27FC236}">
                  <a16:creationId xmlns:a16="http://schemas.microsoft.com/office/drawing/2014/main" id="{A20BECAF-BD21-4F91-9C9C-103A2613D714}"/>
                </a:ext>
              </a:extLst>
            </p:cNvPr>
            <p:cNvSpPr/>
            <p:nvPr/>
          </p:nvSpPr>
          <p:spPr bwMode="auto">
            <a:xfrm>
              <a:off x="3095452" y="4479659"/>
              <a:ext cx="163552" cy="123436"/>
            </a:xfrm>
            <a:custGeom>
              <a:avLst/>
              <a:gdLst>
                <a:gd name="T0" fmla="*/ 43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8 w 45"/>
                <a:gd name="T7" fmla="*/ 34 h 34"/>
                <a:gd name="T8" fmla="*/ 43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3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7" y="34"/>
                    <a:pt x="18" y="34"/>
                  </a:cubicBezTo>
                  <a:cubicBezTo>
                    <a:pt x="29" y="34"/>
                    <a:pt x="40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5" name="ïṥḻíḓe">
              <a:extLst>
                <a:ext uri="{FF2B5EF4-FFF2-40B4-BE49-F238E27FC236}">
                  <a16:creationId xmlns:a16="http://schemas.microsoft.com/office/drawing/2014/main" id="{930F17C7-BD90-4CF1-91BE-97B912AE944B}"/>
                </a:ext>
              </a:extLst>
            </p:cNvPr>
            <p:cNvSpPr/>
            <p:nvPr/>
          </p:nvSpPr>
          <p:spPr bwMode="auto">
            <a:xfrm>
              <a:off x="3274434" y="4479659"/>
              <a:ext cx="160466" cy="123436"/>
            </a:xfrm>
            <a:custGeom>
              <a:avLst/>
              <a:gdLst>
                <a:gd name="T0" fmla="*/ 42 w 44"/>
                <a:gd name="T1" fmla="*/ 17 h 34"/>
                <a:gd name="T2" fmla="*/ 27 w 44"/>
                <a:gd name="T3" fmla="*/ 0 h 34"/>
                <a:gd name="T4" fmla="*/ 2 w 44"/>
                <a:gd name="T5" fmla="*/ 17 h 34"/>
                <a:gd name="T6" fmla="*/ 17 w 44"/>
                <a:gd name="T7" fmla="*/ 34 h 34"/>
                <a:gd name="T8" fmla="*/ 42 w 44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4">
                  <a:moveTo>
                    <a:pt x="42" y="17"/>
                  </a:moveTo>
                  <a:cubicBezTo>
                    <a:pt x="44" y="8"/>
                    <a:pt x="37" y="0"/>
                    <a:pt x="27" y="0"/>
                  </a:cubicBezTo>
                  <a:cubicBezTo>
                    <a:pt x="16" y="0"/>
                    <a:pt x="5" y="8"/>
                    <a:pt x="2" y="17"/>
                  </a:cubicBezTo>
                  <a:cubicBezTo>
                    <a:pt x="0" y="26"/>
                    <a:pt x="7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6" name="îSḷiḓè">
              <a:extLst>
                <a:ext uri="{FF2B5EF4-FFF2-40B4-BE49-F238E27FC236}">
                  <a16:creationId xmlns:a16="http://schemas.microsoft.com/office/drawing/2014/main" id="{291BD3DF-D829-430A-8777-1904B3605522}"/>
                </a:ext>
              </a:extLst>
            </p:cNvPr>
            <p:cNvSpPr/>
            <p:nvPr/>
          </p:nvSpPr>
          <p:spPr bwMode="auto">
            <a:xfrm>
              <a:off x="3448788" y="4479659"/>
              <a:ext cx="160466" cy="123436"/>
            </a:xfrm>
            <a:custGeom>
              <a:avLst/>
              <a:gdLst>
                <a:gd name="T0" fmla="*/ 42 w 44"/>
                <a:gd name="T1" fmla="*/ 17 h 34"/>
                <a:gd name="T2" fmla="*/ 27 w 44"/>
                <a:gd name="T3" fmla="*/ 0 h 34"/>
                <a:gd name="T4" fmla="*/ 3 w 44"/>
                <a:gd name="T5" fmla="*/ 17 h 34"/>
                <a:gd name="T6" fmla="*/ 18 w 44"/>
                <a:gd name="T7" fmla="*/ 34 h 34"/>
                <a:gd name="T8" fmla="*/ 42 w 44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4">
                  <a:moveTo>
                    <a:pt x="42" y="17"/>
                  </a:moveTo>
                  <a:cubicBezTo>
                    <a:pt x="44" y="8"/>
                    <a:pt x="37" y="0"/>
                    <a:pt x="27" y="0"/>
                  </a:cubicBezTo>
                  <a:cubicBezTo>
                    <a:pt x="16" y="0"/>
                    <a:pt x="5" y="8"/>
                    <a:pt x="3" y="17"/>
                  </a:cubicBezTo>
                  <a:cubicBezTo>
                    <a:pt x="0" y="26"/>
                    <a:pt x="7" y="34"/>
                    <a:pt x="18" y="34"/>
                  </a:cubicBezTo>
                  <a:cubicBezTo>
                    <a:pt x="29" y="34"/>
                    <a:pt x="40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7" name="ïṥ1îḋê">
              <a:extLst>
                <a:ext uri="{FF2B5EF4-FFF2-40B4-BE49-F238E27FC236}">
                  <a16:creationId xmlns:a16="http://schemas.microsoft.com/office/drawing/2014/main" id="{93D8E6BD-B4DE-4B96-9E8C-0F7C5E8EB9CA}"/>
                </a:ext>
              </a:extLst>
            </p:cNvPr>
            <p:cNvSpPr/>
            <p:nvPr/>
          </p:nvSpPr>
          <p:spPr bwMode="auto">
            <a:xfrm>
              <a:off x="2689658" y="4629324"/>
              <a:ext cx="171268" cy="128065"/>
            </a:xfrm>
            <a:custGeom>
              <a:avLst/>
              <a:gdLst>
                <a:gd name="T0" fmla="*/ 44 w 47"/>
                <a:gd name="T1" fmla="*/ 17 h 35"/>
                <a:gd name="T2" fmla="*/ 29 w 47"/>
                <a:gd name="T3" fmla="*/ 0 h 35"/>
                <a:gd name="T4" fmla="*/ 4 w 47"/>
                <a:gd name="T5" fmla="*/ 17 h 35"/>
                <a:gd name="T6" fmla="*/ 18 w 47"/>
                <a:gd name="T7" fmla="*/ 35 h 35"/>
                <a:gd name="T8" fmla="*/ 44 w 47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5">
                  <a:moveTo>
                    <a:pt x="44" y="17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7" y="8"/>
                    <a:pt x="4" y="17"/>
                  </a:cubicBezTo>
                  <a:cubicBezTo>
                    <a:pt x="0" y="27"/>
                    <a:pt x="7" y="35"/>
                    <a:pt x="18" y="35"/>
                  </a:cubicBezTo>
                  <a:cubicBezTo>
                    <a:pt x="29" y="35"/>
                    <a:pt x="41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8" name="íṡ1íďe">
              <a:extLst>
                <a:ext uri="{FF2B5EF4-FFF2-40B4-BE49-F238E27FC236}">
                  <a16:creationId xmlns:a16="http://schemas.microsoft.com/office/drawing/2014/main" id="{70A36DBA-BF01-4225-8A80-1F2C073EED98}"/>
                </a:ext>
              </a:extLst>
            </p:cNvPr>
            <p:cNvSpPr/>
            <p:nvPr/>
          </p:nvSpPr>
          <p:spPr bwMode="auto">
            <a:xfrm>
              <a:off x="2873268" y="4629324"/>
              <a:ext cx="166638" cy="128065"/>
            </a:xfrm>
            <a:custGeom>
              <a:avLst/>
              <a:gdLst>
                <a:gd name="T0" fmla="*/ 43 w 46"/>
                <a:gd name="T1" fmla="*/ 17 h 35"/>
                <a:gd name="T2" fmla="*/ 28 w 46"/>
                <a:gd name="T3" fmla="*/ 0 h 35"/>
                <a:gd name="T4" fmla="*/ 3 w 46"/>
                <a:gd name="T5" fmla="*/ 17 h 35"/>
                <a:gd name="T6" fmla="*/ 17 w 46"/>
                <a:gd name="T7" fmla="*/ 35 h 35"/>
                <a:gd name="T8" fmla="*/ 43 w 4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5">
                  <a:moveTo>
                    <a:pt x="43" y="17"/>
                  </a:moveTo>
                  <a:cubicBezTo>
                    <a:pt x="46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7"/>
                    <a:pt x="6" y="35"/>
                    <a:pt x="17" y="35"/>
                  </a:cubicBezTo>
                  <a:cubicBezTo>
                    <a:pt x="28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9" name="iSlîďè">
              <a:extLst>
                <a:ext uri="{FF2B5EF4-FFF2-40B4-BE49-F238E27FC236}">
                  <a16:creationId xmlns:a16="http://schemas.microsoft.com/office/drawing/2014/main" id="{7BE9E3A1-8A1C-42E3-B332-90A9D55E0D2D}"/>
                </a:ext>
              </a:extLst>
            </p:cNvPr>
            <p:cNvSpPr/>
            <p:nvPr/>
          </p:nvSpPr>
          <p:spPr bwMode="auto">
            <a:xfrm>
              <a:off x="3050707" y="4629324"/>
              <a:ext cx="165096" cy="128065"/>
            </a:xfrm>
            <a:custGeom>
              <a:avLst/>
              <a:gdLst>
                <a:gd name="T0" fmla="*/ 43 w 45"/>
                <a:gd name="T1" fmla="*/ 17 h 35"/>
                <a:gd name="T2" fmla="*/ 28 w 45"/>
                <a:gd name="T3" fmla="*/ 0 h 35"/>
                <a:gd name="T4" fmla="*/ 3 w 45"/>
                <a:gd name="T5" fmla="*/ 17 h 35"/>
                <a:gd name="T6" fmla="*/ 18 w 45"/>
                <a:gd name="T7" fmla="*/ 35 h 35"/>
                <a:gd name="T8" fmla="*/ 43 w 45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5">
                  <a:moveTo>
                    <a:pt x="43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7"/>
                    <a:pt x="6" y="35"/>
                    <a:pt x="18" y="35"/>
                  </a:cubicBezTo>
                  <a:cubicBezTo>
                    <a:pt x="29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0" name="iṣḻïḓe">
              <a:extLst>
                <a:ext uri="{FF2B5EF4-FFF2-40B4-BE49-F238E27FC236}">
                  <a16:creationId xmlns:a16="http://schemas.microsoft.com/office/drawing/2014/main" id="{8A66CC81-31A2-4ED5-A1BB-AFDDC667EB4B}"/>
                </a:ext>
              </a:extLst>
            </p:cNvPr>
            <p:cNvSpPr/>
            <p:nvPr/>
          </p:nvSpPr>
          <p:spPr bwMode="auto">
            <a:xfrm>
              <a:off x="3229689" y="4629324"/>
              <a:ext cx="165096" cy="128065"/>
            </a:xfrm>
            <a:custGeom>
              <a:avLst/>
              <a:gdLst>
                <a:gd name="T0" fmla="*/ 43 w 45"/>
                <a:gd name="T1" fmla="*/ 17 h 35"/>
                <a:gd name="T2" fmla="*/ 27 w 45"/>
                <a:gd name="T3" fmla="*/ 0 h 35"/>
                <a:gd name="T4" fmla="*/ 3 w 45"/>
                <a:gd name="T5" fmla="*/ 17 h 35"/>
                <a:gd name="T6" fmla="*/ 18 w 45"/>
                <a:gd name="T7" fmla="*/ 35 h 35"/>
                <a:gd name="T8" fmla="*/ 43 w 45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5">
                  <a:moveTo>
                    <a:pt x="43" y="17"/>
                  </a:moveTo>
                  <a:cubicBezTo>
                    <a:pt x="45" y="8"/>
                    <a:pt x="38" y="0"/>
                    <a:pt x="27" y="0"/>
                  </a:cubicBezTo>
                  <a:cubicBezTo>
                    <a:pt x="16" y="0"/>
                    <a:pt x="5" y="8"/>
                    <a:pt x="3" y="17"/>
                  </a:cubicBezTo>
                  <a:cubicBezTo>
                    <a:pt x="0" y="27"/>
                    <a:pt x="7" y="35"/>
                    <a:pt x="18" y="35"/>
                  </a:cubicBezTo>
                  <a:cubicBezTo>
                    <a:pt x="29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1" name="ïṣḻïḋè">
              <a:extLst>
                <a:ext uri="{FF2B5EF4-FFF2-40B4-BE49-F238E27FC236}">
                  <a16:creationId xmlns:a16="http://schemas.microsoft.com/office/drawing/2014/main" id="{E371398D-74EF-48D1-979F-79BB5757D017}"/>
                </a:ext>
              </a:extLst>
            </p:cNvPr>
            <p:cNvSpPr/>
            <p:nvPr/>
          </p:nvSpPr>
          <p:spPr bwMode="auto">
            <a:xfrm>
              <a:off x="2456673" y="4783619"/>
              <a:ext cx="171268" cy="131151"/>
            </a:xfrm>
            <a:custGeom>
              <a:avLst/>
              <a:gdLst>
                <a:gd name="T0" fmla="*/ 44 w 47"/>
                <a:gd name="T1" fmla="*/ 18 h 36"/>
                <a:gd name="T2" fmla="*/ 30 w 47"/>
                <a:gd name="T3" fmla="*/ 0 h 36"/>
                <a:gd name="T4" fmla="*/ 3 w 47"/>
                <a:gd name="T5" fmla="*/ 18 h 36"/>
                <a:gd name="T6" fmla="*/ 17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1" y="0"/>
                    <a:pt x="30" y="0"/>
                  </a:cubicBezTo>
                  <a:cubicBezTo>
                    <a:pt x="19" y="0"/>
                    <a:pt x="7" y="8"/>
                    <a:pt x="3" y="18"/>
                  </a:cubicBezTo>
                  <a:cubicBezTo>
                    <a:pt x="0" y="28"/>
                    <a:pt x="6" y="36"/>
                    <a:pt x="17" y="36"/>
                  </a:cubicBezTo>
                  <a:cubicBezTo>
                    <a:pt x="28" y="36"/>
                    <a:pt x="40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2" name="îSliḑê">
              <a:extLst>
                <a:ext uri="{FF2B5EF4-FFF2-40B4-BE49-F238E27FC236}">
                  <a16:creationId xmlns:a16="http://schemas.microsoft.com/office/drawing/2014/main" id="{81F12535-49E0-46BA-955B-F0EB89E2BDB2}"/>
                </a:ext>
              </a:extLst>
            </p:cNvPr>
            <p:cNvSpPr/>
            <p:nvPr/>
          </p:nvSpPr>
          <p:spPr bwMode="auto">
            <a:xfrm>
              <a:off x="2638740" y="4783619"/>
              <a:ext cx="171268" cy="131151"/>
            </a:xfrm>
            <a:custGeom>
              <a:avLst/>
              <a:gdLst>
                <a:gd name="T0" fmla="*/ 44 w 47"/>
                <a:gd name="T1" fmla="*/ 18 h 36"/>
                <a:gd name="T2" fmla="*/ 29 w 47"/>
                <a:gd name="T3" fmla="*/ 0 h 36"/>
                <a:gd name="T4" fmla="*/ 3 w 47"/>
                <a:gd name="T5" fmla="*/ 18 h 36"/>
                <a:gd name="T6" fmla="*/ 17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6" y="8"/>
                    <a:pt x="3" y="18"/>
                  </a:cubicBezTo>
                  <a:cubicBezTo>
                    <a:pt x="0" y="28"/>
                    <a:pt x="6" y="36"/>
                    <a:pt x="17" y="36"/>
                  </a:cubicBezTo>
                  <a:cubicBezTo>
                    <a:pt x="29" y="36"/>
                    <a:pt x="41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3" name="ïsḻïḋé">
              <a:extLst>
                <a:ext uri="{FF2B5EF4-FFF2-40B4-BE49-F238E27FC236}">
                  <a16:creationId xmlns:a16="http://schemas.microsoft.com/office/drawing/2014/main" id="{B67AF5E4-47EC-4CD1-9AAB-D616ADAC8F21}"/>
                </a:ext>
              </a:extLst>
            </p:cNvPr>
            <p:cNvSpPr/>
            <p:nvPr/>
          </p:nvSpPr>
          <p:spPr bwMode="auto">
            <a:xfrm>
              <a:off x="2820808" y="4783619"/>
              <a:ext cx="172810" cy="131151"/>
            </a:xfrm>
            <a:custGeom>
              <a:avLst/>
              <a:gdLst>
                <a:gd name="T0" fmla="*/ 44 w 47"/>
                <a:gd name="T1" fmla="*/ 18 h 36"/>
                <a:gd name="T2" fmla="*/ 29 w 47"/>
                <a:gd name="T3" fmla="*/ 0 h 36"/>
                <a:gd name="T4" fmla="*/ 3 w 47"/>
                <a:gd name="T5" fmla="*/ 18 h 36"/>
                <a:gd name="T6" fmla="*/ 18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6" y="8"/>
                    <a:pt x="3" y="18"/>
                  </a:cubicBezTo>
                  <a:cubicBezTo>
                    <a:pt x="0" y="28"/>
                    <a:pt x="6" y="36"/>
                    <a:pt x="18" y="36"/>
                  </a:cubicBezTo>
                  <a:cubicBezTo>
                    <a:pt x="29" y="36"/>
                    <a:pt x="41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4" name="îṩļîḋê">
              <a:extLst>
                <a:ext uri="{FF2B5EF4-FFF2-40B4-BE49-F238E27FC236}">
                  <a16:creationId xmlns:a16="http://schemas.microsoft.com/office/drawing/2014/main" id="{1674A424-71FF-41DE-98F1-CE39002A429D}"/>
                </a:ext>
              </a:extLst>
            </p:cNvPr>
            <p:cNvSpPr/>
            <p:nvPr/>
          </p:nvSpPr>
          <p:spPr bwMode="auto">
            <a:xfrm>
              <a:off x="3004419" y="4783619"/>
              <a:ext cx="166638" cy="131151"/>
            </a:xfrm>
            <a:custGeom>
              <a:avLst/>
              <a:gdLst>
                <a:gd name="T0" fmla="*/ 43 w 46"/>
                <a:gd name="T1" fmla="*/ 18 h 36"/>
                <a:gd name="T2" fmla="*/ 28 w 46"/>
                <a:gd name="T3" fmla="*/ 0 h 36"/>
                <a:gd name="T4" fmla="*/ 3 w 46"/>
                <a:gd name="T5" fmla="*/ 18 h 36"/>
                <a:gd name="T6" fmla="*/ 18 w 46"/>
                <a:gd name="T7" fmla="*/ 36 h 36"/>
                <a:gd name="T8" fmla="*/ 43 w 4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6">
                  <a:moveTo>
                    <a:pt x="43" y="18"/>
                  </a:moveTo>
                  <a:cubicBezTo>
                    <a:pt x="46" y="8"/>
                    <a:pt x="39" y="0"/>
                    <a:pt x="28" y="0"/>
                  </a:cubicBezTo>
                  <a:cubicBezTo>
                    <a:pt x="17" y="0"/>
                    <a:pt x="6" y="8"/>
                    <a:pt x="3" y="18"/>
                  </a:cubicBezTo>
                  <a:cubicBezTo>
                    <a:pt x="0" y="28"/>
                    <a:pt x="7" y="36"/>
                    <a:pt x="18" y="36"/>
                  </a:cubicBezTo>
                  <a:cubicBezTo>
                    <a:pt x="29" y="36"/>
                    <a:pt x="41" y="28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5" name="ïs1íde">
              <a:extLst>
                <a:ext uri="{FF2B5EF4-FFF2-40B4-BE49-F238E27FC236}">
                  <a16:creationId xmlns:a16="http://schemas.microsoft.com/office/drawing/2014/main" id="{1A4740B0-868E-47A0-9325-4584CE546F55}"/>
                </a:ext>
              </a:extLst>
            </p:cNvPr>
            <p:cNvSpPr/>
            <p:nvPr/>
          </p:nvSpPr>
          <p:spPr bwMode="auto">
            <a:xfrm>
              <a:off x="2398041" y="4944086"/>
              <a:ext cx="175896" cy="134237"/>
            </a:xfrm>
            <a:custGeom>
              <a:avLst/>
              <a:gdLst>
                <a:gd name="T0" fmla="*/ 45 w 48"/>
                <a:gd name="T1" fmla="*/ 18 h 37"/>
                <a:gd name="T2" fmla="*/ 30 w 48"/>
                <a:gd name="T3" fmla="*/ 0 h 37"/>
                <a:gd name="T4" fmla="*/ 3 w 48"/>
                <a:gd name="T5" fmla="*/ 18 h 37"/>
                <a:gd name="T6" fmla="*/ 17 w 48"/>
                <a:gd name="T7" fmla="*/ 37 h 37"/>
                <a:gd name="T8" fmla="*/ 45 w 4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7">
                  <a:moveTo>
                    <a:pt x="45" y="18"/>
                  </a:moveTo>
                  <a:cubicBezTo>
                    <a:pt x="48" y="8"/>
                    <a:pt x="42" y="0"/>
                    <a:pt x="30" y="0"/>
                  </a:cubicBezTo>
                  <a:cubicBezTo>
                    <a:pt x="19" y="0"/>
                    <a:pt x="7" y="8"/>
                    <a:pt x="3" y="18"/>
                  </a:cubicBezTo>
                  <a:cubicBezTo>
                    <a:pt x="0" y="29"/>
                    <a:pt x="6" y="37"/>
                    <a:pt x="17" y="37"/>
                  </a:cubicBezTo>
                  <a:cubicBezTo>
                    <a:pt x="29" y="37"/>
                    <a:pt x="41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6" name="íşḷïḑé">
              <a:extLst>
                <a:ext uri="{FF2B5EF4-FFF2-40B4-BE49-F238E27FC236}">
                  <a16:creationId xmlns:a16="http://schemas.microsoft.com/office/drawing/2014/main" id="{16A2B057-5F5C-4ADF-8F49-BE368922563E}"/>
                </a:ext>
              </a:extLst>
            </p:cNvPr>
            <p:cNvSpPr/>
            <p:nvPr/>
          </p:nvSpPr>
          <p:spPr bwMode="auto">
            <a:xfrm>
              <a:off x="2580108" y="4944086"/>
              <a:ext cx="178982" cy="134237"/>
            </a:xfrm>
            <a:custGeom>
              <a:avLst/>
              <a:gdLst>
                <a:gd name="T0" fmla="*/ 45 w 49"/>
                <a:gd name="T1" fmla="*/ 18 h 37"/>
                <a:gd name="T2" fmla="*/ 31 w 49"/>
                <a:gd name="T3" fmla="*/ 0 h 37"/>
                <a:gd name="T4" fmla="*/ 4 w 49"/>
                <a:gd name="T5" fmla="*/ 18 h 37"/>
                <a:gd name="T6" fmla="*/ 18 w 49"/>
                <a:gd name="T7" fmla="*/ 37 h 37"/>
                <a:gd name="T8" fmla="*/ 45 w 49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5" y="18"/>
                  </a:moveTo>
                  <a:cubicBezTo>
                    <a:pt x="49" y="8"/>
                    <a:pt x="42" y="0"/>
                    <a:pt x="31" y="0"/>
                  </a:cubicBezTo>
                  <a:cubicBezTo>
                    <a:pt x="19" y="0"/>
                    <a:pt x="7" y="8"/>
                    <a:pt x="4" y="18"/>
                  </a:cubicBezTo>
                  <a:cubicBezTo>
                    <a:pt x="0" y="29"/>
                    <a:pt x="7" y="37"/>
                    <a:pt x="18" y="37"/>
                  </a:cubicBezTo>
                  <a:cubicBezTo>
                    <a:pt x="30" y="37"/>
                    <a:pt x="42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7" name="ïṩ1îḓê">
              <a:extLst>
                <a:ext uri="{FF2B5EF4-FFF2-40B4-BE49-F238E27FC236}">
                  <a16:creationId xmlns:a16="http://schemas.microsoft.com/office/drawing/2014/main" id="{636FAB6F-2DED-4199-BDD5-44FA6951DC8E}"/>
                </a:ext>
              </a:extLst>
            </p:cNvPr>
            <p:cNvSpPr/>
            <p:nvPr/>
          </p:nvSpPr>
          <p:spPr bwMode="auto">
            <a:xfrm>
              <a:off x="2766805" y="4944086"/>
              <a:ext cx="174353" cy="134237"/>
            </a:xfrm>
            <a:custGeom>
              <a:avLst/>
              <a:gdLst>
                <a:gd name="T0" fmla="*/ 45 w 48"/>
                <a:gd name="T1" fmla="*/ 18 h 37"/>
                <a:gd name="T2" fmla="*/ 30 w 48"/>
                <a:gd name="T3" fmla="*/ 0 h 37"/>
                <a:gd name="T4" fmla="*/ 4 w 48"/>
                <a:gd name="T5" fmla="*/ 18 h 37"/>
                <a:gd name="T6" fmla="*/ 19 w 48"/>
                <a:gd name="T7" fmla="*/ 37 h 37"/>
                <a:gd name="T8" fmla="*/ 45 w 4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7">
                  <a:moveTo>
                    <a:pt x="45" y="18"/>
                  </a:moveTo>
                  <a:cubicBezTo>
                    <a:pt x="48" y="8"/>
                    <a:pt x="41" y="0"/>
                    <a:pt x="30" y="0"/>
                  </a:cubicBezTo>
                  <a:cubicBezTo>
                    <a:pt x="19" y="0"/>
                    <a:pt x="7" y="8"/>
                    <a:pt x="4" y="18"/>
                  </a:cubicBezTo>
                  <a:cubicBezTo>
                    <a:pt x="0" y="29"/>
                    <a:pt x="7" y="37"/>
                    <a:pt x="19" y="37"/>
                  </a:cubicBezTo>
                  <a:cubicBezTo>
                    <a:pt x="30" y="37"/>
                    <a:pt x="42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8" name="ïşľíḑê">
              <a:extLst>
                <a:ext uri="{FF2B5EF4-FFF2-40B4-BE49-F238E27FC236}">
                  <a16:creationId xmlns:a16="http://schemas.microsoft.com/office/drawing/2014/main" id="{2454DA01-B664-4621-8A32-0B2B9D7D6DA0}"/>
                </a:ext>
              </a:extLst>
            </p:cNvPr>
            <p:cNvSpPr/>
            <p:nvPr/>
          </p:nvSpPr>
          <p:spPr bwMode="auto">
            <a:xfrm>
              <a:off x="2336323" y="5107638"/>
              <a:ext cx="178982" cy="138865"/>
            </a:xfrm>
            <a:custGeom>
              <a:avLst/>
              <a:gdLst>
                <a:gd name="T0" fmla="*/ 46 w 49"/>
                <a:gd name="T1" fmla="*/ 19 h 38"/>
                <a:gd name="T2" fmla="*/ 31 w 49"/>
                <a:gd name="T3" fmla="*/ 0 h 38"/>
                <a:gd name="T4" fmla="*/ 4 w 49"/>
                <a:gd name="T5" fmla="*/ 19 h 38"/>
                <a:gd name="T6" fmla="*/ 18 w 49"/>
                <a:gd name="T7" fmla="*/ 38 h 38"/>
                <a:gd name="T8" fmla="*/ 46 w 49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6" y="19"/>
                  </a:moveTo>
                  <a:cubicBezTo>
                    <a:pt x="49" y="9"/>
                    <a:pt x="43" y="0"/>
                    <a:pt x="31" y="0"/>
                  </a:cubicBezTo>
                  <a:cubicBezTo>
                    <a:pt x="20" y="0"/>
                    <a:pt x="7" y="9"/>
                    <a:pt x="4" y="19"/>
                  </a:cubicBezTo>
                  <a:cubicBezTo>
                    <a:pt x="0" y="30"/>
                    <a:pt x="6" y="38"/>
                    <a:pt x="18" y="38"/>
                  </a:cubicBezTo>
                  <a:cubicBezTo>
                    <a:pt x="30" y="38"/>
                    <a:pt x="42" y="30"/>
                    <a:pt x="46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9" name="ísľíḋè">
              <a:extLst>
                <a:ext uri="{FF2B5EF4-FFF2-40B4-BE49-F238E27FC236}">
                  <a16:creationId xmlns:a16="http://schemas.microsoft.com/office/drawing/2014/main" id="{7BCCAA3F-AB3E-49DD-89F1-894CFC13985B}"/>
                </a:ext>
              </a:extLst>
            </p:cNvPr>
            <p:cNvSpPr/>
            <p:nvPr/>
          </p:nvSpPr>
          <p:spPr bwMode="auto">
            <a:xfrm>
              <a:off x="2526106" y="5107638"/>
              <a:ext cx="178982" cy="138865"/>
            </a:xfrm>
            <a:custGeom>
              <a:avLst/>
              <a:gdLst>
                <a:gd name="T0" fmla="*/ 45 w 49"/>
                <a:gd name="T1" fmla="*/ 19 h 38"/>
                <a:gd name="T2" fmla="*/ 31 w 49"/>
                <a:gd name="T3" fmla="*/ 0 h 38"/>
                <a:gd name="T4" fmla="*/ 3 w 49"/>
                <a:gd name="T5" fmla="*/ 19 h 38"/>
                <a:gd name="T6" fmla="*/ 18 w 49"/>
                <a:gd name="T7" fmla="*/ 38 h 38"/>
                <a:gd name="T8" fmla="*/ 45 w 49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5" y="19"/>
                  </a:moveTo>
                  <a:cubicBezTo>
                    <a:pt x="49" y="9"/>
                    <a:pt x="42" y="0"/>
                    <a:pt x="31" y="0"/>
                  </a:cubicBezTo>
                  <a:cubicBezTo>
                    <a:pt x="19" y="0"/>
                    <a:pt x="7" y="9"/>
                    <a:pt x="3" y="19"/>
                  </a:cubicBezTo>
                  <a:cubicBezTo>
                    <a:pt x="0" y="30"/>
                    <a:pt x="6" y="38"/>
                    <a:pt x="18" y="38"/>
                  </a:cubicBezTo>
                  <a:cubicBezTo>
                    <a:pt x="30" y="38"/>
                    <a:pt x="42" y="30"/>
                    <a:pt x="4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0" name="î$ľide">
              <a:extLst>
                <a:ext uri="{FF2B5EF4-FFF2-40B4-BE49-F238E27FC236}">
                  <a16:creationId xmlns:a16="http://schemas.microsoft.com/office/drawing/2014/main" id="{AEA49EF8-AC77-4D92-9E11-E792738AB56F}"/>
                </a:ext>
              </a:extLst>
            </p:cNvPr>
            <p:cNvSpPr/>
            <p:nvPr/>
          </p:nvSpPr>
          <p:spPr bwMode="auto">
            <a:xfrm>
              <a:off x="2274605" y="5280448"/>
              <a:ext cx="182068" cy="145037"/>
            </a:xfrm>
            <a:custGeom>
              <a:avLst/>
              <a:gdLst>
                <a:gd name="T0" fmla="*/ 46 w 50"/>
                <a:gd name="T1" fmla="*/ 20 h 40"/>
                <a:gd name="T2" fmla="*/ 32 w 50"/>
                <a:gd name="T3" fmla="*/ 0 h 40"/>
                <a:gd name="T4" fmla="*/ 4 w 50"/>
                <a:gd name="T5" fmla="*/ 20 h 40"/>
                <a:gd name="T6" fmla="*/ 18 w 50"/>
                <a:gd name="T7" fmla="*/ 40 h 40"/>
                <a:gd name="T8" fmla="*/ 46 w 50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0">
                  <a:moveTo>
                    <a:pt x="46" y="20"/>
                  </a:moveTo>
                  <a:cubicBezTo>
                    <a:pt x="50" y="9"/>
                    <a:pt x="44" y="0"/>
                    <a:pt x="32" y="0"/>
                  </a:cubicBezTo>
                  <a:cubicBezTo>
                    <a:pt x="20" y="0"/>
                    <a:pt x="7" y="9"/>
                    <a:pt x="4" y="20"/>
                  </a:cubicBezTo>
                  <a:cubicBezTo>
                    <a:pt x="0" y="31"/>
                    <a:pt x="6" y="40"/>
                    <a:pt x="18" y="40"/>
                  </a:cubicBezTo>
                  <a:cubicBezTo>
                    <a:pt x="30" y="40"/>
                    <a:pt x="43" y="31"/>
                    <a:pt x="4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1" name="ísḻiḓé">
              <a:extLst>
                <a:ext uri="{FF2B5EF4-FFF2-40B4-BE49-F238E27FC236}">
                  <a16:creationId xmlns:a16="http://schemas.microsoft.com/office/drawing/2014/main" id="{50B9B436-7427-4196-A1B2-DD3BD297736A}"/>
                </a:ext>
              </a:extLst>
            </p:cNvPr>
            <p:cNvSpPr/>
            <p:nvPr/>
          </p:nvSpPr>
          <p:spPr bwMode="auto">
            <a:xfrm>
              <a:off x="2464388" y="5280448"/>
              <a:ext cx="185154" cy="145037"/>
            </a:xfrm>
            <a:custGeom>
              <a:avLst/>
              <a:gdLst>
                <a:gd name="T0" fmla="*/ 47 w 51"/>
                <a:gd name="T1" fmla="*/ 20 h 40"/>
                <a:gd name="T2" fmla="*/ 32 w 51"/>
                <a:gd name="T3" fmla="*/ 0 h 40"/>
                <a:gd name="T4" fmla="*/ 4 w 51"/>
                <a:gd name="T5" fmla="*/ 20 h 40"/>
                <a:gd name="T6" fmla="*/ 19 w 51"/>
                <a:gd name="T7" fmla="*/ 40 h 40"/>
                <a:gd name="T8" fmla="*/ 47 w 51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0">
                  <a:moveTo>
                    <a:pt x="47" y="20"/>
                  </a:moveTo>
                  <a:cubicBezTo>
                    <a:pt x="51" y="9"/>
                    <a:pt x="44" y="0"/>
                    <a:pt x="32" y="0"/>
                  </a:cubicBezTo>
                  <a:cubicBezTo>
                    <a:pt x="20" y="0"/>
                    <a:pt x="8" y="9"/>
                    <a:pt x="4" y="20"/>
                  </a:cubicBezTo>
                  <a:cubicBezTo>
                    <a:pt x="0" y="31"/>
                    <a:pt x="7" y="40"/>
                    <a:pt x="19" y="40"/>
                  </a:cubicBezTo>
                  <a:cubicBezTo>
                    <a:pt x="31" y="40"/>
                    <a:pt x="43" y="31"/>
                    <a:pt x="4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2" name="isľídê">
              <a:extLst>
                <a:ext uri="{FF2B5EF4-FFF2-40B4-BE49-F238E27FC236}">
                  <a16:creationId xmlns:a16="http://schemas.microsoft.com/office/drawing/2014/main" id="{23A9FF4D-3CCE-4C8E-8BB7-4B93DB5BED6A}"/>
                </a:ext>
              </a:extLst>
            </p:cNvPr>
            <p:cNvSpPr/>
            <p:nvPr/>
          </p:nvSpPr>
          <p:spPr bwMode="auto">
            <a:xfrm>
              <a:off x="2208259" y="5454801"/>
              <a:ext cx="186697" cy="154295"/>
            </a:xfrm>
            <a:custGeom>
              <a:avLst/>
              <a:gdLst>
                <a:gd name="T0" fmla="*/ 47 w 51"/>
                <a:gd name="T1" fmla="*/ 21 h 42"/>
                <a:gd name="T2" fmla="*/ 33 w 51"/>
                <a:gd name="T3" fmla="*/ 0 h 42"/>
                <a:gd name="T4" fmla="*/ 4 w 51"/>
                <a:gd name="T5" fmla="*/ 21 h 42"/>
                <a:gd name="T6" fmla="*/ 18 w 51"/>
                <a:gd name="T7" fmla="*/ 42 h 42"/>
                <a:gd name="T8" fmla="*/ 47 w 51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2">
                  <a:moveTo>
                    <a:pt x="47" y="21"/>
                  </a:moveTo>
                  <a:cubicBezTo>
                    <a:pt x="51" y="10"/>
                    <a:pt x="45" y="0"/>
                    <a:pt x="33" y="0"/>
                  </a:cubicBezTo>
                  <a:cubicBezTo>
                    <a:pt x="21" y="0"/>
                    <a:pt x="8" y="10"/>
                    <a:pt x="4" y="21"/>
                  </a:cubicBezTo>
                  <a:cubicBezTo>
                    <a:pt x="0" y="32"/>
                    <a:pt x="6" y="42"/>
                    <a:pt x="18" y="42"/>
                  </a:cubicBezTo>
                  <a:cubicBezTo>
                    <a:pt x="30" y="42"/>
                    <a:pt x="44" y="32"/>
                    <a:pt x="47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3" name="íşḷïďè">
              <a:extLst>
                <a:ext uri="{FF2B5EF4-FFF2-40B4-BE49-F238E27FC236}">
                  <a16:creationId xmlns:a16="http://schemas.microsoft.com/office/drawing/2014/main" id="{46EB0BBE-05F1-4B80-A344-DC95F8720C76}"/>
                </a:ext>
              </a:extLst>
            </p:cNvPr>
            <p:cNvSpPr/>
            <p:nvPr/>
          </p:nvSpPr>
          <p:spPr bwMode="auto">
            <a:xfrm>
              <a:off x="2401126" y="5454801"/>
              <a:ext cx="189783" cy="154295"/>
            </a:xfrm>
            <a:custGeom>
              <a:avLst/>
              <a:gdLst>
                <a:gd name="T0" fmla="*/ 48 w 52"/>
                <a:gd name="T1" fmla="*/ 21 h 42"/>
                <a:gd name="T2" fmla="*/ 33 w 52"/>
                <a:gd name="T3" fmla="*/ 0 h 42"/>
                <a:gd name="T4" fmla="*/ 4 w 52"/>
                <a:gd name="T5" fmla="*/ 21 h 42"/>
                <a:gd name="T6" fmla="*/ 19 w 52"/>
                <a:gd name="T7" fmla="*/ 42 h 42"/>
                <a:gd name="T8" fmla="*/ 48 w 52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2">
                  <a:moveTo>
                    <a:pt x="48" y="21"/>
                  </a:moveTo>
                  <a:cubicBezTo>
                    <a:pt x="52" y="10"/>
                    <a:pt x="45" y="0"/>
                    <a:pt x="33" y="0"/>
                  </a:cubicBezTo>
                  <a:cubicBezTo>
                    <a:pt x="21" y="0"/>
                    <a:pt x="8" y="10"/>
                    <a:pt x="4" y="21"/>
                  </a:cubicBezTo>
                  <a:cubicBezTo>
                    <a:pt x="0" y="32"/>
                    <a:pt x="7" y="42"/>
                    <a:pt x="19" y="42"/>
                  </a:cubicBezTo>
                  <a:cubicBezTo>
                    <a:pt x="31" y="42"/>
                    <a:pt x="44" y="32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4" name="íṣľidê">
              <a:extLst>
                <a:ext uri="{FF2B5EF4-FFF2-40B4-BE49-F238E27FC236}">
                  <a16:creationId xmlns:a16="http://schemas.microsoft.com/office/drawing/2014/main" id="{D2A8DE7C-E3D6-4512-9DD4-604EBF75E768}"/>
                </a:ext>
              </a:extLst>
            </p:cNvPr>
            <p:cNvSpPr/>
            <p:nvPr/>
          </p:nvSpPr>
          <p:spPr bwMode="auto">
            <a:xfrm>
              <a:off x="2138826" y="5641497"/>
              <a:ext cx="194411" cy="154295"/>
            </a:xfrm>
            <a:custGeom>
              <a:avLst/>
              <a:gdLst>
                <a:gd name="T0" fmla="*/ 49 w 53"/>
                <a:gd name="T1" fmla="*/ 21 h 42"/>
                <a:gd name="T2" fmla="*/ 34 w 53"/>
                <a:gd name="T3" fmla="*/ 0 h 42"/>
                <a:gd name="T4" fmla="*/ 4 w 53"/>
                <a:gd name="T5" fmla="*/ 21 h 42"/>
                <a:gd name="T6" fmla="*/ 19 w 53"/>
                <a:gd name="T7" fmla="*/ 42 h 42"/>
                <a:gd name="T8" fmla="*/ 49 w 53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2">
                  <a:moveTo>
                    <a:pt x="49" y="21"/>
                  </a:moveTo>
                  <a:cubicBezTo>
                    <a:pt x="53" y="9"/>
                    <a:pt x="46" y="0"/>
                    <a:pt x="34" y="0"/>
                  </a:cubicBezTo>
                  <a:cubicBezTo>
                    <a:pt x="22" y="0"/>
                    <a:pt x="9" y="9"/>
                    <a:pt x="4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5" y="33"/>
                    <a:pt x="49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5" name="îşḷíḋè">
              <a:extLst>
                <a:ext uri="{FF2B5EF4-FFF2-40B4-BE49-F238E27FC236}">
                  <a16:creationId xmlns:a16="http://schemas.microsoft.com/office/drawing/2014/main" id="{3D001D2D-1EAB-4FE9-ADC4-4B9DB3E24D00}"/>
                </a:ext>
              </a:extLst>
            </p:cNvPr>
            <p:cNvSpPr/>
            <p:nvPr/>
          </p:nvSpPr>
          <p:spPr bwMode="auto">
            <a:xfrm>
              <a:off x="2339409" y="5641497"/>
              <a:ext cx="189783" cy="154295"/>
            </a:xfrm>
            <a:custGeom>
              <a:avLst/>
              <a:gdLst>
                <a:gd name="T0" fmla="*/ 48 w 52"/>
                <a:gd name="T1" fmla="*/ 21 h 42"/>
                <a:gd name="T2" fmla="*/ 33 w 52"/>
                <a:gd name="T3" fmla="*/ 0 h 42"/>
                <a:gd name="T4" fmla="*/ 4 w 52"/>
                <a:gd name="T5" fmla="*/ 21 h 42"/>
                <a:gd name="T6" fmla="*/ 19 w 52"/>
                <a:gd name="T7" fmla="*/ 42 h 42"/>
                <a:gd name="T8" fmla="*/ 48 w 52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2">
                  <a:moveTo>
                    <a:pt x="48" y="21"/>
                  </a:moveTo>
                  <a:cubicBezTo>
                    <a:pt x="52" y="9"/>
                    <a:pt x="45" y="0"/>
                    <a:pt x="33" y="0"/>
                  </a:cubicBezTo>
                  <a:cubicBezTo>
                    <a:pt x="21" y="0"/>
                    <a:pt x="8" y="9"/>
                    <a:pt x="4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5" y="33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6" name="iṣľiḍé">
              <a:extLst>
                <a:ext uri="{FF2B5EF4-FFF2-40B4-BE49-F238E27FC236}">
                  <a16:creationId xmlns:a16="http://schemas.microsoft.com/office/drawing/2014/main" id="{FB647091-53F8-4777-AB45-440007AD5065}"/>
                </a:ext>
              </a:extLst>
            </p:cNvPr>
            <p:cNvSpPr/>
            <p:nvPr/>
          </p:nvSpPr>
          <p:spPr bwMode="auto">
            <a:xfrm>
              <a:off x="2539992" y="5641497"/>
              <a:ext cx="186697" cy="154295"/>
            </a:xfrm>
            <a:custGeom>
              <a:avLst/>
              <a:gdLst>
                <a:gd name="T0" fmla="*/ 48 w 51"/>
                <a:gd name="T1" fmla="*/ 21 h 42"/>
                <a:gd name="T2" fmla="*/ 32 w 51"/>
                <a:gd name="T3" fmla="*/ 0 h 42"/>
                <a:gd name="T4" fmla="*/ 3 w 51"/>
                <a:gd name="T5" fmla="*/ 21 h 42"/>
                <a:gd name="T6" fmla="*/ 19 w 51"/>
                <a:gd name="T7" fmla="*/ 42 h 42"/>
                <a:gd name="T8" fmla="*/ 48 w 51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2">
                  <a:moveTo>
                    <a:pt x="48" y="21"/>
                  </a:moveTo>
                  <a:cubicBezTo>
                    <a:pt x="51" y="9"/>
                    <a:pt x="44" y="0"/>
                    <a:pt x="32" y="0"/>
                  </a:cubicBezTo>
                  <a:cubicBezTo>
                    <a:pt x="20" y="0"/>
                    <a:pt x="7" y="9"/>
                    <a:pt x="3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4" y="33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5A63404E-F276-4BB4-A943-F0FD1C4FDC20}"/>
              </a:ext>
            </a:extLst>
          </p:cNvPr>
          <p:cNvGrpSpPr/>
          <p:nvPr userDrawn="1"/>
        </p:nvGrpSpPr>
        <p:grpSpPr>
          <a:xfrm>
            <a:off x="3347202" y="1028700"/>
            <a:ext cx="6008204" cy="3782485"/>
            <a:chOff x="3118602" y="2174966"/>
            <a:chExt cx="3059927" cy="1926387"/>
          </a:xfrm>
        </p:grpSpPr>
        <p:sp>
          <p:nvSpPr>
            <p:cNvPr id="977" name="任意多边形: 形状 976">
              <a:extLst>
                <a:ext uri="{FF2B5EF4-FFF2-40B4-BE49-F238E27FC236}">
                  <a16:creationId xmlns:a16="http://schemas.microsoft.com/office/drawing/2014/main" id="{AF8BF988-05DB-4FE5-8432-9E719688F217}"/>
                </a:ext>
              </a:extLst>
            </p:cNvPr>
            <p:cNvSpPr>
              <a:spLocks/>
            </p:cNvSpPr>
            <p:nvPr userDrawn="1"/>
          </p:nvSpPr>
          <p:spPr>
            <a:xfrm flipH="1">
              <a:off x="3404039" y="2174966"/>
              <a:ext cx="2774490" cy="1589287"/>
            </a:xfrm>
            <a:custGeom>
              <a:avLst/>
              <a:gdLst>
                <a:gd name="connsiteX0" fmla="*/ 0 w 3276004"/>
                <a:gd name="connsiteY0" fmla="*/ 0 h 1589287"/>
                <a:gd name="connsiteX1" fmla="*/ 3276004 w 3276004"/>
                <a:gd name="connsiteY1" fmla="*/ 0 h 1589287"/>
                <a:gd name="connsiteX2" fmla="*/ 3276004 w 3276004"/>
                <a:gd name="connsiteY2" fmla="*/ 1306286 h 1589287"/>
                <a:gd name="connsiteX3" fmla="*/ 2786741 w 3276004"/>
                <a:gd name="connsiteY3" fmla="*/ 1306286 h 1589287"/>
                <a:gd name="connsiteX4" fmla="*/ 2786741 w 3276004"/>
                <a:gd name="connsiteY4" fmla="*/ 1589287 h 1589287"/>
                <a:gd name="connsiteX5" fmla="*/ 2232059 w 3276004"/>
                <a:gd name="connsiteY5" fmla="*/ 1306286 h 1589287"/>
                <a:gd name="connsiteX6" fmla="*/ 0 w 3276004"/>
                <a:gd name="connsiteY6" fmla="*/ 1306286 h 1589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6004" h="1589287">
                  <a:moveTo>
                    <a:pt x="0" y="0"/>
                  </a:moveTo>
                  <a:lnTo>
                    <a:pt x="3276004" y="0"/>
                  </a:lnTo>
                  <a:lnTo>
                    <a:pt x="3276004" y="1306286"/>
                  </a:lnTo>
                  <a:lnTo>
                    <a:pt x="2786741" y="1306286"/>
                  </a:lnTo>
                  <a:lnTo>
                    <a:pt x="2786741" y="1589287"/>
                  </a:lnTo>
                  <a:lnTo>
                    <a:pt x="2232059" y="1306286"/>
                  </a:lnTo>
                  <a:lnTo>
                    <a:pt x="0" y="1306286"/>
                  </a:lnTo>
                  <a:close/>
                </a:path>
              </a:pathLst>
            </a:custGeom>
            <a:solidFill>
              <a:srgbClr val="2A282B">
                <a:lumMod val="10000"/>
                <a:lumOff val="9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tIns="0" bIns="28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78" name="任意多边形: 形状 977">
              <a:extLst>
                <a:ext uri="{FF2B5EF4-FFF2-40B4-BE49-F238E27FC236}">
                  <a16:creationId xmlns:a16="http://schemas.microsoft.com/office/drawing/2014/main" id="{BBCEAE9E-530B-41DD-9178-488201D1C96D}"/>
                </a:ext>
              </a:extLst>
            </p:cNvPr>
            <p:cNvSpPr>
              <a:spLocks/>
            </p:cNvSpPr>
            <p:nvPr userDrawn="1"/>
          </p:nvSpPr>
          <p:spPr>
            <a:xfrm flipH="1">
              <a:off x="3118602" y="2512066"/>
              <a:ext cx="2774490" cy="1589287"/>
            </a:xfrm>
            <a:custGeom>
              <a:avLst/>
              <a:gdLst>
                <a:gd name="connsiteX0" fmla="*/ 0 w 3276004"/>
                <a:gd name="connsiteY0" fmla="*/ 0 h 1589287"/>
                <a:gd name="connsiteX1" fmla="*/ 3276004 w 3276004"/>
                <a:gd name="connsiteY1" fmla="*/ 0 h 1589287"/>
                <a:gd name="connsiteX2" fmla="*/ 3276004 w 3276004"/>
                <a:gd name="connsiteY2" fmla="*/ 1306286 h 1589287"/>
                <a:gd name="connsiteX3" fmla="*/ 2786741 w 3276004"/>
                <a:gd name="connsiteY3" fmla="*/ 1306286 h 1589287"/>
                <a:gd name="connsiteX4" fmla="*/ 2786741 w 3276004"/>
                <a:gd name="connsiteY4" fmla="*/ 1589287 h 1589287"/>
                <a:gd name="connsiteX5" fmla="*/ 2232059 w 3276004"/>
                <a:gd name="connsiteY5" fmla="*/ 1306286 h 1589287"/>
                <a:gd name="connsiteX6" fmla="*/ 0 w 3276004"/>
                <a:gd name="connsiteY6" fmla="*/ 1306286 h 1589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6004" h="1589287">
                  <a:moveTo>
                    <a:pt x="0" y="0"/>
                  </a:moveTo>
                  <a:lnTo>
                    <a:pt x="3276004" y="0"/>
                  </a:lnTo>
                  <a:lnTo>
                    <a:pt x="3276004" y="1306286"/>
                  </a:lnTo>
                  <a:lnTo>
                    <a:pt x="2786741" y="1306286"/>
                  </a:lnTo>
                  <a:lnTo>
                    <a:pt x="2786741" y="1589287"/>
                  </a:lnTo>
                  <a:lnTo>
                    <a:pt x="2232059" y="1306286"/>
                  </a:lnTo>
                  <a:lnTo>
                    <a:pt x="0" y="1306286"/>
                  </a:lnTo>
                  <a:close/>
                </a:path>
              </a:pathLst>
            </a:custGeom>
            <a:solidFill>
              <a:srgbClr val="FFC0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tIns="0" bIns="28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942773" y="2025838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943889" y="2921188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cxnSp>
        <p:nvCxnSpPr>
          <p:cNvPr id="979" name="直接连接符 978">
            <a:extLst>
              <a:ext uri="{FF2B5EF4-FFF2-40B4-BE49-F238E27FC236}">
                <a16:creationId xmlns:a16="http://schemas.microsoft.com/office/drawing/2014/main" id="{D915C367-FFE1-446B-9E24-600235D78A1E}"/>
              </a:ext>
            </a:extLst>
          </p:cNvPr>
          <p:cNvCxnSpPr>
            <a:cxnSpLocks/>
          </p:cNvCxnSpPr>
          <p:nvPr userDrawn="1"/>
        </p:nvCxnSpPr>
        <p:spPr>
          <a:xfrm>
            <a:off x="0" y="5152571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DAA8382C-60D4-4808-97EE-FC2A85647D7D}"/>
              </a:ext>
            </a:extLst>
          </p:cNvPr>
          <p:cNvGrpSpPr/>
          <p:nvPr userDrawn="1"/>
        </p:nvGrpSpPr>
        <p:grpSpPr>
          <a:xfrm flipH="1">
            <a:off x="654511" y="1148111"/>
            <a:ext cx="10865977" cy="4014439"/>
            <a:chOff x="408427" y="1148111"/>
            <a:chExt cx="10865977" cy="4014439"/>
          </a:xfrm>
        </p:grpSpPr>
        <p:grpSp>
          <p:nvGrpSpPr>
            <p:cNvPr id="5" name="c7cd9fd3-95be-4895-a18c-01ed58a211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35638AB8-0FBE-452A-A0E3-65527F7F6B47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"/>
              </p:custDataLst>
            </p:nvPr>
          </p:nvGrpSpPr>
          <p:grpSpPr>
            <a:xfrm>
              <a:off x="654511" y="1531088"/>
              <a:ext cx="8489489" cy="3328361"/>
              <a:chOff x="654511" y="1531088"/>
              <a:chExt cx="10877774" cy="4264704"/>
            </a:xfrm>
            <a:solidFill>
              <a:schemeClr val="bg1">
                <a:lumMod val="95000"/>
              </a:schemeClr>
            </a:solidFill>
          </p:grpSpPr>
          <p:sp>
            <p:nvSpPr>
              <p:cNvPr id="7" name="iṧḻîde">
                <a:extLst>
                  <a:ext uri="{FF2B5EF4-FFF2-40B4-BE49-F238E27FC236}">
                    <a16:creationId xmlns:a16="http://schemas.microsoft.com/office/drawing/2014/main" id="{B36D8EDA-5209-4209-B604-45CEE9B654E3}"/>
                  </a:ext>
                </a:extLst>
              </p:cNvPr>
              <p:cNvSpPr/>
              <p:nvPr/>
            </p:nvSpPr>
            <p:spPr bwMode="auto">
              <a:xfrm>
                <a:off x="4357583" y="1531088"/>
                <a:ext cx="101834" cy="54004"/>
              </a:xfrm>
              <a:custGeom>
                <a:avLst/>
                <a:gdLst>
                  <a:gd name="T0" fmla="*/ 27 w 28"/>
                  <a:gd name="T1" fmla="*/ 7 h 15"/>
                  <a:gd name="T2" fmla="*/ 16 w 28"/>
                  <a:gd name="T3" fmla="*/ 0 h 15"/>
                  <a:gd name="T4" fmla="*/ 1 w 28"/>
                  <a:gd name="T5" fmla="*/ 7 h 15"/>
                  <a:gd name="T6" fmla="*/ 12 w 28"/>
                  <a:gd name="T7" fmla="*/ 15 h 15"/>
                  <a:gd name="T8" fmla="*/ 27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7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7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19" y="15"/>
                      <a:pt x="26" y="12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" name="íṩḷîḑé">
                <a:extLst>
                  <a:ext uri="{FF2B5EF4-FFF2-40B4-BE49-F238E27FC236}">
                    <a16:creationId xmlns:a16="http://schemas.microsoft.com/office/drawing/2014/main" id="{816E29C3-BEFB-4292-8ADF-84D036739FD1}"/>
                  </a:ext>
                </a:extLst>
              </p:cNvPr>
              <p:cNvSpPr/>
              <p:nvPr/>
            </p:nvSpPr>
            <p:spPr bwMode="auto">
              <a:xfrm>
                <a:off x="4474847" y="1531088"/>
                <a:ext cx="101834" cy="54004"/>
              </a:xfrm>
              <a:custGeom>
                <a:avLst/>
                <a:gdLst>
                  <a:gd name="T0" fmla="*/ 27 w 28"/>
                  <a:gd name="T1" fmla="*/ 7 h 15"/>
                  <a:gd name="T2" fmla="*/ 16 w 28"/>
                  <a:gd name="T3" fmla="*/ 0 h 15"/>
                  <a:gd name="T4" fmla="*/ 1 w 28"/>
                  <a:gd name="T5" fmla="*/ 7 h 15"/>
                  <a:gd name="T6" fmla="*/ 13 w 28"/>
                  <a:gd name="T7" fmla="*/ 15 h 15"/>
                  <a:gd name="T8" fmla="*/ 27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7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9" y="0"/>
                      <a:pt x="2" y="3"/>
                      <a:pt x="1" y="7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6" y="12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" name="ïṧliḑè">
                <a:extLst>
                  <a:ext uri="{FF2B5EF4-FFF2-40B4-BE49-F238E27FC236}">
                    <a16:creationId xmlns:a16="http://schemas.microsoft.com/office/drawing/2014/main" id="{D6A0DE8C-68EB-4019-B3F2-CFA0740DDCA1}"/>
                  </a:ext>
                </a:extLst>
              </p:cNvPr>
              <p:cNvSpPr/>
              <p:nvPr/>
            </p:nvSpPr>
            <p:spPr bwMode="auto">
              <a:xfrm>
                <a:off x="4590568" y="1531088"/>
                <a:ext cx="103378" cy="54004"/>
              </a:xfrm>
              <a:custGeom>
                <a:avLst/>
                <a:gdLst>
                  <a:gd name="T0" fmla="*/ 28 w 28"/>
                  <a:gd name="T1" fmla="*/ 7 h 15"/>
                  <a:gd name="T2" fmla="*/ 16 w 28"/>
                  <a:gd name="T3" fmla="*/ 0 h 15"/>
                  <a:gd name="T4" fmla="*/ 1 w 28"/>
                  <a:gd name="T5" fmla="*/ 7 h 15"/>
                  <a:gd name="T6" fmla="*/ 13 w 28"/>
                  <a:gd name="T7" fmla="*/ 15 h 15"/>
                  <a:gd name="T8" fmla="*/ 28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7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9" y="0"/>
                      <a:pt x="2" y="3"/>
                      <a:pt x="1" y="7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0" y="15"/>
                      <a:pt x="27" y="12"/>
                      <a:pt x="2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" name="îśḷïďê">
                <a:extLst>
                  <a:ext uri="{FF2B5EF4-FFF2-40B4-BE49-F238E27FC236}">
                    <a16:creationId xmlns:a16="http://schemas.microsoft.com/office/drawing/2014/main" id="{832A8CBF-2B8E-40AC-A667-4FEEA4AF8093}"/>
                  </a:ext>
                </a:extLst>
              </p:cNvPr>
              <p:cNvSpPr/>
              <p:nvPr/>
            </p:nvSpPr>
            <p:spPr bwMode="auto">
              <a:xfrm>
                <a:off x="4710918" y="1531088"/>
                <a:ext cx="103378" cy="54004"/>
              </a:xfrm>
              <a:custGeom>
                <a:avLst/>
                <a:gdLst>
                  <a:gd name="T0" fmla="*/ 27 w 28"/>
                  <a:gd name="T1" fmla="*/ 7 h 15"/>
                  <a:gd name="T2" fmla="*/ 15 w 28"/>
                  <a:gd name="T3" fmla="*/ 0 h 15"/>
                  <a:gd name="T4" fmla="*/ 1 w 28"/>
                  <a:gd name="T5" fmla="*/ 7 h 15"/>
                  <a:gd name="T6" fmla="*/ 12 w 28"/>
                  <a:gd name="T7" fmla="*/ 15 h 15"/>
                  <a:gd name="T8" fmla="*/ 27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7"/>
                    </a:moveTo>
                    <a:cubicBezTo>
                      <a:pt x="28" y="3"/>
                      <a:pt x="22" y="0"/>
                      <a:pt x="15" y="0"/>
                    </a:cubicBezTo>
                    <a:cubicBezTo>
                      <a:pt x="8" y="0"/>
                      <a:pt x="1" y="3"/>
                      <a:pt x="1" y="7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6" y="12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íšḻïde">
                <a:extLst>
                  <a:ext uri="{FF2B5EF4-FFF2-40B4-BE49-F238E27FC236}">
                    <a16:creationId xmlns:a16="http://schemas.microsoft.com/office/drawing/2014/main" id="{B0C5768A-F530-43EC-A7D2-66662D145333}"/>
                  </a:ext>
                </a:extLst>
              </p:cNvPr>
              <p:cNvSpPr/>
              <p:nvPr/>
            </p:nvSpPr>
            <p:spPr bwMode="auto">
              <a:xfrm>
                <a:off x="4102997" y="1595892"/>
                <a:ext cx="104920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2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6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" name="iS1iḍê">
                <a:extLst>
                  <a:ext uri="{FF2B5EF4-FFF2-40B4-BE49-F238E27FC236}">
                    <a16:creationId xmlns:a16="http://schemas.microsoft.com/office/drawing/2014/main" id="{9E9DCA97-0DCC-4ACF-9831-1DDC97FDD287}"/>
                  </a:ext>
                </a:extLst>
              </p:cNvPr>
              <p:cNvSpPr/>
              <p:nvPr/>
            </p:nvSpPr>
            <p:spPr bwMode="auto">
              <a:xfrm>
                <a:off x="4223347" y="1595892"/>
                <a:ext cx="101834" cy="55546"/>
              </a:xfrm>
              <a:custGeom>
                <a:avLst/>
                <a:gdLst>
                  <a:gd name="T0" fmla="*/ 27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2 w 28"/>
                  <a:gd name="T7" fmla="*/ 15 h 15"/>
                  <a:gd name="T8" fmla="*/ 27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8"/>
                    </a:moveTo>
                    <a:cubicBezTo>
                      <a:pt x="28" y="4"/>
                      <a:pt x="23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19" y="15"/>
                      <a:pt x="26" y="12"/>
                      <a:pt x="27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îsḻíḍè">
                <a:extLst>
                  <a:ext uri="{FF2B5EF4-FFF2-40B4-BE49-F238E27FC236}">
                    <a16:creationId xmlns:a16="http://schemas.microsoft.com/office/drawing/2014/main" id="{5EE84105-977F-455B-90F3-28B376F33755}"/>
                  </a:ext>
                </a:extLst>
              </p:cNvPr>
              <p:cNvSpPr/>
              <p:nvPr/>
            </p:nvSpPr>
            <p:spPr bwMode="auto">
              <a:xfrm>
                <a:off x="4339067" y="1595892"/>
                <a:ext cx="106464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3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í$lïďé">
                <a:extLst>
                  <a:ext uri="{FF2B5EF4-FFF2-40B4-BE49-F238E27FC236}">
                    <a16:creationId xmlns:a16="http://schemas.microsoft.com/office/drawing/2014/main" id="{CF606871-EDD7-4FDE-87B6-2FE4EEFA40B0}"/>
                  </a:ext>
                </a:extLst>
              </p:cNvPr>
              <p:cNvSpPr/>
              <p:nvPr/>
            </p:nvSpPr>
            <p:spPr bwMode="auto">
              <a:xfrm>
                <a:off x="4459417" y="1595892"/>
                <a:ext cx="103378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4"/>
                      <a:pt x="23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îşḷiďè">
                <a:extLst>
                  <a:ext uri="{FF2B5EF4-FFF2-40B4-BE49-F238E27FC236}">
                    <a16:creationId xmlns:a16="http://schemas.microsoft.com/office/drawing/2014/main" id="{658CC228-DF1D-4C83-8F37-55060A7C4F36}"/>
                  </a:ext>
                </a:extLst>
              </p:cNvPr>
              <p:cNvSpPr/>
              <p:nvPr/>
            </p:nvSpPr>
            <p:spPr bwMode="auto">
              <a:xfrm>
                <a:off x="4579767" y="1595892"/>
                <a:ext cx="103378" cy="55546"/>
              </a:xfrm>
              <a:custGeom>
                <a:avLst/>
                <a:gdLst>
                  <a:gd name="T0" fmla="*/ 27 w 28"/>
                  <a:gd name="T1" fmla="*/ 8 h 15"/>
                  <a:gd name="T2" fmla="*/ 15 w 28"/>
                  <a:gd name="T3" fmla="*/ 0 h 15"/>
                  <a:gd name="T4" fmla="*/ 1 w 28"/>
                  <a:gd name="T5" fmla="*/ 8 h 15"/>
                  <a:gd name="T6" fmla="*/ 12 w 28"/>
                  <a:gd name="T7" fmla="*/ 15 h 15"/>
                  <a:gd name="T8" fmla="*/ 27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8"/>
                    </a:moveTo>
                    <a:cubicBezTo>
                      <a:pt x="28" y="4"/>
                      <a:pt x="23" y="0"/>
                      <a:pt x="15" y="0"/>
                    </a:cubicBezTo>
                    <a:cubicBezTo>
                      <a:pt x="8" y="0"/>
                      <a:pt x="1" y="4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6" y="12"/>
                      <a:pt x="27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ṡḻiḋe">
                <a:extLst>
                  <a:ext uri="{FF2B5EF4-FFF2-40B4-BE49-F238E27FC236}">
                    <a16:creationId xmlns:a16="http://schemas.microsoft.com/office/drawing/2014/main" id="{EADA58A2-0F3C-4346-B115-52886CF0871C}"/>
                  </a:ext>
                </a:extLst>
              </p:cNvPr>
              <p:cNvSpPr/>
              <p:nvPr/>
            </p:nvSpPr>
            <p:spPr bwMode="auto">
              <a:xfrm>
                <a:off x="4697031" y="1595892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4"/>
                      <a:pt x="23" y="0"/>
                      <a:pt x="16" y="0"/>
                    </a:cubicBezTo>
                    <a:cubicBezTo>
                      <a:pt x="8" y="0"/>
                      <a:pt x="2" y="4"/>
                      <a:pt x="1" y="8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ṣľîḍé">
                <a:extLst>
                  <a:ext uri="{FF2B5EF4-FFF2-40B4-BE49-F238E27FC236}">
                    <a16:creationId xmlns:a16="http://schemas.microsoft.com/office/drawing/2014/main" id="{E4A8E776-9310-4C67-972E-BE24DED5E962}"/>
                  </a:ext>
                </a:extLst>
              </p:cNvPr>
              <p:cNvSpPr/>
              <p:nvPr/>
            </p:nvSpPr>
            <p:spPr bwMode="auto">
              <a:xfrm>
                <a:off x="3839153" y="1665325"/>
                <a:ext cx="109550" cy="55546"/>
              </a:xfrm>
              <a:custGeom>
                <a:avLst/>
                <a:gdLst>
                  <a:gd name="T0" fmla="*/ 29 w 30"/>
                  <a:gd name="T1" fmla="*/ 8 h 15"/>
                  <a:gd name="T2" fmla="*/ 18 w 30"/>
                  <a:gd name="T3" fmla="*/ 0 h 15"/>
                  <a:gd name="T4" fmla="*/ 2 w 30"/>
                  <a:gd name="T5" fmla="*/ 8 h 15"/>
                  <a:gd name="T6" fmla="*/ 13 w 30"/>
                  <a:gd name="T7" fmla="*/ 15 h 15"/>
                  <a:gd name="T8" fmla="*/ 29 w 30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5">
                    <a:moveTo>
                      <a:pt x="29" y="8"/>
                    </a:moveTo>
                    <a:cubicBezTo>
                      <a:pt x="30" y="3"/>
                      <a:pt x="25" y="0"/>
                      <a:pt x="18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šlíḍè">
                <a:extLst>
                  <a:ext uri="{FF2B5EF4-FFF2-40B4-BE49-F238E27FC236}">
                    <a16:creationId xmlns:a16="http://schemas.microsoft.com/office/drawing/2014/main" id="{6ADBFD19-906A-4C91-9220-9D0946202542}"/>
                  </a:ext>
                </a:extLst>
              </p:cNvPr>
              <p:cNvSpPr/>
              <p:nvPr/>
            </p:nvSpPr>
            <p:spPr bwMode="auto">
              <a:xfrm>
                <a:off x="3959502" y="1665325"/>
                <a:ext cx="109550" cy="55546"/>
              </a:xfrm>
              <a:custGeom>
                <a:avLst/>
                <a:gdLst>
                  <a:gd name="T0" fmla="*/ 29 w 30"/>
                  <a:gd name="T1" fmla="*/ 8 h 15"/>
                  <a:gd name="T2" fmla="*/ 17 w 30"/>
                  <a:gd name="T3" fmla="*/ 0 h 15"/>
                  <a:gd name="T4" fmla="*/ 2 w 30"/>
                  <a:gd name="T5" fmla="*/ 8 h 15"/>
                  <a:gd name="T6" fmla="*/ 13 w 30"/>
                  <a:gd name="T7" fmla="*/ 15 h 15"/>
                  <a:gd name="T8" fmla="*/ 29 w 30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5">
                    <a:moveTo>
                      <a:pt x="29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sḻíḍé">
                <a:extLst>
                  <a:ext uri="{FF2B5EF4-FFF2-40B4-BE49-F238E27FC236}">
                    <a16:creationId xmlns:a16="http://schemas.microsoft.com/office/drawing/2014/main" id="{DE295F9D-C618-41AF-8618-C8E1A2500ACE}"/>
                  </a:ext>
                </a:extLst>
              </p:cNvPr>
              <p:cNvSpPr/>
              <p:nvPr/>
            </p:nvSpPr>
            <p:spPr bwMode="auto">
              <a:xfrm>
                <a:off x="4079852" y="1665325"/>
                <a:ext cx="109550" cy="55546"/>
              </a:xfrm>
              <a:custGeom>
                <a:avLst/>
                <a:gdLst>
                  <a:gd name="T0" fmla="*/ 29 w 30"/>
                  <a:gd name="T1" fmla="*/ 8 h 15"/>
                  <a:gd name="T2" fmla="*/ 17 w 30"/>
                  <a:gd name="T3" fmla="*/ 0 h 15"/>
                  <a:gd name="T4" fmla="*/ 2 w 30"/>
                  <a:gd name="T5" fmla="*/ 8 h 15"/>
                  <a:gd name="T6" fmla="*/ 13 w 30"/>
                  <a:gd name="T7" fmla="*/ 15 h 15"/>
                  <a:gd name="T8" fmla="*/ 29 w 30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5">
                    <a:moveTo>
                      <a:pt x="29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0" y="15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ṩḻíde">
                <a:extLst>
                  <a:ext uri="{FF2B5EF4-FFF2-40B4-BE49-F238E27FC236}">
                    <a16:creationId xmlns:a16="http://schemas.microsoft.com/office/drawing/2014/main" id="{B2E0DC67-4044-4263-A89E-C974C2E720B3}"/>
                  </a:ext>
                </a:extLst>
              </p:cNvPr>
              <p:cNvSpPr/>
              <p:nvPr/>
            </p:nvSpPr>
            <p:spPr bwMode="auto">
              <a:xfrm>
                <a:off x="4204831" y="1665325"/>
                <a:ext cx="104920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2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3"/>
                      <a:pt x="24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ís1ïḑe">
                <a:extLst>
                  <a:ext uri="{FF2B5EF4-FFF2-40B4-BE49-F238E27FC236}">
                    <a16:creationId xmlns:a16="http://schemas.microsoft.com/office/drawing/2014/main" id="{6C58DC5C-B754-46C8-BADA-44389F3A498A}"/>
                  </a:ext>
                </a:extLst>
              </p:cNvPr>
              <p:cNvSpPr/>
              <p:nvPr/>
            </p:nvSpPr>
            <p:spPr bwMode="auto">
              <a:xfrm>
                <a:off x="4325181" y="1665325"/>
                <a:ext cx="104920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2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3"/>
                      <a:pt x="23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ṥḷïḋê">
                <a:extLst>
                  <a:ext uri="{FF2B5EF4-FFF2-40B4-BE49-F238E27FC236}">
                    <a16:creationId xmlns:a16="http://schemas.microsoft.com/office/drawing/2014/main" id="{C25CB21F-6348-48EF-952D-7B5363459BF3}"/>
                  </a:ext>
                </a:extLst>
              </p:cNvPr>
              <p:cNvSpPr/>
              <p:nvPr/>
            </p:nvSpPr>
            <p:spPr bwMode="auto">
              <a:xfrm>
                <a:off x="444553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2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ŝḷîḍe">
                <a:extLst>
                  <a:ext uri="{FF2B5EF4-FFF2-40B4-BE49-F238E27FC236}">
                    <a16:creationId xmlns:a16="http://schemas.microsoft.com/office/drawing/2014/main" id="{7C3D7A4B-CC73-4ED1-9DCA-52393F1E741F}"/>
                  </a:ext>
                </a:extLst>
              </p:cNvPr>
              <p:cNvSpPr/>
              <p:nvPr/>
            </p:nvSpPr>
            <p:spPr bwMode="auto">
              <a:xfrm>
                <a:off x="456588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i$ľíḑé">
                <a:extLst>
                  <a:ext uri="{FF2B5EF4-FFF2-40B4-BE49-F238E27FC236}">
                    <a16:creationId xmlns:a16="http://schemas.microsoft.com/office/drawing/2014/main" id="{51D04896-8117-4F25-9E5F-4DBF7DD33888}"/>
                  </a:ext>
                </a:extLst>
              </p:cNvPr>
              <p:cNvSpPr/>
              <p:nvPr/>
            </p:nvSpPr>
            <p:spPr bwMode="auto">
              <a:xfrm>
                <a:off x="468623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1" y="3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Sḻíḍê">
                <a:extLst>
                  <a:ext uri="{FF2B5EF4-FFF2-40B4-BE49-F238E27FC236}">
                    <a16:creationId xmlns:a16="http://schemas.microsoft.com/office/drawing/2014/main" id="{BF8DE09B-7546-43FA-90DC-436A8DE6BC76}"/>
                  </a:ext>
                </a:extLst>
              </p:cNvPr>
              <p:cNvSpPr/>
              <p:nvPr/>
            </p:nvSpPr>
            <p:spPr bwMode="auto">
              <a:xfrm>
                <a:off x="480658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5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5" y="0"/>
                    </a:cubicBezTo>
                    <a:cubicBezTo>
                      <a:pt x="8" y="0"/>
                      <a:pt x="1" y="3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íṧļiḍè">
                <a:extLst>
                  <a:ext uri="{FF2B5EF4-FFF2-40B4-BE49-F238E27FC236}">
                    <a16:creationId xmlns:a16="http://schemas.microsoft.com/office/drawing/2014/main" id="{15DEA467-86A2-405F-8249-307ACC159901}"/>
                  </a:ext>
                </a:extLst>
              </p:cNvPr>
              <p:cNvSpPr/>
              <p:nvPr/>
            </p:nvSpPr>
            <p:spPr bwMode="auto">
              <a:xfrm>
                <a:off x="4926930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5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5" y="0"/>
                    </a:cubicBezTo>
                    <a:cubicBezTo>
                      <a:pt x="8" y="0"/>
                      <a:pt x="1" y="3"/>
                      <a:pt x="1" y="8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1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ŝliḑê">
                <a:extLst>
                  <a:ext uri="{FF2B5EF4-FFF2-40B4-BE49-F238E27FC236}">
                    <a16:creationId xmlns:a16="http://schemas.microsoft.com/office/drawing/2014/main" id="{4DC09FE3-1E9C-4C96-A1BD-8C693BA6EAC5}"/>
                  </a:ext>
                </a:extLst>
              </p:cNvPr>
              <p:cNvSpPr/>
              <p:nvPr/>
            </p:nvSpPr>
            <p:spPr bwMode="auto">
              <a:xfrm>
                <a:off x="3697202" y="1734757"/>
                <a:ext cx="109550" cy="58632"/>
              </a:xfrm>
              <a:custGeom>
                <a:avLst/>
                <a:gdLst>
                  <a:gd name="T0" fmla="*/ 28 w 30"/>
                  <a:gd name="T1" fmla="*/ 8 h 16"/>
                  <a:gd name="T2" fmla="*/ 17 w 30"/>
                  <a:gd name="T3" fmla="*/ 0 h 16"/>
                  <a:gd name="T4" fmla="*/ 1 w 30"/>
                  <a:gd name="T5" fmla="*/ 8 h 16"/>
                  <a:gd name="T6" fmla="*/ 12 w 30"/>
                  <a:gd name="T7" fmla="*/ 16 h 16"/>
                  <a:gd name="T8" fmla="*/ 28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8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1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îṣḻiḑé">
                <a:extLst>
                  <a:ext uri="{FF2B5EF4-FFF2-40B4-BE49-F238E27FC236}">
                    <a16:creationId xmlns:a16="http://schemas.microsoft.com/office/drawing/2014/main" id="{AA043858-CC1B-45A2-B8AB-A940A129915F}"/>
                  </a:ext>
                </a:extLst>
              </p:cNvPr>
              <p:cNvSpPr/>
              <p:nvPr/>
            </p:nvSpPr>
            <p:spPr bwMode="auto">
              <a:xfrm>
                <a:off x="3817551" y="1734757"/>
                <a:ext cx="109550" cy="58632"/>
              </a:xfrm>
              <a:custGeom>
                <a:avLst/>
                <a:gdLst>
                  <a:gd name="T0" fmla="*/ 29 w 30"/>
                  <a:gd name="T1" fmla="*/ 8 h 16"/>
                  <a:gd name="T2" fmla="*/ 18 w 30"/>
                  <a:gd name="T3" fmla="*/ 0 h 16"/>
                  <a:gd name="T4" fmla="*/ 1 w 30"/>
                  <a:gd name="T5" fmla="*/ 8 h 16"/>
                  <a:gd name="T6" fmla="*/ 13 w 30"/>
                  <a:gd name="T7" fmla="*/ 16 h 16"/>
                  <a:gd name="T8" fmla="*/ 29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9" y="8"/>
                    </a:moveTo>
                    <a:cubicBezTo>
                      <a:pt x="30" y="3"/>
                      <a:pt x="25" y="0"/>
                      <a:pt x="18" y="0"/>
                    </a:cubicBezTo>
                    <a:cubicBezTo>
                      <a:pt x="10" y="0"/>
                      <a:pt x="3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ïšḻîdê">
                <a:extLst>
                  <a:ext uri="{FF2B5EF4-FFF2-40B4-BE49-F238E27FC236}">
                    <a16:creationId xmlns:a16="http://schemas.microsoft.com/office/drawing/2014/main" id="{1560246C-16F3-4B81-9C3A-66A4E6241882}"/>
                  </a:ext>
                </a:extLst>
              </p:cNvPr>
              <p:cNvSpPr/>
              <p:nvPr/>
            </p:nvSpPr>
            <p:spPr bwMode="auto">
              <a:xfrm>
                <a:off x="3940987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7 w 29"/>
                  <a:gd name="T3" fmla="*/ 0 h 16"/>
                  <a:gd name="T4" fmla="*/ 1 w 29"/>
                  <a:gd name="T5" fmla="*/ 8 h 16"/>
                  <a:gd name="T6" fmla="*/ 12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4" y="0"/>
                      <a:pt x="17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2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îšľíḋé">
                <a:extLst>
                  <a:ext uri="{FF2B5EF4-FFF2-40B4-BE49-F238E27FC236}">
                    <a16:creationId xmlns:a16="http://schemas.microsoft.com/office/drawing/2014/main" id="{73547BEF-3F1C-4AAB-8029-1C903962EA6B}"/>
                  </a:ext>
                </a:extLst>
              </p:cNvPr>
              <p:cNvSpPr/>
              <p:nvPr/>
            </p:nvSpPr>
            <p:spPr bwMode="auto">
              <a:xfrm>
                <a:off x="4062880" y="1734757"/>
                <a:ext cx="108006" cy="58632"/>
              </a:xfrm>
              <a:custGeom>
                <a:avLst/>
                <a:gdLst>
                  <a:gd name="T0" fmla="*/ 28 w 30"/>
                  <a:gd name="T1" fmla="*/ 8 h 16"/>
                  <a:gd name="T2" fmla="*/ 17 w 30"/>
                  <a:gd name="T3" fmla="*/ 0 h 16"/>
                  <a:gd name="T4" fmla="*/ 1 w 30"/>
                  <a:gd name="T5" fmla="*/ 8 h 16"/>
                  <a:gd name="T6" fmla="*/ 13 w 30"/>
                  <a:gd name="T7" fmla="*/ 16 h 16"/>
                  <a:gd name="T8" fmla="*/ 28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8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iṥ1ïḑè">
                <a:extLst>
                  <a:ext uri="{FF2B5EF4-FFF2-40B4-BE49-F238E27FC236}">
                    <a16:creationId xmlns:a16="http://schemas.microsoft.com/office/drawing/2014/main" id="{491AF4AB-AA41-4E04-9EF3-BF7054B9578F}"/>
                  </a:ext>
                </a:extLst>
              </p:cNvPr>
              <p:cNvSpPr/>
              <p:nvPr/>
            </p:nvSpPr>
            <p:spPr bwMode="auto">
              <a:xfrm>
                <a:off x="4183230" y="1734757"/>
                <a:ext cx="109550" cy="58632"/>
              </a:xfrm>
              <a:custGeom>
                <a:avLst/>
                <a:gdLst>
                  <a:gd name="T0" fmla="*/ 29 w 30"/>
                  <a:gd name="T1" fmla="*/ 8 h 16"/>
                  <a:gd name="T2" fmla="*/ 17 w 30"/>
                  <a:gd name="T3" fmla="*/ 0 h 16"/>
                  <a:gd name="T4" fmla="*/ 2 w 30"/>
                  <a:gd name="T5" fmla="*/ 8 h 16"/>
                  <a:gd name="T6" fmla="*/ 13 w 30"/>
                  <a:gd name="T7" fmla="*/ 16 h 16"/>
                  <a:gd name="T8" fmla="*/ 29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9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6" y="16"/>
                      <a:pt x="13" y="16"/>
                    </a:cubicBezTo>
                    <a:cubicBezTo>
                      <a:pt x="21" y="16"/>
                      <a:pt x="28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ṧlíḋê">
                <a:extLst>
                  <a:ext uri="{FF2B5EF4-FFF2-40B4-BE49-F238E27FC236}">
                    <a16:creationId xmlns:a16="http://schemas.microsoft.com/office/drawing/2014/main" id="{75678D12-13C3-4986-BE5B-D6B83311C8AA}"/>
                  </a:ext>
                </a:extLst>
              </p:cNvPr>
              <p:cNvSpPr/>
              <p:nvPr/>
            </p:nvSpPr>
            <p:spPr bwMode="auto">
              <a:xfrm>
                <a:off x="4306666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6 w 29"/>
                  <a:gd name="T3" fmla="*/ 0 h 16"/>
                  <a:gd name="T4" fmla="*/ 1 w 29"/>
                  <a:gd name="T5" fmla="*/ 8 h 16"/>
                  <a:gd name="T6" fmla="*/ 13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4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Sļîḓê">
                <a:extLst>
                  <a:ext uri="{FF2B5EF4-FFF2-40B4-BE49-F238E27FC236}">
                    <a16:creationId xmlns:a16="http://schemas.microsoft.com/office/drawing/2014/main" id="{2D26B8A9-6267-4D12-97ED-CF6DCCA05675}"/>
                  </a:ext>
                </a:extLst>
              </p:cNvPr>
              <p:cNvSpPr/>
              <p:nvPr/>
            </p:nvSpPr>
            <p:spPr bwMode="auto">
              <a:xfrm>
                <a:off x="4427016" y="1734757"/>
                <a:ext cx="109550" cy="58632"/>
              </a:xfrm>
              <a:custGeom>
                <a:avLst/>
                <a:gdLst>
                  <a:gd name="T0" fmla="*/ 29 w 30"/>
                  <a:gd name="T1" fmla="*/ 8 h 16"/>
                  <a:gd name="T2" fmla="*/ 17 w 30"/>
                  <a:gd name="T3" fmla="*/ 0 h 16"/>
                  <a:gd name="T4" fmla="*/ 1 w 30"/>
                  <a:gd name="T5" fmla="*/ 8 h 16"/>
                  <a:gd name="T6" fmla="*/ 13 w 30"/>
                  <a:gd name="T7" fmla="*/ 16 h 16"/>
                  <a:gd name="T8" fmla="*/ 29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9" y="8"/>
                    </a:moveTo>
                    <a:cubicBezTo>
                      <a:pt x="30" y="3"/>
                      <a:pt x="24" y="0"/>
                      <a:pt x="17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6" y="16"/>
                      <a:pt x="13" y="16"/>
                    </a:cubicBezTo>
                    <a:cubicBezTo>
                      <a:pt x="21" y="16"/>
                      <a:pt x="28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ṡľíḍé">
                <a:extLst>
                  <a:ext uri="{FF2B5EF4-FFF2-40B4-BE49-F238E27FC236}">
                    <a16:creationId xmlns:a16="http://schemas.microsoft.com/office/drawing/2014/main" id="{5125E309-3D19-4DBD-AE54-14B89101083F}"/>
                  </a:ext>
                </a:extLst>
              </p:cNvPr>
              <p:cNvSpPr/>
              <p:nvPr/>
            </p:nvSpPr>
            <p:spPr bwMode="auto">
              <a:xfrm>
                <a:off x="4550451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6 w 29"/>
                  <a:gd name="T3" fmla="*/ 0 h 16"/>
                  <a:gd name="T4" fmla="*/ 1 w 29"/>
                  <a:gd name="T5" fmla="*/ 8 h 16"/>
                  <a:gd name="T6" fmla="*/ 13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ļîḍè">
                <a:extLst>
                  <a:ext uri="{FF2B5EF4-FFF2-40B4-BE49-F238E27FC236}">
                    <a16:creationId xmlns:a16="http://schemas.microsoft.com/office/drawing/2014/main" id="{EFFE6A2F-5D7D-4195-A369-B7FA53B042B3}"/>
                  </a:ext>
                </a:extLst>
              </p:cNvPr>
              <p:cNvSpPr/>
              <p:nvPr/>
            </p:nvSpPr>
            <p:spPr bwMode="auto">
              <a:xfrm>
                <a:off x="4670801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6 w 29"/>
                  <a:gd name="T3" fmla="*/ 0 h 16"/>
                  <a:gd name="T4" fmla="*/ 1 w 29"/>
                  <a:gd name="T5" fmla="*/ 8 h 16"/>
                  <a:gd name="T6" fmla="*/ 13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4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6" y="16"/>
                      <a:pt x="13" y="16"/>
                    </a:cubicBezTo>
                    <a:cubicBezTo>
                      <a:pt x="21" y="16"/>
                      <a:pt x="28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şľîde">
                <a:extLst>
                  <a:ext uri="{FF2B5EF4-FFF2-40B4-BE49-F238E27FC236}">
                    <a16:creationId xmlns:a16="http://schemas.microsoft.com/office/drawing/2014/main" id="{94642237-EC1E-406A-8DD2-FBFA647324E2}"/>
                  </a:ext>
                </a:extLst>
              </p:cNvPr>
              <p:cNvSpPr/>
              <p:nvPr/>
            </p:nvSpPr>
            <p:spPr bwMode="auto">
              <a:xfrm>
                <a:off x="4795779" y="1734757"/>
                <a:ext cx="101834" cy="58632"/>
              </a:xfrm>
              <a:custGeom>
                <a:avLst/>
                <a:gdLst>
                  <a:gd name="T0" fmla="*/ 28 w 28"/>
                  <a:gd name="T1" fmla="*/ 8 h 16"/>
                  <a:gd name="T2" fmla="*/ 15 w 28"/>
                  <a:gd name="T3" fmla="*/ 0 h 16"/>
                  <a:gd name="T4" fmla="*/ 0 w 28"/>
                  <a:gd name="T5" fmla="*/ 8 h 16"/>
                  <a:gd name="T6" fmla="*/ 13 w 28"/>
                  <a:gd name="T7" fmla="*/ 16 h 16"/>
                  <a:gd name="T8" fmla="*/ 28 w 28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6">
                    <a:moveTo>
                      <a:pt x="28" y="8"/>
                    </a:moveTo>
                    <a:cubicBezTo>
                      <a:pt x="28" y="3"/>
                      <a:pt x="23" y="0"/>
                      <a:pt x="15" y="0"/>
                    </a:cubicBezTo>
                    <a:cubicBezTo>
                      <a:pt x="8" y="0"/>
                      <a:pt x="1" y="3"/>
                      <a:pt x="0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ṣ1íḓê">
                <a:extLst>
                  <a:ext uri="{FF2B5EF4-FFF2-40B4-BE49-F238E27FC236}">
                    <a16:creationId xmlns:a16="http://schemas.microsoft.com/office/drawing/2014/main" id="{A4A499E5-0761-4F80-9A1C-7B27AB92101F}"/>
                  </a:ext>
                </a:extLst>
              </p:cNvPr>
              <p:cNvSpPr/>
              <p:nvPr/>
            </p:nvSpPr>
            <p:spPr bwMode="auto">
              <a:xfrm>
                <a:off x="3919386" y="1804190"/>
                <a:ext cx="109550" cy="61718"/>
              </a:xfrm>
              <a:custGeom>
                <a:avLst/>
                <a:gdLst>
                  <a:gd name="T0" fmla="*/ 28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2 w 30"/>
                  <a:gd name="T7" fmla="*/ 17 h 17"/>
                  <a:gd name="T8" fmla="*/ 28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8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7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íṥļiḓe">
                <a:extLst>
                  <a:ext uri="{FF2B5EF4-FFF2-40B4-BE49-F238E27FC236}">
                    <a16:creationId xmlns:a16="http://schemas.microsoft.com/office/drawing/2014/main" id="{1CBB729D-9A70-468E-A007-1CFF5D0AB9C7}"/>
                  </a:ext>
                </a:extLst>
              </p:cNvPr>
              <p:cNvSpPr/>
              <p:nvPr/>
            </p:nvSpPr>
            <p:spPr bwMode="auto">
              <a:xfrm>
                <a:off x="4039736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8 w 30"/>
                  <a:gd name="T3" fmla="*/ 0 h 17"/>
                  <a:gd name="T4" fmla="*/ 2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8" y="0"/>
                    </a:cubicBezTo>
                    <a:cubicBezTo>
                      <a:pt x="10" y="0"/>
                      <a:pt x="3" y="4"/>
                      <a:pt x="2" y="9"/>
                    </a:cubicBezTo>
                    <a:cubicBezTo>
                      <a:pt x="0" y="13"/>
                      <a:pt x="6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$líḓê">
                <a:extLst>
                  <a:ext uri="{FF2B5EF4-FFF2-40B4-BE49-F238E27FC236}">
                    <a16:creationId xmlns:a16="http://schemas.microsoft.com/office/drawing/2014/main" id="{439CBCCC-B4EB-40C2-9F78-FB7E37B0CB25}"/>
                  </a:ext>
                </a:extLst>
              </p:cNvPr>
              <p:cNvSpPr/>
              <p:nvPr/>
            </p:nvSpPr>
            <p:spPr bwMode="auto">
              <a:xfrm>
                <a:off x="4164715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3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iṧ1îdê">
                <a:extLst>
                  <a:ext uri="{FF2B5EF4-FFF2-40B4-BE49-F238E27FC236}">
                    <a16:creationId xmlns:a16="http://schemas.microsoft.com/office/drawing/2014/main" id="{937E5266-448B-4F32-A165-0AC4C1BFA88B}"/>
                  </a:ext>
                </a:extLst>
              </p:cNvPr>
              <p:cNvSpPr/>
              <p:nvPr/>
            </p:nvSpPr>
            <p:spPr bwMode="auto">
              <a:xfrm>
                <a:off x="4288151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4" y="0"/>
                      <a:pt x="17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ïṣľïḑè">
                <a:extLst>
                  <a:ext uri="{FF2B5EF4-FFF2-40B4-BE49-F238E27FC236}">
                    <a16:creationId xmlns:a16="http://schemas.microsoft.com/office/drawing/2014/main" id="{7B89CFF1-640F-4284-81E7-C8EFF6162623}"/>
                  </a:ext>
                </a:extLst>
              </p:cNvPr>
              <p:cNvSpPr/>
              <p:nvPr/>
            </p:nvSpPr>
            <p:spPr bwMode="auto">
              <a:xfrm>
                <a:off x="4413129" y="1804190"/>
                <a:ext cx="104920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śḻîḓe">
                <a:extLst>
                  <a:ext uri="{FF2B5EF4-FFF2-40B4-BE49-F238E27FC236}">
                    <a16:creationId xmlns:a16="http://schemas.microsoft.com/office/drawing/2014/main" id="{05D1EB3D-BC02-40D3-9E35-627B49B9221A}"/>
                  </a:ext>
                </a:extLst>
              </p:cNvPr>
              <p:cNvSpPr/>
              <p:nvPr/>
            </p:nvSpPr>
            <p:spPr bwMode="auto">
              <a:xfrm>
                <a:off x="4536564" y="1804190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8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7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ïṡļîďê">
                <a:extLst>
                  <a:ext uri="{FF2B5EF4-FFF2-40B4-BE49-F238E27FC236}">
                    <a16:creationId xmlns:a16="http://schemas.microsoft.com/office/drawing/2014/main" id="{7C9694E1-CE64-4568-B124-D037C3B29C3D}"/>
                  </a:ext>
                </a:extLst>
              </p:cNvPr>
              <p:cNvSpPr/>
              <p:nvPr/>
            </p:nvSpPr>
            <p:spPr bwMode="auto">
              <a:xfrm>
                <a:off x="4660000" y="1804190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0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3" y="0"/>
                      <a:pt x="16" y="0"/>
                    </a:cubicBezTo>
                    <a:cubicBezTo>
                      <a:pt x="8" y="0"/>
                      <a:pt x="1" y="4"/>
                      <a:pt x="0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7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ïṣḷíḋe">
                <a:extLst>
                  <a:ext uri="{FF2B5EF4-FFF2-40B4-BE49-F238E27FC236}">
                    <a16:creationId xmlns:a16="http://schemas.microsoft.com/office/drawing/2014/main" id="{65CC99DF-A7AA-4B87-BD15-EEA83098187C}"/>
                  </a:ext>
                </a:extLst>
              </p:cNvPr>
              <p:cNvSpPr/>
              <p:nvPr/>
            </p:nvSpPr>
            <p:spPr bwMode="auto">
              <a:xfrm>
                <a:off x="4780350" y="1804190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4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ṡlíḍè">
                <a:extLst>
                  <a:ext uri="{FF2B5EF4-FFF2-40B4-BE49-F238E27FC236}">
                    <a16:creationId xmlns:a16="http://schemas.microsoft.com/office/drawing/2014/main" id="{66501C6D-9EB8-49D0-A158-08E5662EE950}"/>
                  </a:ext>
                </a:extLst>
              </p:cNvPr>
              <p:cNvSpPr/>
              <p:nvPr/>
            </p:nvSpPr>
            <p:spPr bwMode="auto">
              <a:xfrm>
                <a:off x="4022764" y="1878251"/>
                <a:ext cx="108006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ïśļiḑe">
                <a:extLst>
                  <a:ext uri="{FF2B5EF4-FFF2-40B4-BE49-F238E27FC236}">
                    <a16:creationId xmlns:a16="http://schemas.microsoft.com/office/drawing/2014/main" id="{938DEA7C-CA29-4D2E-82A6-24DD5C689E3C}"/>
                  </a:ext>
                </a:extLst>
              </p:cNvPr>
              <p:cNvSpPr/>
              <p:nvPr/>
            </p:nvSpPr>
            <p:spPr bwMode="auto">
              <a:xfrm>
                <a:off x="4146199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íṥḻíďè">
                <a:extLst>
                  <a:ext uri="{FF2B5EF4-FFF2-40B4-BE49-F238E27FC236}">
                    <a16:creationId xmlns:a16="http://schemas.microsoft.com/office/drawing/2014/main" id="{B4238163-3B01-4E92-8660-6B4574D864EF}"/>
                  </a:ext>
                </a:extLst>
              </p:cNvPr>
              <p:cNvSpPr/>
              <p:nvPr/>
            </p:nvSpPr>
            <p:spPr bwMode="auto">
              <a:xfrm>
                <a:off x="4269635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iṧľiḑè">
                <a:extLst>
                  <a:ext uri="{FF2B5EF4-FFF2-40B4-BE49-F238E27FC236}">
                    <a16:creationId xmlns:a16="http://schemas.microsoft.com/office/drawing/2014/main" id="{34AA1D2B-0015-4281-A961-CE32F4392D3F}"/>
                  </a:ext>
                </a:extLst>
              </p:cNvPr>
              <p:cNvSpPr/>
              <p:nvPr/>
            </p:nvSpPr>
            <p:spPr bwMode="auto">
              <a:xfrm>
                <a:off x="4394613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4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íṡḻíḑè">
                <a:extLst>
                  <a:ext uri="{FF2B5EF4-FFF2-40B4-BE49-F238E27FC236}">
                    <a16:creationId xmlns:a16="http://schemas.microsoft.com/office/drawing/2014/main" id="{12D1AB3A-3675-49A0-A022-3FAA8EE4021D}"/>
                  </a:ext>
                </a:extLst>
              </p:cNvPr>
              <p:cNvSpPr/>
              <p:nvPr/>
            </p:nvSpPr>
            <p:spPr bwMode="auto">
              <a:xfrm>
                <a:off x="4522678" y="1878251"/>
                <a:ext cx="104920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8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ṩľiḑe">
                <a:extLst>
                  <a:ext uri="{FF2B5EF4-FFF2-40B4-BE49-F238E27FC236}">
                    <a16:creationId xmlns:a16="http://schemas.microsoft.com/office/drawing/2014/main" id="{AEC58B45-C9B8-450D-B6B9-888E5808D0AA}"/>
                  </a:ext>
                </a:extLst>
              </p:cNvPr>
              <p:cNvSpPr/>
              <p:nvPr/>
            </p:nvSpPr>
            <p:spPr bwMode="auto">
              <a:xfrm>
                <a:off x="4646114" y="1878251"/>
                <a:ext cx="104920" cy="61718"/>
              </a:xfrm>
              <a:custGeom>
                <a:avLst/>
                <a:gdLst>
                  <a:gd name="T0" fmla="*/ 29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8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ïşḷîḑè">
                <a:extLst>
                  <a:ext uri="{FF2B5EF4-FFF2-40B4-BE49-F238E27FC236}">
                    <a16:creationId xmlns:a16="http://schemas.microsoft.com/office/drawing/2014/main" id="{7C84E6EF-01D4-4C5E-953B-F08301515774}"/>
                  </a:ext>
                </a:extLst>
              </p:cNvPr>
              <p:cNvSpPr/>
              <p:nvPr/>
            </p:nvSpPr>
            <p:spPr bwMode="auto">
              <a:xfrm>
                <a:off x="3999619" y="1953855"/>
                <a:ext cx="114178" cy="63261"/>
              </a:xfrm>
              <a:custGeom>
                <a:avLst/>
                <a:gdLst>
                  <a:gd name="T0" fmla="*/ 29 w 31"/>
                  <a:gd name="T1" fmla="*/ 8 h 17"/>
                  <a:gd name="T2" fmla="*/ 18 w 31"/>
                  <a:gd name="T3" fmla="*/ 0 h 17"/>
                  <a:gd name="T4" fmla="*/ 1 w 31"/>
                  <a:gd name="T5" fmla="*/ 8 h 17"/>
                  <a:gd name="T6" fmla="*/ 13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31" y="4"/>
                      <a:pt x="25" y="0"/>
                      <a:pt x="18" y="0"/>
                    </a:cubicBezTo>
                    <a:cubicBezTo>
                      <a:pt x="10" y="0"/>
                      <a:pt x="2" y="4"/>
                      <a:pt x="1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îŝḷíḍè">
                <a:extLst>
                  <a:ext uri="{FF2B5EF4-FFF2-40B4-BE49-F238E27FC236}">
                    <a16:creationId xmlns:a16="http://schemas.microsoft.com/office/drawing/2014/main" id="{2CAE882B-C601-4D50-8E2F-5895731655D2}"/>
                  </a:ext>
                </a:extLst>
              </p:cNvPr>
              <p:cNvSpPr/>
              <p:nvPr/>
            </p:nvSpPr>
            <p:spPr bwMode="auto">
              <a:xfrm>
                <a:off x="4124598" y="1953855"/>
                <a:ext cx="112636" cy="63261"/>
              </a:xfrm>
              <a:custGeom>
                <a:avLst/>
                <a:gdLst>
                  <a:gd name="T0" fmla="*/ 30 w 31"/>
                  <a:gd name="T1" fmla="*/ 8 h 17"/>
                  <a:gd name="T2" fmla="*/ 18 w 31"/>
                  <a:gd name="T3" fmla="*/ 0 h 17"/>
                  <a:gd name="T4" fmla="*/ 2 w 31"/>
                  <a:gd name="T5" fmla="*/ 8 h 17"/>
                  <a:gd name="T6" fmla="*/ 14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31" y="4"/>
                      <a:pt x="26" y="0"/>
                      <a:pt x="18" y="0"/>
                    </a:cubicBezTo>
                    <a:cubicBezTo>
                      <a:pt x="10" y="0"/>
                      <a:pt x="3" y="4"/>
                      <a:pt x="2" y="8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9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ïṣḷiḋé">
                <a:extLst>
                  <a:ext uri="{FF2B5EF4-FFF2-40B4-BE49-F238E27FC236}">
                    <a16:creationId xmlns:a16="http://schemas.microsoft.com/office/drawing/2014/main" id="{54CE962C-E84A-4B37-A97B-972C9BA7FF66}"/>
                  </a:ext>
                </a:extLst>
              </p:cNvPr>
              <p:cNvSpPr/>
              <p:nvPr/>
            </p:nvSpPr>
            <p:spPr bwMode="auto">
              <a:xfrm>
                <a:off x="4252662" y="1953855"/>
                <a:ext cx="112636" cy="63261"/>
              </a:xfrm>
              <a:custGeom>
                <a:avLst/>
                <a:gdLst>
                  <a:gd name="T0" fmla="*/ 29 w 31"/>
                  <a:gd name="T1" fmla="*/ 8 h 17"/>
                  <a:gd name="T2" fmla="*/ 17 w 31"/>
                  <a:gd name="T3" fmla="*/ 0 h 17"/>
                  <a:gd name="T4" fmla="*/ 1 w 31"/>
                  <a:gd name="T5" fmla="*/ 8 h 17"/>
                  <a:gd name="T6" fmla="*/ 13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31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ïsḷïde">
                <a:extLst>
                  <a:ext uri="{FF2B5EF4-FFF2-40B4-BE49-F238E27FC236}">
                    <a16:creationId xmlns:a16="http://schemas.microsoft.com/office/drawing/2014/main" id="{C3CC32BA-9C48-470D-9C41-1A26315312D7}"/>
                  </a:ext>
                </a:extLst>
              </p:cNvPr>
              <p:cNvSpPr/>
              <p:nvPr/>
            </p:nvSpPr>
            <p:spPr bwMode="auto">
              <a:xfrm>
                <a:off x="4106083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8 w 31"/>
                  <a:gd name="T3" fmla="*/ 0 h 17"/>
                  <a:gd name="T4" fmla="*/ 1 w 31"/>
                  <a:gd name="T5" fmla="*/ 9 h 17"/>
                  <a:gd name="T6" fmla="*/ 13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31" y="4"/>
                      <a:pt x="25" y="0"/>
                      <a:pt x="18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íṣḷiďe">
                <a:extLst>
                  <a:ext uri="{FF2B5EF4-FFF2-40B4-BE49-F238E27FC236}">
                    <a16:creationId xmlns:a16="http://schemas.microsoft.com/office/drawing/2014/main" id="{F8F1B1BB-844E-4750-B022-C93608C33540}"/>
                  </a:ext>
                </a:extLst>
              </p:cNvPr>
              <p:cNvSpPr/>
              <p:nvPr/>
            </p:nvSpPr>
            <p:spPr bwMode="auto">
              <a:xfrm>
                <a:off x="4883728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6 w 30"/>
                  <a:gd name="T3" fmla="*/ 0 h 17"/>
                  <a:gd name="T4" fmla="*/ 1 w 30"/>
                  <a:gd name="T5" fmla="*/ 8 h 17"/>
                  <a:gd name="T6" fmla="*/ 14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ï$ḻïḍê">
                <a:extLst>
                  <a:ext uri="{FF2B5EF4-FFF2-40B4-BE49-F238E27FC236}">
                    <a16:creationId xmlns:a16="http://schemas.microsoft.com/office/drawing/2014/main" id="{DB40E7D2-21ED-42CA-ABBF-1EC5B1A7E6A2}"/>
                  </a:ext>
                </a:extLst>
              </p:cNvPr>
              <p:cNvSpPr/>
              <p:nvPr/>
            </p:nvSpPr>
            <p:spPr bwMode="auto">
              <a:xfrm>
                <a:off x="5010250" y="1953855"/>
                <a:ext cx="106464" cy="63261"/>
              </a:xfrm>
              <a:custGeom>
                <a:avLst/>
                <a:gdLst>
                  <a:gd name="T0" fmla="*/ 29 w 29"/>
                  <a:gd name="T1" fmla="*/ 8 h 17"/>
                  <a:gd name="T2" fmla="*/ 16 w 29"/>
                  <a:gd name="T3" fmla="*/ 0 h 17"/>
                  <a:gd name="T4" fmla="*/ 1 w 29"/>
                  <a:gd name="T5" fmla="*/ 8 h 17"/>
                  <a:gd name="T6" fmla="*/ 14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9" y="4"/>
                      <a:pt x="23" y="0"/>
                      <a:pt x="16" y="0"/>
                    </a:cubicBezTo>
                    <a:cubicBezTo>
                      <a:pt x="8" y="0"/>
                      <a:pt x="1" y="4"/>
                      <a:pt x="1" y="8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8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ṩ1ïḑê">
                <a:extLst>
                  <a:ext uri="{FF2B5EF4-FFF2-40B4-BE49-F238E27FC236}">
                    <a16:creationId xmlns:a16="http://schemas.microsoft.com/office/drawing/2014/main" id="{B161FFC3-1B12-4BAF-8A76-7365027BD1D1}"/>
                  </a:ext>
                </a:extLst>
              </p:cNvPr>
              <p:cNvSpPr/>
              <p:nvPr/>
            </p:nvSpPr>
            <p:spPr bwMode="auto">
              <a:xfrm>
                <a:off x="6525423" y="1953855"/>
                <a:ext cx="104920" cy="63261"/>
              </a:xfrm>
              <a:custGeom>
                <a:avLst/>
                <a:gdLst>
                  <a:gd name="T0" fmla="*/ 28 w 29"/>
                  <a:gd name="T1" fmla="*/ 8 h 17"/>
                  <a:gd name="T2" fmla="*/ 13 w 29"/>
                  <a:gd name="T3" fmla="*/ 0 h 17"/>
                  <a:gd name="T4" fmla="*/ 0 w 29"/>
                  <a:gd name="T5" fmla="*/ 8 h 17"/>
                  <a:gd name="T6" fmla="*/ 15 w 29"/>
                  <a:gd name="T7" fmla="*/ 17 h 17"/>
                  <a:gd name="T8" fmla="*/ 28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0" y="8"/>
                    </a:cubicBezTo>
                    <a:cubicBezTo>
                      <a:pt x="1" y="13"/>
                      <a:pt x="8" y="17"/>
                      <a:pt x="15" y="17"/>
                    </a:cubicBezTo>
                    <a:cubicBezTo>
                      <a:pt x="23" y="17"/>
                      <a:pt x="29" y="13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íS1íḍê">
                <a:extLst>
                  <a:ext uri="{FF2B5EF4-FFF2-40B4-BE49-F238E27FC236}">
                    <a16:creationId xmlns:a16="http://schemas.microsoft.com/office/drawing/2014/main" id="{8E0B8F0C-7EE4-4563-ADCD-A46ACAB4682A}"/>
                  </a:ext>
                </a:extLst>
              </p:cNvPr>
              <p:cNvSpPr/>
              <p:nvPr/>
            </p:nvSpPr>
            <p:spPr bwMode="auto">
              <a:xfrm>
                <a:off x="6533137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4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îS1ïḍè">
                <a:extLst>
                  <a:ext uri="{FF2B5EF4-FFF2-40B4-BE49-F238E27FC236}">
                    <a16:creationId xmlns:a16="http://schemas.microsoft.com/office/drawing/2014/main" id="{E9350232-258B-4585-9B04-DB20DCF42435}"/>
                  </a:ext>
                </a:extLst>
              </p:cNvPr>
              <p:cNvSpPr/>
              <p:nvPr/>
            </p:nvSpPr>
            <p:spPr bwMode="auto">
              <a:xfrm>
                <a:off x="6539309" y="2108150"/>
                <a:ext cx="109550" cy="64804"/>
              </a:xfrm>
              <a:custGeom>
                <a:avLst/>
                <a:gdLst>
                  <a:gd name="T0" fmla="*/ 30 w 30"/>
                  <a:gd name="T1" fmla="*/ 9 h 18"/>
                  <a:gd name="T2" fmla="*/ 14 w 30"/>
                  <a:gd name="T3" fmla="*/ 0 h 18"/>
                  <a:gd name="T4" fmla="*/ 1 w 30"/>
                  <a:gd name="T5" fmla="*/ 9 h 18"/>
                  <a:gd name="T6" fmla="*/ 16 w 30"/>
                  <a:gd name="T7" fmla="*/ 18 h 18"/>
                  <a:gd name="T8" fmla="*/ 30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íşḻîḍê">
                <a:extLst>
                  <a:ext uri="{FF2B5EF4-FFF2-40B4-BE49-F238E27FC236}">
                    <a16:creationId xmlns:a16="http://schemas.microsoft.com/office/drawing/2014/main" id="{8FD676CB-7AA8-4F68-B739-D8EDE12FB0CB}"/>
                  </a:ext>
                </a:extLst>
              </p:cNvPr>
              <p:cNvSpPr/>
              <p:nvPr/>
            </p:nvSpPr>
            <p:spPr bwMode="auto">
              <a:xfrm>
                <a:off x="6557824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8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îṥḷîḑe">
                <a:extLst>
                  <a:ext uri="{FF2B5EF4-FFF2-40B4-BE49-F238E27FC236}">
                    <a16:creationId xmlns:a16="http://schemas.microsoft.com/office/drawing/2014/main" id="{80702C11-20BA-471B-B7DD-BAA1EACDF9B4}"/>
                  </a:ext>
                </a:extLst>
              </p:cNvPr>
              <p:cNvSpPr/>
              <p:nvPr/>
            </p:nvSpPr>
            <p:spPr bwMode="auto">
              <a:xfrm>
                <a:off x="6153572" y="2108150"/>
                <a:ext cx="109550" cy="64804"/>
              </a:xfrm>
              <a:custGeom>
                <a:avLst/>
                <a:gdLst>
                  <a:gd name="T0" fmla="*/ 30 w 30"/>
                  <a:gd name="T1" fmla="*/ 9 h 18"/>
                  <a:gd name="T2" fmla="*/ 15 w 30"/>
                  <a:gd name="T3" fmla="*/ 0 h 18"/>
                  <a:gd name="T4" fmla="*/ 1 w 30"/>
                  <a:gd name="T5" fmla="*/ 9 h 18"/>
                  <a:gd name="T6" fmla="*/ 16 w 30"/>
                  <a:gd name="T7" fmla="*/ 18 h 18"/>
                  <a:gd name="T8" fmla="*/ 30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30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íS1ïḑê">
                <a:extLst>
                  <a:ext uri="{FF2B5EF4-FFF2-40B4-BE49-F238E27FC236}">
                    <a16:creationId xmlns:a16="http://schemas.microsoft.com/office/drawing/2014/main" id="{292367BC-BAE0-4ACA-A112-46485E8B88DC}"/>
                  </a:ext>
                </a:extLst>
              </p:cNvPr>
              <p:cNvSpPr/>
              <p:nvPr/>
            </p:nvSpPr>
            <p:spPr bwMode="auto">
              <a:xfrm>
                <a:off x="6284723" y="2108150"/>
                <a:ext cx="104920" cy="64804"/>
              </a:xfrm>
              <a:custGeom>
                <a:avLst/>
                <a:gdLst>
                  <a:gd name="T0" fmla="*/ 29 w 29"/>
                  <a:gd name="T1" fmla="*/ 9 h 18"/>
                  <a:gd name="T2" fmla="*/ 14 w 29"/>
                  <a:gd name="T3" fmla="*/ 0 h 18"/>
                  <a:gd name="T4" fmla="*/ 0 w 29"/>
                  <a:gd name="T5" fmla="*/ 9 h 18"/>
                  <a:gd name="T6" fmla="*/ 15 w 29"/>
                  <a:gd name="T7" fmla="*/ 18 h 18"/>
                  <a:gd name="T8" fmla="*/ 29 w 29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8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8"/>
                      <a:pt x="15" y="18"/>
                    </a:cubicBezTo>
                    <a:cubicBezTo>
                      <a:pt x="23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íṧļïḑê">
                <a:extLst>
                  <a:ext uri="{FF2B5EF4-FFF2-40B4-BE49-F238E27FC236}">
                    <a16:creationId xmlns:a16="http://schemas.microsoft.com/office/drawing/2014/main" id="{0F837B8E-8595-401C-92F0-7F77F60E782A}"/>
                  </a:ext>
                </a:extLst>
              </p:cNvPr>
              <p:cNvSpPr/>
              <p:nvPr/>
            </p:nvSpPr>
            <p:spPr bwMode="auto">
              <a:xfrm>
                <a:off x="6412787" y="2108150"/>
                <a:ext cx="108006" cy="64804"/>
              </a:xfrm>
              <a:custGeom>
                <a:avLst/>
                <a:gdLst>
                  <a:gd name="T0" fmla="*/ 29 w 30"/>
                  <a:gd name="T1" fmla="*/ 9 h 18"/>
                  <a:gd name="T2" fmla="*/ 14 w 30"/>
                  <a:gd name="T3" fmla="*/ 0 h 18"/>
                  <a:gd name="T4" fmla="*/ 1 w 30"/>
                  <a:gd name="T5" fmla="*/ 9 h 18"/>
                  <a:gd name="T6" fmla="*/ 16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išlïḋê">
                <a:extLst>
                  <a:ext uri="{FF2B5EF4-FFF2-40B4-BE49-F238E27FC236}">
                    <a16:creationId xmlns:a16="http://schemas.microsoft.com/office/drawing/2014/main" id="{60A633D8-C1FE-4647-AF68-D05E14F6AF76}"/>
                  </a:ext>
                </a:extLst>
              </p:cNvPr>
              <p:cNvSpPr/>
              <p:nvPr/>
            </p:nvSpPr>
            <p:spPr bwMode="auto">
              <a:xfrm>
                <a:off x="6287809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1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ïşḷîḍè">
                <a:extLst>
                  <a:ext uri="{FF2B5EF4-FFF2-40B4-BE49-F238E27FC236}">
                    <a16:creationId xmlns:a16="http://schemas.microsoft.com/office/drawing/2014/main" id="{31938C3F-8584-4606-A0DD-915EAFFE1C5E}"/>
                  </a:ext>
                </a:extLst>
              </p:cNvPr>
              <p:cNvSpPr/>
              <p:nvPr/>
            </p:nvSpPr>
            <p:spPr bwMode="auto">
              <a:xfrm>
                <a:off x="6418959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ïş1iḋe">
                <a:extLst>
                  <a:ext uri="{FF2B5EF4-FFF2-40B4-BE49-F238E27FC236}">
                    <a16:creationId xmlns:a16="http://schemas.microsoft.com/office/drawing/2014/main" id="{89F96DB6-1CFA-4D7D-9503-2528F508B237}"/>
                  </a:ext>
                </a:extLst>
              </p:cNvPr>
              <p:cNvSpPr/>
              <p:nvPr/>
            </p:nvSpPr>
            <p:spPr bwMode="auto">
              <a:xfrm>
                <a:off x="6295524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iṧľïdè">
                <a:extLst>
                  <a:ext uri="{FF2B5EF4-FFF2-40B4-BE49-F238E27FC236}">
                    <a16:creationId xmlns:a16="http://schemas.microsoft.com/office/drawing/2014/main" id="{1FA9F2A3-2C6D-417A-BD99-775D1066353C}"/>
                  </a:ext>
                </a:extLst>
              </p:cNvPr>
              <p:cNvSpPr/>
              <p:nvPr/>
            </p:nvSpPr>
            <p:spPr bwMode="auto">
              <a:xfrm>
                <a:off x="6426674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6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ïšľíḍé">
                <a:extLst>
                  <a:ext uri="{FF2B5EF4-FFF2-40B4-BE49-F238E27FC236}">
                    <a16:creationId xmlns:a16="http://schemas.microsoft.com/office/drawing/2014/main" id="{23874390-9582-43B4-9E10-1984EABB222E}"/>
                  </a:ext>
                </a:extLst>
              </p:cNvPr>
              <p:cNvSpPr/>
              <p:nvPr/>
            </p:nvSpPr>
            <p:spPr bwMode="auto">
              <a:xfrm>
                <a:off x="6298609" y="2356565"/>
                <a:ext cx="114178" cy="69433"/>
              </a:xfrm>
              <a:custGeom>
                <a:avLst/>
                <a:gdLst>
                  <a:gd name="T0" fmla="*/ 31 w 31"/>
                  <a:gd name="T1" fmla="*/ 9 h 19"/>
                  <a:gd name="T2" fmla="*/ 15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5"/>
                      <a:pt x="8" y="19"/>
                      <a:pt x="17" y="19"/>
                    </a:cubicBezTo>
                    <a:cubicBezTo>
                      <a:pt x="25" y="19"/>
                      <a:pt x="31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ṥľïḓè">
                <a:extLst>
                  <a:ext uri="{FF2B5EF4-FFF2-40B4-BE49-F238E27FC236}">
                    <a16:creationId xmlns:a16="http://schemas.microsoft.com/office/drawing/2014/main" id="{945F339E-658D-4752-9CA9-80C2AC07DFD5}"/>
                  </a:ext>
                </a:extLst>
              </p:cNvPr>
              <p:cNvSpPr/>
              <p:nvPr/>
            </p:nvSpPr>
            <p:spPr bwMode="auto">
              <a:xfrm>
                <a:off x="6434389" y="2356565"/>
                <a:ext cx="112636" cy="69433"/>
              </a:xfrm>
              <a:custGeom>
                <a:avLst/>
                <a:gdLst>
                  <a:gd name="T0" fmla="*/ 31 w 31"/>
                  <a:gd name="T1" fmla="*/ 9 h 19"/>
                  <a:gd name="T2" fmla="*/ 15 w 31"/>
                  <a:gd name="T3" fmla="*/ 0 h 19"/>
                  <a:gd name="T4" fmla="*/ 1 w 31"/>
                  <a:gd name="T5" fmla="*/ 9 h 19"/>
                  <a:gd name="T6" fmla="*/ 16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5"/>
                      <a:pt x="8" y="19"/>
                      <a:pt x="16" y="19"/>
                    </a:cubicBezTo>
                    <a:cubicBezTo>
                      <a:pt x="25" y="19"/>
                      <a:pt x="31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îšlïḓé">
                <a:extLst>
                  <a:ext uri="{FF2B5EF4-FFF2-40B4-BE49-F238E27FC236}">
                    <a16:creationId xmlns:a16="http://schemas.microsoft.com/office/drawing/2014/main" id="{29B762F2-16FE-4799-8B67-D24FF307A930}"/>
                  </a:ext>
                </a:extLst>
              </p:cNvPr>
              <p:cNvSpPr/>
              <p:nvPr/>
            </p:nvSpPr>
            <p:spPr bwMode="auto">
              <a:xfrm>
                <a:off x="5886643" y="1878251"/>
                <a:ext cx="101834" cy="61718"/>
              </a:xfrm>
              <a:custGeom>
                <a:avLst/>
                <a:gdLst>
                  <a:gd name="T0" fmla="*/ 28 w 28"/>
                  <a:gd name="T1" fmla="*/ 9 h 17"/>
                  <a:gd name="T2" fmla="*/ 14 w 28"/>
                  <a:gd name="T3" fmla="*/ 0 h 17"/>
                  <a:gd name="T4" fmla="*/ 0 w 28"/>
                  <a:gd name="T5" fmla="*/ 9 h 17"/>
                  <a:gd name="T6" fmla="*/ 14 w 28"/>
                  <a:gd name="T7" fmla="*/ 17 h 17"/>
                  <a:gd name="T8" fmla="*/ 28 w 28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íşļîďé">
                <a:extLst>
                  <a:ext uri="{FF2B5EF4-FFF2-40B4-BE49-F238E27FC236}">
                    <a16:creationId xmlns:a16="http://schemas.microsoft.com/office/drawing/2014/main" id="{82FABF5A-8D2F-4664-99B1-EA6989AEEB3E}"/>
                  </a:ext>
                </a:extLst>
              </p:cNvPr>
              <p:cNvSpPr/>
              <p:nvPr/>
            </p:nvSpPr>
            <p:spPr bwMode="auto">
              <a:xfrm>
                <a:off x="6010079" y="1878251"/>
                <a:ext cx="103378" cy="61718"/>
              </a:xfrm>
              <a:custGeom>
                <a:avLst/>
                <a:gdLst>
                  <a:gd name="T0" fmla="*/ 28 w 28"/>
                  <a:gd name="T1" fmla="*/ 9 h 17"/>
                  <a:gd name="T2" fmla="*/ 14 w 28"/>
                  <a:gd name="T3" fmla="*/ 0 h 17"/>
                  <a:gd name="T4" fmla="*/ 0 w 28"/>
                  <a:gd name="T5" fmla="*/ 9 h 17"/>
                  <a:gd name="T6" fmla="*/ 14 w 28"/>
                  <a:gd name="T7" fmla="*/ 17 h 17"/>
                  <a:gd name="T8" fmla="*/ 28 w 28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îśľíḓé">
                <a:extLst>
                  <a:ext uri="{FF2B5EF4-FFF2-40B4-BE49-F238E27FC236}">
                    <a16:creationId xmlns:a16="http://schemas.microsoft.com/office/drawing/2014/main" id="{C291BCA5-9072-49A3-9B11-6730F2C58471}"/>
                  </a:ext>
                </a:extLst>
              </p:cNvPr>
              <p:cNvSpPr/>
              <p:nvPr/>
            </p:nvSpPr>
            <p:spPr bwMode="auto">
              <a:xfrm>
                <a:off x="6135057" y="1878251"/>
                <a:ext cx="101834" cy="61718"/>
              </a:xfrm>
              <a:custGeom>
                <a:avLst/>
                <a:gdLst>
                  <a:gd name="T0" fmla="*/ 28 w 28"/>
                  <a:gd name="T1" fmla="*/ 9 h 17"/>
                  <a:gd name="T2" fmla="*/ 14 w 28"/>
                  <a:gd name="T3" fmla="*/ 0 h 17"/>
                  <a:gd name="T4" fmla="*/ 0 w 28"/>
                  <a:gd name="T5" fmla="*/ 9 h 17"/>
                  <a:gd name="T6" fmla="*/ 15 w 28"/>
                  <a:gd name="T7" fmla="*/ 17 h 17"/>
                  <a:gd name="T8" fmla="*/ 28 w 28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2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íSḻïdè">
                <a:extLst>
                  <a:ext uri="{FF2B5EF4-FFF2-40B4-BE49-F238E27FC236}">
                    <a16:creationId xmlns:a16="http://schemas.microsoft.com/office/drawing/2014/main" id="{C2260028-BC9B-460D-A7F0-E522F3C9F9E3}"/>
                  </a:ext>
                </a:extLst>
              </p:cNvPr>
              <p:cNvSpPr/>
              <p:nvPr/>
            </p:nvSpPr>
            <p:spPr bwMode="auto">
              <a:xfrm>
                <a:off x="6258493" y="1878251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íŝļiḓê">
                <a:extLst>
                  <a:ext uri="{FF2B5EF4-FFF2-40B4-BE49-F238E27FC236}">
                    <a16:creationId xmlns:a16="http://schemas.microsoft.com/office/drawing/2014/main" id="{864C3D1C-A489-4C21-9230-28CC965C6D46}"/>
                  </a:ext>
                </a:extLst>
              </p:cNvPr>
              <p:cNvSpPr/>
              <p:nvPr/>
            </p:nvSpPr>
            <p:spPr bwMode="auto">
              <a:xfrm>
                <a:off x="6383472" y="1878251"/>
                <a:ext cx="104920" cy="61718"/>
              </a:xfrm>
              <a:custGeom>
                <a:avLst/>
                <a:gdLst>
                  <a:gd name="T0" fmla="*/ 28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iSlîḍè">
                <a:extLst>
                  <a:ext uri="{FF2B5EF4-FFF2-40B4-BE49-F238E27FC236}">
                    <a16:creationId xmlns:a16="http://schemas.microsoft.com/office/drawing/2014/main" id="{2643B9DD-5544-4AD2-BE94-EF52FA1386A9}"/>
                  </a:ext>
                </a:extLst>
              </p:cNvPr>
              <p:cNvSpPr/>
              <p:nvPr/>
            </p:nvSpPr>
            <p:spPr bwMode="auto">
              <a:xfrm>
                <a:off x="5758578" y="1953855"/>
                <a:ext cx="106464" cy="63261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ï$1ïḑe">
                <a:extLst>
                  <a:ext uri="{FF2B5EF4-FFF2-40B4-BE49-F238E27FC236}">
                    <a16:creationId xmlns:a16="http://schemas.microsoft.com/office/drawing/2014/main" id="{45110A95-32C0-4970-9676-B33D3549664A}"/>
                  </a:ext>
                </a:extLst>
              </p:cNvPr>
              <p:cNvSpPr/>
              <p:nvPr/>
            </p:nvSpPr>
            <p:spPr bwMode="auto">
              <a:xfrm>
                <a:off x="5886643" y="1953855"/>
                <a:ext cx="101834" cy="63261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ïs1ïḑe">
                <a:extLst>
                  <a:ext uri="{FF2B5EF4-FFF2-40B4-BE49-F238E27FC236}">
                    <a16:creationId xmlns:a16="http://schemas.microsoft.com/office/drawing/2014/main" id="{2D16D014-5D9A-4903-AAC0-7A0BDF51291B}"/>
                  </a:ext>
                </a:extLst>
              </p:cNvPr>
              <p:cNvSpPr/>
              <p:nvPr/>
            </p:nvSpPr>
            <p:spPr bwMode="auto">
              <a:xfrm>
                <a:off x="6010079" y="1953855"/>
                <a:ext cx="106464" cy="63261"/>
              </a:xfrm>
              <a:custGeom>
                <a:avLst/>
                <a:gdLst>
                  <a:gd name="T0" fmla="*/ 29 w 29"/>
                  <a:gd name="T1" fmla="*/ 8 h 17"/>
                  <a:gd name="T2" fmla="*/ 14 w 29"/>
                  <a:gd name="T3" fmla="*/ 0 h 17"/>
                  <a:gd name="T4" fmla="*/ 1 w 29"/>
                  <a:gd name="T5" fmla="*/ 8 h 17"/>
                  <a:gd name="T6" fmla="*/ 15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7" y="0"/>
                      <a:pt x="0" y="4"/>
                      <a:pt x="1" y="8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iṡḷîḍé">
                <a:extLst>
                  <a:ext uri="{FF2B5EF4-FFF2-40B4-BE49-F238E27FC236}">
                    <a16:creationId xmlns:a16="http://schemas.microsoft.com/office/drawing/2014/main" id="{589752E6-3D45-414A-AFA7-7176C1027C8D}"/>
                  </a:ext>
                </a:extLst>
              </p:cNvPr>
              <p:cNvSpPr/>
              <p:nvPr/>
            </p:nvSpPr>
            <p:spPr bwMode="auto">
              <a:xfrm>
                <a:off x="6138143" y="1953855"/>
                <a:ext cx="106464" cy="63261"/>
              </a:xfrm>
              <a:custGeom>
                <a:avLst/>
                <a:gdLst>
                  <a:gd name="T0" fmla="*/ 28 w 29"/>
                  <a:gd name="T1" fmla="*/ 8 h 17"/>
                  <a:gd name="T2" fmla="*/ 14 w 29"/>
                  <a:gd name="T3" fmla="*/ 0 h 17"/>
                  <a:gd name="T4" fmla="*/ 0 w 29"/>
                  <a:gd name="T5" fmla="*/ 8 h 17"/>
                  <a:gd name="T6" fmla="*/ 15 w 29"/>
                  <a:gd name="T7" fmla="*/ 17 h 17"/>
                  <a:gd name="T8" fmla="*/ 28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8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8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îŝḷïḍe">
                <a:extLst>
                  <a:ext uri="{FF2B5EF4-FFF2-40B4-BE49-F238E27FC236}">
                    <a16:creationId xmlns:a16="http://schemas.microsoft.com/office/drawing/2014/main" id="{427E1EE8-D698-4678-AB9C-D7113F015EA9}"/>
                  </a:ext>
                </a:extLst>
              </p:cNvPr>
              <p:cNvSpPr/>
              <p:nvPr/>
            </p:nvSpPr>
            <p:spPr bwMode="auto">
              <a:xfrm>
                <a:off x="6263122" y="1953855"/>
                <a:ext cx="104920" cy="63261"/>
              </a:xfrm>
              <a:custGeom>
                <a:avLst/>
                <a:gdLst>
                  <a:gd name="T0" fmla="*/ 29 w 29"/>
                  <a:gd name="T1" fmla="*/ 8 h 17"/>
                  <a:gd name="T2" fmla="*/ 14 w 29"/>
                  <a:gd name="T3" fmla="*/ 0 h 17"/>
                  <a:gd name="T4" fmla="*/ 1 w 29"/>
                  <a:gd name="T5" fmla="*/ 8 h 17"/>
                  <a:gd name="T6" fmla="*/ 15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1" y="13"/>
                      <a:pt x="8" y="17"/>
                      <a:pt x="15" y="17"/>
                    </a:cubicBezTo>
                    <a:cubicBezTo>
                      <a:pt x="23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islîḑê">
                <a:extLst>
                  <a:ext uri="{FF2B5EF4-FFF2-40B4-BE49-F238E27FC236}">
                    <a16:creationId xmlns:a16="http://schemas.microsoft.com/office/drawing/2014/main" id="{F67355B0-DB42-475A-9486-309309AE808F}"/>
                  </a:ext>
                </a:extLst>
              </p:cNvPr>
              <p:cNvSpPr/>
              <p:nvPr/>
            </p:nvSpPr>
            <p:spPr bwMode="auto">
              <a:xfrm>
                <a:off x="6389644" y="1953855"/>
                <a:ext cx="106464" cy="63261"/>
              </a:xfrm>
              <a:custGeom>
                <a:avLst/>
                <a:gdLst>
                  <a:gd name="T0" fmla="*/ 28 w 29"/>
                  <a:gd name="T1" fmla="*/ 8 h 17"/>
                  <a:gd name="T2" fmla="*/ 14 w 29"/>
                  <a:gd name="T3" fmla="*/ 0 h 17"/>
                  <a:gd name="T4" fmla="*/ 0 w 29"/>
                  <a:gd name="T5" fmla="*/ 8 h 17"/>
                  <a:gd name="T6" fmla="*/ 15 w 29"/>
                  <a:gd name="T7" fmla="*/ 17 h 17"/>
                  <a:gd name="T8" fmla="*/ 28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8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8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íSḷiḓé">
                <a:extLst>
                  <a:ext uri="{FF2B5EF4-FFF2-40B4-BE49-F238E27FC236}">
                    <a16:creationId xmlns:a16="http://schemas.microsoft.com/office/drawing/2014/main" id="{AD267B69-4326-49BF-80B0-78DF24B84EE5}"/>
                  </a:ext>
                </a:extLst>
              </p:cNvPr>
              <p:cNvSpPr/>
              <p:nvPr/>
            </p:nvSpPr>
            <p:spPr bwMode="auto">
              <a:xfrm>
                <a:off x="5630514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5 w 29"/>
                  <a:gd name="T3" fmla="*/ 0 h 17"/>
                  <a:gd name="T4" fmla="*/ 0 w 29"/>
                  <a:gd name="T5" fmla="*/ 9 h 17"/>
                  <a:gd name="T6" fmla="*/ 14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îṣľîḋê">
                <a:extLst>
                  <a:ext uri="{FF2B5EF4-FFF2-40B4-BE49-F238E27FC236}">
                    <a16:creationId xmlns:a16="http://schemas.microsoft.com/office/drawing/2014/main" id="{CC68BB87-E3FE-4A3E-8E79-A0189134880D}"/>
                  </a:ext>
                </a:extLst>
              </p:cNvPr>
              <p:cNvSpPr/>
              <p:nvPr/>
            </p:nvSpPr>
            <p:spPr bwMode="auto">
              <a:xfrm>
                <a:off x="5758578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5 w 29"/>
                  <a:gd name="T3" fmla="*/ 0 h 17"/>
                  <a:gd name="T4" fmla="*/ 0 w 29"/>
                  <a:gd name="T5" fmla="*/ 9 h 17"/>
                  <a:gd name="T6" fmla="*/ 14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2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4" y="17"/>
                    </a:cubicBezTo>
                    <a:cubicBezTo>
                      <a:pt x="22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íŝ1ídè">
                <a:extLst>
                  <a:ext uri="{FF2B5EF4-FFF2-40B4-BE49-F238E27FC236}">
                    <a16:creationId xmlns:a16="http://schemas.microsoft.com/office/drawing/2014/main" id="{0B38A972-9D0B-4D21-A822-B868EB45ACEF}"/>
                  </a:ext>
                </a:extLst>
              </p:cNvPr>
              <p:cNvSpPr/>
              <p:nvPr/>
            </p:nvSpPr>
            <p:spPr bwMode="auto">
              <a:xfrm>
                <a:off x="5886643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iśļîdé">
                <a:extLst>
                  <a:ext uri="{FF2B5EF4-FFF2-40B4-BE49-F238E27FC236}">
                    <a16:creationId xmlns:a16="http://schemas.microsoft.com/office/drawing/2014/main" id="{EEA4EDD2-5CFD-47F4-9974-A6CD2C244C3A}"/>
                  </a:ext>
                </a:extLst>
              </p:cNvPr>
              <p:cNvSpPr/>
              <p:nvPr/>
            </p:nvSpPr>
            <p:spPr bwMode="auto">
              <a:xfrm>
                <a:off x="6148944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1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îSḷïḓè">
                <a:extLst>
                  <a:ext uri="{FF2B5EF4-FFF2-40B4-BE49-F238E27FC236}">
                    <a16:creationId xmlns:a16="http://schemas.microsoft.com/office/drawing/2014/main" id="{C2AF0591-6631-4719-9436-4E82F717299C}"/>
                  </a:ext>
                </a:extLst>
              </p:cNvPr>
              <p:cNvSpPr/>
              <p:nvPr/>
            </p:nvSpPr>
            <p:spPr bwMode="auto">
              <a:xfrm>
                <a:off x="6269294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ï$ľiḋé">
                <a:extLst>
                  <a:ext uri="{FF2B5EF4-FFF2-40B4-BE49-F238E27FC236}">
                    <a16:creationId xmlns:a16="http://schemas.microsoft.com/office/drawing/2014/main" id="{5C66F483-4461-4B4E-9E27-97FA0CA8F300}"/>
                  </a:ext>
                </a:extLst>
              </p:cNvPr>
              <p:cNvSpPr/>
              <p:nvPr/>
            </p:nvSpPr>
            <p:spPr bwMode="auto">
              <a:xfrm>
                <a:off x="6397358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íSḷídê">
                <a:extLst>
                  <a:ext uri="{FF2B5EF4-FFF2-40B4-BE49-F238E27FC236}">
                    <a16:creationId xmlns:a16="http://schemas.microsoft.com/office/drawing/2014/main" id="{5633A7E4-5F0C-4571-A148-BC2FBA815327}"/>
                  </a:ext>
                </a:extLst>
              </p:cNvPr>
              <p:cNvSpPr/>
              <p:nvPr/>
            </p:nvSpPr>
            <p:spPr bwMode="auto">
              <a:xfrm>
                <a:off x="5627428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5 w 30"/>
                  <a:gd name="T3" fmla="*/ 0 h 18"/>
                  <a:gd name="T4" fmla="*/ 1 w 30"/>
                  <a:gd name="T5" fmla="*/ 9 h 18"/>
                  <a:gd name="T6" fmla="*/ 15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1" y="4"/>
                      <a:pt x="1" y="9"/>
                    </a:cubicBezTo>
                    <a:cubicBezTo>
                      <a:pt x="0" y="14"/>
                      <a:pt x="7" y="18"/>
                      <a:pt x="15" y="18"/>
                    </a:cubicBezTo>
                    <a:cubicBezTo>
                      <a:pt x="23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išļïḍê">
                <a:extLst>
                  <a:ext uri="{FF2B5EF4-FFF2-40B4-BE49-F238E27FC236}">
                    <a16:creationId xmlns:a16="http://schemas.microsoft.com/office/drawing/2014/main" id="{858C9CCD-691D-49D4-9A79-E39D310023CB}"/>
                  </a:ext>
                </a:extLst>
              </p:cNvPr>
              <p:cNvSpPr/>
              <p:nvPr/>
            </p:nvSpPr>
            <p:spPr bwMode="auto">
              <a:xfrm>
                <a:off x="5758578" y="2108150"/>
                <a:ext cx="106464" cy="64804"/>
              </a:xfrm>
              <a:custGeom>
                <a:avLst/>
                <a:gdLst>
                  <a:gd name="T0" fmla="*/ 29 w 29"/>
                  <a:gd name="T1" fmla="*/ 9 h 18"/>
                  <a:gd name="T2" fmla="*/ 14 w 29"/>
                  <a:gd name="T3" fmla="*/ 0 h 18"/>
                  <a:gd name="T4" fmla="*/ 0 w 29"/>
                  <a:gd name="T5" fmla="*/ 9 h 18"/>
                  <a:gd name="T6" fmla="*/ 14 w 29"/>
                  <a:gd name="T7" fmla="*/ 18 h 18"/>
                  <a:gd name="T8" fmla="*/ 29 w 29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8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8"/>
                      <a:pt x="14" y="18"/>
                    </a:cubicBezTo>
                    <a:cubicBezTo>
                      <a:pt x="22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iṧḻïḍè">
                <a:extLst>
                  <a:ext uri="{FF2B5EF4-FFF2-40B4-BE49-F238E27FC236}">
                    <a16:creationId xmlns:a16="http://schemas.microsoft.com/office/drawing/2014/main" id="{BD448DA4-169C-4F0B-A2C6-54B3E1C7CD99}"/>
                  </a:ext>
                </a:extLst>
              </p:cNvPr>
              <p:cNvSpPr/>
              <p:nvPr/>
            </p:nvSpPr>
            <p:spPr bwMode="auto">
              <a:xfrm>
                <a:off x="5886643" y="2108150"/>
                <a:ext cx="106464" cy="64804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íšḻiḍé">
                <a:extLst>
                  <a:ext uri="{FF2B5EF4-FFF2-40B4-BE49-F238E27FC236}">
                    <a16:creationId xmlns:a16="http://schemas.microsoft.com/office/drawing/2014/main" id="{07A9969E-D107-48BA-A425-F13EE0FD6D13}"/>
                  </a:ext>
                </a:extLst>
              </p:cNvPr>
              <p:cNvSpPr/>
              <p:nvPr/>
            </p:nvSpPr>
            <p:spPr bwMode="auto">
              <a:xfrm>
                <a:off x="5635142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1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1" y="4"/>
                      <a:pt x="1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ïṧḻiďe">
                <a:extLst>
                  <a:ext uri="{FF2B5EF4-FFF2-40B4-BE49-F238E27FC236}">
                    <a16:creationId xmlns:a16="http://schemas.microsoft.com/office/drawing/2014/main" id="{2793742B-F344-4210-8375-C92855DC7F54}"/>
                  </a:ext>
                </a:extLst>
              </p:cNvPr>
              <p:cNvSpPr/>
              <p:nvPr/>
            </p:nvSpPr>
            <p:spPr bwMode="auto">
              <a:xfrm>
                <a:off x="5766293" y="2188383"/>
                <a:ext cx="109550" cy="694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í$ľíďe">
                <a:extLst>
                  <a:ext uri="{FF2B5EF4-FFF2-40B4-BE49-F238E27FC236}">
                    <a16:creationId xmlns:a16="http://schemas.microsoft.com/office/drawing/2014/main" id="{55EA12D4-1C34-41CE-9EC8-8647CAC85E9C}"/>
                  </a:ext>
                </a:extLst>
              </p:cNvPr>
              <p:cNvSpPr/>
              <p:nvPr/>
            </p:nvSpPr>
            <p:spPr bwMode="auto">
              <a:xfrm>
                <a:off x="5897443" y="2188383"/>
                <a:ext cx="109550" cy="69433"/>
              </a:xfrm>
              <a:custGeom>
                <a:avLst/>
                <a:gdLst>
                  <a:gd name="T0" fmla="*/ 29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29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29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îšlïḍe">
                <a:extLst>
                  <a:ext uri="{FF2B5EF4-FFF2-40B4-BE49-F238E27FC236}">
                    <a16:creationId xmlns:a16="http://schemas.microsoft.com/office/drawing/2014/main" id="{EC508F86-CB25-4445-93D7-31BADC47F025}"/>
                  </a:ext>
                </a:extLst>
              </p:cNvPr>
              <p:cNvSpPr/>
              <p:nvPr/>
            </p:nvSpPr>
            <p:spPr bwMode="auto">
              <a:xfrm>
                <a:off x="6028594" y="2188383"/>
                <a:ext cx="106464" cy="69433"/>
              </a:xfrm>
              <a:custGeom>
                <a:avLst/>
                <a:gdLst>
                  <a:gd name="T0" fmla="*/ 29 w 29"/>
                  <a:gd name="T1" fmla="*/ 9 h 19"/>
                  <a:gd name="T2" fmla="*/ 14 w 29"/>
                  <a:gd name="T3" fmla="*/ 0 h 19"/>
                  <a:gd name="T4" fmla="*/ 0 w 29"/>
                  <a:gd name="T5" fmla="*/ 9 h 19"/>
                  <a:gd name="T6" fmla="*/ 15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iṧļïďê">
                <a:extLst>
                  <a:ext uri="{FF2B5EF4-FFF2-40B4-BE49-F238E27FC236}">
                    <a16:creationId xmlns:a16="http://schemas.microsoft.com/office/drawing/2014/main" id="{A8F6383E-E760-46B3-B507-FBBEF0258351}"/>
                  </a:ext>
                </a:extLst>
              </p:cNvPr>
              <p:cNvSpPr/>
              <p:nvPr/>
            </p:nvSpPr>
            <p:spPr bwMode="auto">
              <a:xfrm>
                <a:off x="6159744" y="2188383"/>
                <a:ext cx="106464" cy="69433"/>
              </a:xfrm>
              <a:custGeom>
                <a:avLst/>
                <a:gdLst>
                  <a:gd name="T0" fmla="*/ 29 w 29"/>
                  <a:gd name="T1" fmla="*/ 9 h 19"/>
                  <a:gd name="T2" fmla="*/ 14 w 29"/>
                  <a:gd name="T3" fmla="*/ 0 h 19"/>
                  <a:gd name="T4" fmla="*/ 0 w 29"/>
                  <a:gd name="T5" fmla="*/ 9 h 19"/>
                  <a:gd name="T6" fmla="*/ 15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îşḷiďè">
                <a:extLst>
                  <a:ext uri="{FF2B5EF4-FFF2-40B4-BE49-F238E27FC236}">
                    <a16:creationId xmlns:a16="http://schemas.microsoft.com/office/drawing/2014/main" id="{79519D7C-1F2C-4DD7-AB5F-ACDFBC5D7754}"/>
                  </a:ext>
                </a:extLst>
              </p:cNvPr>
              <p:cNvSpPr/>
              <p:nvPr/>
            </p:nvSpPr>
            <p:spPr bwMode="auto">
              <a:xfrm>
                <a:off x="5379013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5 w 30"/>
                  <a:gd name="T3" fmla="*/ 0 h 18"/>
                  <a:gd name="T4" fmla="*/ 0 w 30"/>
                  <a:gd name="T5" fmla="*/ 9 h 18"/>
                  <a:gd name="T6" fmla="*/ 14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1" y="4"/>
                      <a:pt x="0" y="9"/>
                    </a:cubicBezTo>
                    <a:cubicBezTo>
                      <a:pt x="0" y="14"/>
                      <a:pt x="6" y="18"/>
                      <a:pt x="14" y="18"/>
                    </a:cubicBezTo>
                    <a:cubicBezTo>
                      <a:pt x="22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îśļiḍe">
                <a:extLst>
                  <a:ext uri="{FF2B5EF4-FFF2-40B4-BE49-F238E27FC236}">
                    <a16:creationId xmlns:a16="http://schemas.microsoft.com/office/drawing/2014/main" id="{A8007370-BA9F-46CB-B2F3-FEFD66EF00E0}"/>
                  </a:ext>
                </a:extLst>
              </p:cNvPr>
              <p:cNvSpPr/>
              <p:nvPr/>
            </p:nvSpPr>
            <p:spPr bwMode="auto">
              <a:xfrm>
                <a:off x="5244777" y="2188383"/>
                <a:ext cx="109550" cy="69433"/>
              </a:xfrm>
              <a:custGeom>
                <a:avLst/>
                <a:gdLst>
                  <a:gd name="T0" fmla="*/ 29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4 w 30"/>
                  <a:gd name="T7" fmla="*/ 19 h 19"/>
                  <a:gd name="T8" fmla="*/ 29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ïs1îḍè">
                <a:extLst>
                  <a:ext uri="{FF2B5EF4-FFF2-40B4-BE49-F238E27FC236}">
                    <a16:creationId xmlns:a16="http://schemas.microsoft.com/office/drawing/2014/main" id="{C46BBAE2-5AD7-41C7-8B2A-7D54AE6BF369}"/>
                  </a:ext>
                </a:extLst>
              </p:cNvPr>
              <p:cNvSpPr/>
              <p:nvPr/>
            </p:nvSpPr>
            <p:spPr bwMode="auto">
              <a:xfrm>
                <a:off x="5375927" y="2188383"/>
                <a:ext cx="104920" cy="69433"/>
              </a:xfrm>
              <a:custGeom>
                <a:avLst/>
                <a:gdLst>
                  <a:gd name="T0" fmla="*/ 29 w 29"/>
                  <a:gd name="T1" fmla="*/ 9 h 19"/>
                  <a:gd name="T2" fmla="*/ 15 w 29"/>
                  <a:gd name="T3" fmla="*/ 0 h 19"/>
                  <a:gd name="T4" fmla="*/ 0 w 29"/>
                  <a:gd name="T5" fmla="*/ 9 h 19"/>
                  <a:gd name="T6" fmla="*/ 14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íṣḻïḋé">
                <a:extLst>
                  <a:ext uri="{FF2B5EF4-FFF2-40B4-BE49-F238E27FC236}">
                    <a16:creationId xmlns:a16="http://schemas.microsoft.com/office/drawing/2014/main" id="{C62AF402-3675-400B-9E8B-B147C604EFFA}"/>
                  </a:ext>
                </a:extLst>
              </p:cNvPr>
              <p:cNvSpPr/>
              <p:nvPr/>
            </p:nvSpPr>
            <p:spPr bwMode="auto">
              <a:xfrm>
                <a:off x="5237062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6 w 30"/>
                  <a:gd name="T3" fmla="*/ 0 h 19"/>
                  <a:gd name="T4" fmla="*/ 0 w 30"/>
                  <a:gd name="T5" fmla="*/ 9 h 19"/>
                  <a:gd name="T6" fmla="*/ 14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29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ïṥļïďé">
                <a:extLst>
                  <a:ext uri="{FF2B5EF4-FFF2-40B4-BE49-F238E27FC236}">
                    <a16:creationId xmlns:a16="http://schemas.microsoft.com/office/drawing/2014/main" id="{DAE3BB67-3354-40B4-95D8-899C185464E7}"/>
                  </a:ext>
                </a:extLst>
              </p:cNvPr>
              <p:cNvSpPr/>
              <p:nvPr/>
            </p:nvSpPr>
            <p:spPr bwMode="auto">
              <a:xfrm>
                <a:off x="5499363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6 w 30"/>
                  <a:gd name="T3" fmla="*/ 0 h 19"/>
                  <a:gd name="T4" fmla="*/ 1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8" y="0"/>
                      <a:pt x="1" y="4"/>
                      <a:pt x="1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šḻïḑê">
                <a:extLst>
                  <a:ext uri="{FF2B5EF4-FFF2-40B4-BE49-F238E27FC236}">
                    <a16:creationId xmlns:a16="http://schemas.microsoft.com/office/drawing/2014/main" id="{86B6651D-57E8-4B49-A8C7-1FBCA43B622C}"/>
                  </a:ext>
                </a:extLst>
              </p:cNvPr>
              <p:cNvSpPr/>
              <p:nvPr/>
            </p:nvSpPr>
            <p:spPr bwMode="auto">
              <a:xfrm>
                <a:off x="5635142" y="2271702"/>
                <a:ext cx="109550" cy="69433"/>
              </a:xfrm>
              <a:custGeom>
                <a:avLst/>
                <a:gdLst>
                  <a:gd name="T0" fmla="*/ 29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4 w 30"/>
                  <a:gd name="T7" fmla="*/ 19 h 19"/>
                  <a:gd name="T8" fmla="*/ 29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íṡlïḓé">
                <a:extLst>
                  <a:ext uri="{FF2B5EF4-FFF2-40B4-BE49-F238E27FC236}">
                    <a16:creationId xmlns:a16="http://schemas.microsoft.com/office/drawing/2014/main" id="{9F87C394-B8A7-4B56-B72A-DA53AD32F644}"/>
                  </a:ext>
                </a:extLst>
              </p:cNvPr>
              <p:cNvSpPr/>
              <p:nvPr/>
            </p:nvSpPr>
            <p:spPr bwMode="auto">
              <a:xfrm>
                <a:off x="5766293" y="2271702"/>
                <a:ext cx="109550" cy="694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íṥľiďe">
                <a:extLst>
                  <a:ext uri="{FF2B5EF4-FFF2-40B4-BE49-F238E27FC236}">
                    <a16:creationId xmlns:a16="http://schemas.microsoft.com/office/drawing/2014/main" id="{ADC47CBB-C938-4E7A-8794-2C4E0D677662}"/>
                  </a:ext>
                </a:extLst>
              </p:cNvPr>
              <p:cNvSpPr/>
              <p:nvPr/>
            </p:nvSpPr>
            <p:spPr bwMode="auto">
              <a:xfrm>
                <a:off x="5897443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iṣľíḑè">
                <a:extLst>
                  <a:ext uri="{FF2B5EF4-FFF2-40B4-BE49-F238E27FC236}">
                    <a16:creationId xmlns:a16="http://schemas.microsoft.com/office/drawing/2014/main" id="{41699A26-CA83-4880-97F4-5C6152ACED16}"/>
                  </a:ext>
                </a:extLst>
              </p:cNvPr>
              <p:cNvSpPr/>
              <p:nvPr/>
            </p:nvSpPr>
            <p:spPr bwMode="auto">
              <a:xfrm>
                <a:off x="6033223" y="2271702"/>
                <a:ext cx="104920" cy="69433"/>
              </a:xfrm>
              <a:custGeom>
                <a:avLst/>
                <a:gdLst>
                  <a:gd name="T0" fmla="*/ 29 w 29"/>
                  <a:gd name="T1" fmla="*/ 9 h 19"/>
                  <a:gd name="T2" fmla="*/ 14 w 29"/>
                  <a:gd name="T3" fmla="*/ 0 h 19"/>
                  <a:gd name="T4" fmla="*/ 0 w 29"/>
                  <a:gd name="T5" fmla="*/ 9 h 19"/>
                  <a:gd name="T6" fmla="*/ 15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iṣļidè">
                <a:extLst>
                  <a:ext uri="{FF2B5EF4-FFF2-40B4-BE49-F238E27FC236}">
                    <a16:creationId xmlns:a16="http://schemas.microsoft.com/office/drawing/2014/main" id="{1BBF95FF-ACE5-482E-967B-A2F103181D85}"/>
                  </a:ext>
                </a:extLst>
              </p:cNvPr>
              <p:cNvSpPr/>
              <p:nvPr/>
            </p:nvSpPr>
            <p:spPr bwMode="auto">
              <a:xfrm>
                <a:off x="6164374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ïṧliďé">
                <a:extLst>
                  <a:ext uri="{FF2B5EF4-FFF2-40B4-BE49-F238E27FC236}">
                    <a16:creationId xmlns:a16="http://schemas.microsoft.com/office/drawing/2014/main" id="{7EA6F8A6-5698-43F8-BDAF-EDDA37CF66C6}"/>
                  </a:ext>
                </a:extLst>
              </p:cNvPr>
              <p:cNvSpPr/>
              <p:nvPr/>
            </p:nvSpPr>
            <p:spPr bwMode="auto">
              <a:xfrm>
                <a:off x="5360498" y="2356565"/>
                <a:ext cx="114178" cy="69433"/>
              </a:xfrm>
              <a:custGeom>
                <a:avLst/>
                <a:gdLst>
                  <a:gd name="T0" fmla="*/ 31 w 31"/>
                  <a:gd name="T1" fmla="*/ 9 h 19"/>
                  <a:gd name="T2" fmla="*/ 16 w 31"/>
                  <a:gd name="T3" fmla="*/ 0 h 19"/>
                  <a:gd name="T4" fmla="*/ 1 w 31"/>
                  <a:gd name="T5" fmla="*/ 9 h 19"/>
                  <a:gd name="T6" fmla="*/ 15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1" y="4"/>
                      <a:pt x="25" y="0"/>
                      <a:pt x="16" y="0"/>
                    </a:cubicBezTo>
                    <a:cubicBezTo>
                      <a:pt x="8" y="0"/>
                      <a:pt x="1" y="4"/>
                      <a:pt x="1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íşļiḋe">
                <a:extLst>
                  <a:ext uri="{FF2B5EF4-FFF2-40B4-BE49-F238E27FC236}">
                    <a16:creationId xmlns:a16="http://schemas.microsoft.com/office/drawing/2014/main" id="{7438FD17-22B1-45FC-AFD3-1715616F3531}"/>
                  </a:ext>
                </a:extLst>
              </p:cNvPr>
              <p:cNvSpPr/>
              <p:nvPr/>
            </p:nvSpPr>
            <p:spPr bwMode="auto">
              <a:xfrm>
                <a:off x="5496277" y="2356565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6 w 31"/>
                  <a:gd name="T3" fmla="*/ 0 h 19"/>
                  <a:gd name="T4" fmla="*/ 0 w 31"/>
                  <a:gd name="T5" fmla="*/ 9 h 19"/>
                  <a:gd name="T6" fmla="*/ 15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1" y="4"/>
                      <a:pt x="24" y="0"/>
                      <a:pt x="16" y="0"/>
                    </a:cubicBezTo>
                    <a:cubicBezTo>
                      <a:pt x="8" y="0"/>
                      <a:pt x="1" y="4"/>
                      <a:pt x="0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iṩḷíḍé">
                <a:extLst>
                  <a:ext uri="{FF2B5EF4-FFF2-40B4-BE49-F238E27FC236}">
                    <a16:creationId xmlns:a16="http://schemas.microsoft.com/office/drawing/2014/main" id="{A874B412-BA67-4F90-8DA4-882C2E0DD3A7}"/>
                  </a:ext>
                </a:extLst>
              </p:cNvPr>
              <p:cNvSpPr/>
              <p:nvPr/>
            </p:nvSpPr>
            <p:spPr bwMode="auto">
              <a:xfrm>
                <a:off x="5630514" y="2356565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išḷíḑè">
                <a:extLst>
                  <a:ext uri="{FF2B5EF4-FFF2-40B4-BE49-F238E27FC236}">
                    <a16:creationId xmlns:a16="http://schemas.microsoft.com/office/drawing/2014/main" id="{058BD94C-A433-4158-846D-11AA3E03131C}"/>
                  </a:ext>
                </a:extLst>
              </p:cNvPr>
              <p:cNvSpPr/>
              <p:nvPr/>
            </p:nvSpPr>
            <p:spPr bwMode="auto">
              <a:xfrm>
                <a:off x="5766293" y="2356565"/>
                <a:ext cx="109550" cy="694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iṧľîďê">
                <a:extLst>
                  <a:ext uri="{FF2B5EF4-FFF2-40B4-BE49-F238E27FC236}">
                    <a16:creationId xmlns:a16="http://schemas.microsoft.com/office/drawing/2014/main" id="{E665FF90-FB35-4320-93A6-E145506A60D3}"/>
                  </a:ext>
                </a:extLst>
              </p:cNvPr>
              <p:cNvSpPr/>
              <p:nvPr/>
            </p:nvSpPr>
            <p:spPr bwMode="auto">
              <a:xfrm>
                <a:off x="5900529" y="2356565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íSlïdê">
                <a:extLst>
                  <a:ext uri="{FF2B5EF4-FFF2-40B4-BE49-F238E27FC236}">
                    <a16:creationId xmlns:a16="http://schemas.microsoft.com/office/drawing/2014/main" id="{90958475-F2CC-4729-A78D-11E8265EBCEC}"/>
                  </a:ext>
                </a:extLst>
              </p:cNvPr>
              <p:cNvSpPr/>
              <p:nvPr/>
            </p:nvSpPr>
            <p:spPr bwMode="auto">
              <a:xfrm>
                <a:off x="6033223" y="2356565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5 w 31"/>
                  <a:gd name="T3" fmla="*/ 0 h 19"/>
                  <a:gd name="T4" fmla="*/ 0 w 31"/>
                  <a:gd name="T5" fmla="*/ 9 h 19"/>
                  <a:gd name="T6" fmla="*/ 16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1" y="15"/>
                      <a:pt x="7" y="19"/>
                      <a:pt x="16" y="19"/>
                    </a:cubicBezTo>
                    <a:cubicBezTo>
                      <a:pt x="24" y="19"/>
                      <a:pt x="31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íṡļïḑê">
                <a:extLst>
                  <a:ext uri="{FF2B5EF4-FFF2-40B4-BE49-F238E27FC236}">
                    <a16:creationId xmlns:a16="http://schemas.microsoft.com/office/drawing/2014/main" id="{61D1C1BC-3EEC-4E29-B7E6-B04DD307918D}"/>
                  </a:ext>
                </a:extLst>
              </p:cNvPr>
              <p:cNvSpPr/>
              <p:nvPr/>
            </p:nvSpPr>
            <p:spPr bwMode="auto">
              <a:xfrm>
                <a:off x="6167459" y="2356565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5"/>
                      <a:pt x="7" y="19"/>
                      <a:pt x="16" y="19"/>
                    </a:cubicBezTo>
                    <a:cubicBezTo>
                      <a:pt x="24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îsľíḋe">
                <a:extLst>
                  <a:ext uri="{FF2B5EF4-FFF2-40B4-BE49-F238E27FC236}">
                    <a16:creationId xmlns:a16="http://schemas.microsoft.com/office/drawing/2014/main" id="{B503C8A1-CB32-49D3-91BD-CEC741DEEA3F}"/>
                  </a:ext>
                </a:extLst>
              </p:cNvPr>
              <p:cNvSpPr/>
              <p:nvPr/>
            </p:nvSpPr>
            <p:spPr bwMode="auto">
              <a:xfrm>
                <a:off x="5218547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7 w 32"/>
                  <a:gd name="T3" fmla="*/ 0 h 20"/>
                  <a:gd name="T4" fmla="*/ 1 w 32"/>
                  <a:gd name="T5" fmla="*/ 10 h 20"/>
                  <a:gd name="T6" fmla="*/ 15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2" y="5"/>
                      <a:pt x="25" y="0"/>
                      <a:pt x="17" y="0"/>
                    </a:cubicBezTo>
                    <a:cubicBezTo>
                      <a:pt x="9" y="0"/>
                      <a:pt x="1" y="5"/>
                      <a:pt x="1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íŝlïḋè">
                <a:extLst>
                  <a:ext uri="{FF2B5EF4-FFF2-40B4-BE49-F238E27FC236}">
                    <a16:creationId xmlns:a16="http://schemas.microsoft.com/office/drawing/2014/main" id="{C88C7957-7B45-433F-BB92-948BEDE71227}"/>
                  </a:ext>
                </a:extLst>
              </p:cNvPr>
              <p:cNvSpPr/>
              <p:nvPr/>
            </p:nvSpPr>
            <p:spPr bwMode="auto">
              <a:xfrm>
                <a:off x="5357412" y="2439884"/>
                <a:ext cx="112636" cy="74061"/>
              </a:xfrm>
              <a:custGeom>
                <a:avLst/>
                <a:gdLst>
                  <a:gd name="T0" fmla="*/ 30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0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0" y="10"/>
                    </a:moveTo>
                    <a:cubicBezTo>
                      <a:pt x="31" y="5"/>
                      <a:pt x="24" y="0"/>
                      <a:pt x="16" y="0"/>
                    </a:cubicBezTo>
                    <a:cubicBezTo>
                      <a:pt x="8" y="0"/>
                      <a:pt x="0" y="5"/>
                      <a:pt x="0" y="10"/>
                    </a:cubicBezTo>
                    <a:cubicBezTo>
                      <a:pt x="0" y="16"/>
                      <a:pt x="6" y="20"/>
                      <a:pt x="15" y="20"/>
                    </a:cubicBezTo>
                    <a:cubicBezTo>
                      <a:pt x="23" y="20"/>
                      <a:pt x="30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ïṣlïďe">
                <a:extLst>
                  <a:ext uri="{FF2B5EF4-FFF2-40B4-BE49-F238E27FC236}">
                    <a16:creationId xmlns:a16="http://schemas.microsoft.com/office/drawing/2014/main" id="{CF969E58-F023-4CB3-973E-2BE849F98236}"/>
                  </a:ext>
                </a:extLst>
              </p:cNvPr>
              <p:cNvSpPr/>
              <p:nvPr/>
            </p:nvSpPr>
            <p:spPr bwMode="auto">
              <a:xfrm>
                <a:off x="5493191" y="2439884"/>
                <a:ext cx="112636" cy="74061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5"/>
                      <a:pt x="24" y="0"/>
                      <a:pt x="16" y="0"/>
                    </a:cubicBezTo>
                    <a:cubicBezTo>
                      <a:pt x="8" y="0"/>
                      <a:pt x="1" y="5"/>
                      <a:pt x="0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0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" name="iš1ïḓe">
                <a:extLst>
                  <a:ext uri="{FF2B5EF4-FFF2-40B4-BE49-F238E27FC236}">
                    <a16:creationId xmlns:a16="http://schemas.microsoft.com/office/drawing/2014/main" id="{CB340BE7-DF52-4018-8737-3DE0B0B7213D}"/>
                  </a:ext>
                </a:extLst>
              </p:cNvPr>
              <p:cNvSpPr/>
              <p:nvPr/>
            </p:nvSpPr>
            <p:spPr bwMode="auto">
              <a:xfrm>
                <a:off x="5627428" y="2439884"/>
                <a:ext cx="112636" cy="74061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1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5"/>
                      <a:pt x="24" y="0"/>
                      <a:pt x="16" y="0"/>
                    </a:cubicBezTo>
                    <a:cubicBezTo>
                      <a:pt x="8" y="0"/>
                      <a:pt x="1" y="5"/>
                      <a:pt x="1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" name="ïśľïďe">
                <a:extLst>
                  <a:ext uri="{FF2B5EF4-FFF2-40B4-BE49-F238E27FC236}">
                    <a16:creationId xmlns:a16="http://schemas.microsoft.com/office/drawing/2014/main" id="{291D44E0-E503-4331-8533-68891F9C944F}"/>
                  </a:ext>
                </a:extLst>
              </p:cNvPr>
              <p:cNvSpPr/>
              <p:nvPr/>
            </p:nvSpPr>
            <p:spPr bwMode="auto">
              <a:xfrm>
                <a:off x="5766293" y="2439884"/>
                <a:ext cx="109550" cy="74061"/>
              </a:xfrm>
              <a:custGeom>
                <a:avLst/>
                <a:gdLst>
                  <a:gd name="T0" fmla="*/ 30 w 30"/>
                  <a:gd name="T1" fmla="*/ 10 h 20"/>
                  <a:gd name="T2" fmla="*/ 15 w 30"/>
                  <a:gd name="T3" fmla="*/ 0 h 20"/>
                  <a:gd name="T4" fmla="*/ 0 w 30"/>
                  <a:gd name="T5" fmla="*/ 10 h 20"/>
                  <a:gd name="T6" fmla="*/ 15 w 30"/>
                  <a:gd name="T7" fmla="*/ 20 h 20"/>
                  <a:gd name="T8" fmla="*/ 30 w 30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0">
                    <a:moveTo>
                      <a:pt x="30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0" y="16"/>
                      <a:pt x="6" y="20"/>
                      <a:pt x="15" y="20"/>
                    </a:cubicBezTo>
                    <a:cubicBezTo>
                      <a:pt x="23" y="20"/>
                      <a:pt x="30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" name="iSlïḓé">
                <a:extLst>
                  <a:ext uri="{FF2B5EF4-FFF2-40B4-BE49-F238E27FC236}">
                    <a16:creationId xmlns:a16="http://schemas.microsoft.com/office/drawing/2014/main" id="{3E3CFB9F-9301-4240-8852-FCB91D8511E7}"/>
                  </a:ext>
                </a:extLst>
              </p:cNvPr>
              <p:cNvSpPr/>
              <p:nvPr/>
            </p:nvSpPr>
            <p:spPr bwMode="auto">
              <a:xfrm>
                <a:off x="5900529" y="2439884"/>
                <a:ext cx="109550" cy="74061"/>
              </a:xfrm>
              <a:custGeom>
                <a:avLst/>
                <a:gdLst>
                  <a:gd name="T0" fmla="*/ 30 w 30"/>
                  <a:gd name="T1" fmla="*/ 10 h 20"/>
                  <a:gd name="T2" fmla="*/ 15 w 30"/>
                  <a:gd name="T3" fmla="*/ 0 h 20"/>
                  <a:gd name="T4" fmla="*/ 0 w 30"/>
                  <a:gd name="T5" fmla="*/ 10 h 20"/>
                  <a:gd name="T6" fmla="*/ 15 w 30"/>
                  <a:gd name="T7" fmla="*/ 20 h 20"/>
                  <a:gd name="T8" fmla="*/ 30 w 30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0">
                    <a:moveTo>
                      <a:pt x="30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0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" name="ïŝļíde">
                <a:extLst>
                  <a:ext uri="{FF2B5EF4-FFF2-40B4-BE49-F238E27FC236}">
                    <a16:creationId xmlns:a16="http://schemas.microsoft.com/office/drawing/2014/main" id="{05166E30-8748-4790-958D-F53176751AC4}"/>
                  </a:ext>
                </a:extLst>
              </p:cNvPr>
              <p:cNvSpPr/>
              <p:nvPr/>
            </p:nvSpPr>
            <p:spPr bwMode="auto">
              <a:xfrm>
                <a:off x="6036308" y="2439884"/>
                <a:ext cx="112636" cy="74061"/>
              </a:xfrm>
              <a:custGeom>
                <a:avLst/>
                <a:gdLst>
                  <a:gd name="T0" fmla="*/ 30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0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0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0" y="16"/>
                      <a:pt x="7" y="20"/>
                      <a:pt x="16" y="20"/>
                    </a:cubicBezTo>
                    <a:cubicBezTo>
                      <a:pt x="24" y="20"/>
                      <a:pt x="31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" name="îṩḻïďè">
                <a:extLst>
                  <a:ext uri="{FF2B5EF4-FFF2-40B4-BE49-F238E27FC236}">
                    <a16:creationId xmlns:a16="http://schemas.microsoft.com/office/drawing/2014/main" id="{8E67A8AA-0AA2-48C4-924A-67FD497821E0}"/>
                  </a:ext>
                </a:extLst>
              </p:cNvPr>
              <p:cNvSpPr/>
              <p:nvPr/>
            </p:nvSpPr>
            <p:spPr bwMode="auto">
              <a:xfrm>
                <a:off x="6170545" y="2439884"/>
                <a:ext cx="114178" cy="74061"/>
              </a:xfrm>
              <a:custGeom>
                <a:avLst/>
                <a:gdLst>
                  <a:gd name="T0" fmla="*/ 31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1" y="16"/>
                      <a:pt x="8" y="20"/>
                      <a:pt x="16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" name="ïśľîḓê">
                <a:extLst>
                  <a:ext uri="{FF2B5EF4-FFF2-40B4-BE49-F238E27FC236}">
                    <a16:creationId xmlns:a16="http://schemas.microsoft.com/office/drawing/2014/main" id="{08599D29-10C0-47BC-ACA5-E5C4A38DA168}"/>
                  </a:ext>
                </a:extLst>
              </p:cNvPr>
              <p:cNvSpPr/>
              <p:nvPr/>
            </p:nvSpPr>
            <p:spPr bwMode="auto">
              <a:xfrm>
                <a:off x="5210833" y="2532461"/>
                <a:ext cx="117264" cy="72519"/>
              </a:xfrm>
              <a:custGeom>
                <a:avLst/>
                <a:gdLst>
                  <a:gd name="T0" fmla="*/ 32 w 32"/>
                  <a:gd name="T1" fmla="*/ 10 h 20"/>
                  <a:gd name="T2" fmla="*/ 17 w 32"/>
                  <a:gd name="T3" fmla="*/ 0 h 20"/>
                  <a:gd name="T4" fmla="*/ 1 w 32"/>
                  <a:gd name="T5" fmla="*/ 10 h 20"/>
                  <a:gd name="T6" fmla="*/ 15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2" y="4"/>
                      <a:pt x="25" y="0"/>
                      <a:pt x="17" y="0"/>
                    </a:cubicBezTo>
                    <a:cubicBezTo>
                      <a:pt x="9" y="0"/>
                      <a:pt x="1" y="4"/>
                      <a:pt x="1" y="10"/>
                    </a:cubicBezTo>
                    <a:cubicBezTo>
                      <a:pt x="0" y="15"/>
                      <a:pt x="7" y="20"/>
                      <a:pt x="15" y="20"/>
                    </a:cubicBezTo>
                    <a:cubicBezTo>
                      <a:pt x="24" y="20"/>
                      <a:pt x="31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" name="ïṧľiḑê">
                <a:extLst>
                  <a:ext uri="{FF2B5EF4-FFF2-40B4-BE49-F238E27FC236}">
                    <a16:creationId xmlns:a16="http://schemas.microsoft.com/office/drawing/2014/main" id="{46C54539-A39B-4BD2-A7F1-B210CE37666D}"/>
                  </a:ext>
                </a:extLst>
              </p:cNvPr>
              <p:cNvSpPr/>
              <p:nvPr/>
            </p:nvSpPr>
            <p:spPr bwMode="auto">
              <a:xfrm>
                <a:off x="5349698" y="2532461"/>
                <a:ext cx="114178" cy="72519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4"/>
                      <a:pt x="25" y="0"/>
                      <a:pt x="16" y="0"/>
                    </a:cubicBezTo>
                    <a:cubicBezTo>
                      <a:pt x="8" y="0"/>
                      <a:pt x="1" y="4"/>
                      <a:pt x="0" y="10"/>
                    </a:cubicBezTo>
                    <a:cubicBezTo>
                      <a:pt x="0" y="15"/>
                      <a:pt x="7" y="20"/>
                      <a:pt x="15" y="20"/>
                    </a:cubicBezTo>
                    <a:cubicBezTo>
                      <a:pt x="24" y="20"/>
                      <a:pt x="31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" name="îṣḷiḓe">
                <a:extLst>
                  <a:ext uri="{FF2B5EF4-FFF2-40B4-BE49-F238E27FC236}">
                    <a16:creationId xmlns:a16="http://schemas.microsoft.com/office/drawing/2014/main" id="{82C6E9C6-149D-4149-A94C-1F53294C6781}"/>
                  </a:ext>
                </a:extLst>
              </p:cNvPr>
              <p:cNvSpPr/>
              <p:nvPr/>
            </p:nvSpPr>
            <p:spPr bwMode="auto">
              <a:xfrm>
                <a:off x="6039394" y="2532461"/>
                <a:ext cx="114178" cy="72519"/>
              </a:xfrm>
              <a:custGeom>
                <a:avLst/>
                <a:gdLst>
                  <a:gd name="T0" fmla="*/ 31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0" y="15"/>
                      <a:pt x="7" y="20"/>
                      <a:pt x="16" y="20"/>
                    </a:cubicBezTo>
                    <a:cubicBezTo>
                      <a:pt x="24" y="20"/>
                      <a:pt x="31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" name="iSḻîde">
                <a:extLst>
                  <a:ext uri="{FF2B5EF4-FFF2-40B4-BE49-F238E27FC236}">
                    <a16:creationId xmlns:a16="http://schemas.microsoft.com/office/drawing/2014/main" id="{25D18E1B-53D5-4935-847D-C948045767A8}"/>
                  </a:ext>
                </a:extLst>
              </p:cNvPr>
              <p:cNvSpPr/>
              <p:nvPr/>
            </p:nvSpPr>
            <p:spPr bwMode="auto">
              <a:xfrm>
                <a:off x="6175174" y="2532461"/>
                <a:ext cx="115721" cy="72519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0 w 32"/>
                  <a:gd name="T5" fmla="*/ 10 h 20"/>
                  <a:gd name="T6" fmla="*/ 16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0" y="10"/>
                    </a:cubicBezTo>
                    <a:cubicBezTo>
                      <a:pt x="1" y="15"/>
                      <a:pt x="8" y="20"/>
                      <a:pt x="16" y="20"/>
                    </a:cubicBezTo>
                    <a:cubicBezTo>
                      <a:pt x="25" y="20"/>
                      <a:pt x="32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" name="îšḻïdè">
                <a:extLst>
                  <a:ext uri="{FF2B5EF4-FFF2-40B4-BE49-F238E27FC236}">
                    <a16:creationId xmlns:a16="http://schemas.microsoft.com/office/drawing/2014/main" id="{EB713ECD-AC9C-4875-8FE9-06F984829E3E}"/>
                  </a:ext>
                </a:extLst>
              </p:cNvPr>
              <p:cNvSpPr/>
              <p:nvPr/>
            </p:nvSpPr>
            <p:spPr bwMode="auto">
              <a:xfrm>
                <a:off x="6314039" y="2532461"/>
                <a:ext cx="112636" cy="72519"/>
              </a:xfrm>
              <a:custGeom>
                <a:avLst/>
                <a:gdLst>
                  <a:gd name="T0" fmla="*/ 31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1" y="15"/>
                      <a:pt x="8" y="20"/>
                      <a:pt x="16" y="20"/>
                    </a:cubicBezTo>
                    <a:cubicBezTo>
                      <a:pt x="25" y="20"/>
                      <a:pt x="31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" name="íšlïdé">
                <a:extLst>
                  <a:ext uri="{FF2B5EF4-FFF2-40B4-BE49-F238E27FC236}">
                    <a16:creationId xmlns:a16="http://schemas.microsoft.com/office/drawing/2014/main" id="{E60E10D8-42EF-497D-B5BE-4D229B55B4FC}"/>
                  </a:ext>
                </a:extLst>
              </p:cNvPr>
              <p:cNvSpPr/>
              <p:nvPr/>
            </p:nvSpPr>
            <p:spPr bwMode="auto">
              <a:xfrm>
                <a:off x="6448276" y="2532461"/>
                <a:ext cx="117264" cy="72519"/>
              </a:xfrm>
              <a:custGeom>
                <a:avLst/>
                <a:gdLst>
                  <a:gd name="T0" fmla="*/ 32 w 32"/>
                  <a:gd name="T1" fmla="*/ 10 h 20"/>
                  <a:gd name="T2" fmla="*/ 15 w 32"/>
                  <a:gd name="T3" fmla="*/ 0 h 20"/>
                  <a:gd name="T4" fmla="*/ 1 w 32"/>
                  <a:gd name="T5" fmla="*/ 10 h 20"/>
                  <a:gd name="T6" fmla="*/ 17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1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1" y="10"/>
                    </a:cubicBezTo>
                    <a:cubicBezTo>
                      <a:pt x="1" y="15"/>
                      <a:pt x="9" y="20"/>
                      <a:pt x="17" y="20"/>
                    </a:cubicBezTo>
                    <a:cubicBezTo>
                      <a:pt x="26" y="20"/>
                      <a:pt x="32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" name="îṥlíďê">
                <a:extLst>
                  <a:ext uri="{FF2B5EF4-FFF2-40B4-BE49-F238E27FC236}">
                    <a16:creationId xmlns:a16="http://schemas.microsoft.com/office/drawing/2014/main" id="{2006801C-4A1F-4B9C-868A-3D391988AC77}"/>
                  </a:ext>
                </a:extLst>
              </p:cNvPr>
              <p:cNvSpPr/>
              <p:nvPr/>
            </p:nvSpPr>
            <p:spPr bwMode="auto">
              <a:xfrm>
                <a:off x="9228665" y="2907396"/>
                <a:ext cx="138865" cy="84863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3 w 38"/>
                  <a:gd name="T5" fmla="*/ 11 h 23"/>
                  <a:gd name="T6" fmla="*/ 24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6" y="18"/>
                      <a:pt x="15" y="23"/>
                      <a:pt x="24" y="23"/>
                    </a:cubicBezTo>
                    <a:cubicBezTo>
                      <a:pt x="33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" name="iṧ1îḑè">
                <a:extLst>
                  <a:ext uri="{FF2B5EF4-FFF2-40B4-BE49-F238E27FC236}">
                    <a16:creationId xmlns:a16="http://schemas.microsoft.com/office/drawing/2014/main" id="{A0775671-DA37-4DCE-8E1A-905F7651E6F7}"/>
                  </a:ext>
                </a:extLst>
              </p:cNvPr>
              <p:cNvSpPr/>
              <p:nvPr/>
            </p:nvSpPr>
            <p:spPr bwMode="auto">
              <a:xfrm>
                <a:off x="9324328" y="3112609"/>
                <a:ext cx="141951" cy="87948"/>
              </a:xfrm>
              <a:custGeom>
                <a:avLst/>
                <a:gdLst>
                  <a:gd name="T0" fmla="*/ 36 w 39"/>
                  <a:gd name="T1" fmla="*/ 12 h 24"/>
                  <a:gd name="T2" fmla="*/ 14 w 39"/>
                  <a:gd name="T3" fmla="*/ 0 h 24"/>
                  <a:gd name="T4" fmla="*/ 3 w 39"/>
                  <a:gd name="T5" fmla="*/ 12 h 24"/>
                  <a:gd name="T6" fmla="*/ 25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3" y="6"/>
                      <a:pt x="23" y="0"/>
                      <a:pt x="14" y="0"/>
                    </a:cubicBezTo>
                    <a:cubicBezTo>
                      <a:pt x="5" y="0"/>
                      <a:pt x="0" y="6"/>
                      <a:pt x="3" y="12"/>
                    </a:cubicBezTo>
                    <a:cubicBezTo>
                      <a:pt x="6" y="19"/>
                      <a:pt x="16" y="24"/>
                      <a:pt x="25" y="24"/>
                    </a:cubicBezTo>
                    <a:cubicBezTo>
                      <a:pt x="34" y="24"/>
                      <a:pt x="39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" name="íṩḷîďê">
                <a:extLst>
                  <a:ext uri="{FF2B5EF4-FFF2-40B4-BE49-F238E27FC236}">
                    <a16:creationId xmlns:a16="http://schemas.microsoft.com/office/drawing/2014/main" id="{59CF7B45-34F1-481B-BFC9-9248B2003F54}"/>
                  </a:ext>
                </a:extLst>
              </p:cNvPr>
              <p:cNvSpPr/>
              <p:nvPr/>
            </p:nvSpPr>
            <p:spPr bwMode="auto">
              <a:xfrm>
                <a:off x="8717950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3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3"/>
                      <a:pt x="13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" name="îslídê">
                <a:extLst>
                  <a:ext uri="{FF2B5EF4-FFF2-40B4-BE49-F238E27FC236}">
                    <a16:creationId xmlns:a16="http://schemas.microsoft.com/office/drawing/2014/main" id="{8E7A0457-DD5A-4C76-BCCF-D803FA198414}"/>
                  </a:ext>
                </a:extLst>
              </p:cNvPr>
              <p:cNvSpPr/>
              <p:nvPr/>
            </p:nvSpPr>
            <p:spPr bwMode="auto">
              <a:xfrm>
                <a:off x="8842929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" name="ïSḷiḓê">
                <a:extLst>
                  <a:ext uri="{FF2B5EF4-FFF2-40B4-BE49-F238E27FC236}">
                    <a16:creationId xmlns:a16="http://schemas.microsoft.com/office/drawing/2014/main" id="{C2CBB805-E718-4CE4-8832-50E76287478C}"/>
                  </a:ext>
                </a:extLst>
              </p:cNvPr>
              <p:cNvSpPr/>
              <p:nvPr/>
            </p:nvSpPr>
            <p:spPr bwMode="auto">
              <a:xfrm>
                <a:off x="9210150" y="1804190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3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" name="îšļiḓe">
                <a:extLst>
                  <a:ext uri="{FF2B5EF4-FFF2-40B4-BE49-F238E27FC236}">
                    <a16:creationId xmlns:a16="http://schemas.microsoft.com/office/drawing/2014/main" id="{E8899660-2F56-4C9B-960D-1AF8EBCF7B59}"/>
                  </a:ext>
                </a:extLst>
              </p:cNvPr>
              <p:cNvSpPr/>
              <p:nvPr/>
            </p:nvSpPr>
            <p:spPr bwMode="auto">
              <a:xfrm>
                <a:off x="9335128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1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7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" name="ïṥ1ïḑe">
                <a:extLst>
                  <a:ext uri="{FF2B5EF4-FFF2-40B4-BE49-F238E27FC236}">
                    <a16:creationId xmlns:a16="http://schemas.microsoft.com/office/drawing/2014/main" id="{6034C54F-1CEB-47C2-BACD-20D114492C76}"/>
                  </a:ext>
                </a:extLst>
              </p:cNvPr>
              <p:cNvSpPr/>
              <p:nvPr/>
            </p:nvSpPr>
            <p:spPr bwMode="auto">
              <a:xfrm>
                <a:off x="6466791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5 w 33"/>
                  <a:gd name="T3" fmla="*/ 0 h 22"/>
                  <a:gd name="T4" fmla="*/ 0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" name="işľíḍé">
                <a:extLst>
                  <a:ext uri="{FF2B5EF4-FFF2-40B4-BE49-F238E27FC236}">
                    <a16:creationId xmlns:a16="http://schemas.microsoft.com/office/drawing/2014/main" id="{5F4ACF50-0C41-404B-87FC-7B2AD64B5962}"/>
                  </a:ext>
                </a:extLst>
              </p:cNvPr>
              <p:cNvSpPr/>
              <p:nvPr/>
            </p:nvSpPr>
            <p:spPr bwMode="auto">
              <a:xfrm>
                <a:off x="6550110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" name="îṣḻíḋe">
                <a:extLst>
                  <a:ext uri="{FF2B5EF4-FFF2-40B4-BE49-F238E27FC236}">
                    <a16:creationId xmlns:a16="http://schemas.microsoft.com/office/drawing/2014/main" id="{38F1DC2A-D384-4E8D-BB2B-1B558AF7BD9A}"/>
                  </a:ext>
                </a:extLst>
              </p:cNvPr>
              <p:cNvSpPr/>
              <p:nvPr/>
            </p:nvSpPr>
            <p:spPr bwMode="auto">
              <a:xfrm>
                <a:off x="6699775" y="2356565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5 w 32"/>
                  <a:gd name="T3" fmla="*/ 0 h 19"/>
                  <a:gd name="T4" fmla="*/ 1 w 32"/>
                  <a:gd name="T5" fmla="*/ 9 h 19"/>
                  <a:gd name="T6" fmla="*/ 17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5"/>
                      <a:pt x="9" y="19"/>
                      <a:pt x="17" y="19"/>
                    </a:cubicBezTo>
                    <a:cubicBezTo>
                      <a:pt x="26" y="19"/>
                      <a:pt x="32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" name="í$ļíḑê">
                <a:extLst>
                  <a:ext uri="{FF2B5EF4-FFF2-40B4-BE49-F238E27FC236}">
                    <a16:creationId xmlns:a16="http://schemas.microsoft.com/office/drawing/2014/main" id="{C51044AD-E00C-4AAD-8409-1763E2C934E0}"/>
                  </a:ext>
                </a:extLst>
              </p:cNvPr>
              <p:cNvSpPr/>
              <p:nvPr/>
            </p:nvSpPr>
            <p:spPr bwMode="auto">
              <a:xfrm>
                <a:off x="6568626" y="2356565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6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5"/>
                      <a:pt x="8" y="19"/>
                      <a:pt x="16" y="19"/>
                    </a:cubicBezTo>
                    <a:cubicBezTo>
                      <a:pt x="25" y="19"/>
                      <a:pt x="31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" name="iS1íďé">
                <a:extLst>
                  <a:ext uri="{FF2B5EF4-FFF2-40B4-BE49-F238E27FC236}">
                    <a16:creationId xmlns:a16="http://schemas.microsoft.com/office/drawing/2014/main" id="{43BC8848-F110-4E90-B0AC-A411C978A457}"/>
                  </a:ext>
                </a:extLst>
              </p:cNvPr>
              <p:cNvSpPr/>
              <p:nvPr/>
            </p:nvSpPr>
            <p:spPr bwMode="auto">
              <a:xfrm>
                <a:off x="6710577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1 w 32"/>
                  <a:gd name="T5" fmla="*/ 10 h 20"/>
                  <a:gd name="T6" fmla="*/ 18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1" y="10"/>
                    </a:cubicBezTo>
                    <a:cubicBezTo>
                      <a:pt x="2" y="16"/>
                      <a:pt x="9" y="20"/>
                      <a:pt x="18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" name="ïṡḷíďè">
                <a:extLst>
                  <a:ext uri="{FF2B5EF4-FFF2-40B4-BE49-F238E27FC236}">
                    <a16:creationId xmlns:a16="http://schemas.microsoft.com/office/drawing/2014/main" id="{28EF9201-3B7E-47C5-82E9-A44EB1E73058}"/>
                  </a:ext>
                </a:extLst>
              </p:cNvPr>
              <p:cNvSpPr/>
              <p:nvPr/>
            </p:nvSpPr>
            <p:spPr bwMode="auto">
              <a:xfrm>
                <a:off x="6587141" y="2532461"/>
                <a:ext cx="117264" cy="72519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1 w 32"/>
                  <a:gd name="T5" fmla="*/ 10 h 20"/>
                  <a:gd name="T6" fmla="*/ 17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1" y="15"/>
                      <a:pt x="9" y="20"/>
                      <a:pt x="17" y="20"/>
                    </a:cubicBezTo>
                    <a:cubicBezTo>
                      <a:pt x="26" y="20"/>
                      <a:pt x="32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" name="ïṣļiḋe">
                <a:extLst>
                  <a:ext uri="{FF2B5EF4-FFF2-40B4-BE49-F238E27FC236}">
                    <a16:creationId xmlns:a16="http://schemas.microsoft.com/office/drawing/2014/main" id="{D0CBEC76-A55F-4059-B868-FEB9A90F319A}"/>
                  </a:ext>
                </a:extLst>
              </p:cNvPr>
              <p:cNvSpPr/>
              <p:nvPr/>
            </p:nvSpPr>
            <p:spPr bwMode="auto">
              <a:xfrm>
                <a:off x="6722920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1" y="10"/>
                    </a:cubicBezTo>
                    <a:cubicBezTo>
                      <a:pt x="2" y="15"/>
                      <a:pt x="9" y="20"/>
                      <a:pt x="18" y="20"/>
                    </a:cubicBezTo>
                    <a:cubicBezTo>
                      <a:pt x="26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" name="îṥḷiḑe">
                <a:extLst>
                  <a:ext uri="{FF2B5EF4-FFF2-40B4-BE49-F238E27FC236}">
                    <a16:creationId xmlns:a16="http://schemas.microsoft.com/office/drawing/2014/main" id="{930D77B3-ACD4-41EE-88D9-7788CA9D1957}"/>
                  </a:ext>
                </a:extLst>
              </p:cNvPr>
              <p:cNvSpPr/>
              <p:nvPr/>
            </p:nvSpPr>
            <p:spPr bwMode="auto">
              <a:xfrm>
                <a:off x="6860242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5"/>
                      <a:pt x="9" y="20"/>
                      <a:pt x="18" y="20"/>
                    </a:cubicBezTo>
                    <a:cubicBezTo>
                      <a:pt x="26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" name="ïśļíḓè">
                <a:extLst>
                  <a:ext uri="{FF2B5EF4-FFF2-40B4-BE49-F238E27FC236}">
                    <a16:creationId xmlns:a16="http://schemas.microsoft.com/office/drawing/2014/main" id="{4521D2EA-26CD-4A51-B75A-524501CD50B7}"/>
                  </a:ext>
                </a:extLst>
              </p:cNvPr>
              <p:cNvSpPr/>
              <p:nvPr/>
            </p:nvSpPr>
            <p:spPr bwMode="auto">
              <a:xfrm>
                <a:off x="6597941" y="2623494"/>
                <a:ext cx="117264" cy="72519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0 w 32"/>
                  <a:gd name="T5" fmla="*/ 10 h 20"/>
                  <a:gd name="T6" fmla="*/ 17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1" y="16"/>
                      <a:pt x="8" y="20"/>
                      <a:pt x="17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" name="îṡ1iḓè">
                <a:extLst>
                  <a:ext uri="{FF2B5EF4-FFF2-40B4-BE49-F238E27FC236}">
                    <a16:creationId xmlns:a16="http://schemas.microsoft.com/office/drawing/2014/main" id="{9DB70241-3163-4479-A0C4-3B9C100B832E}"/>
                  </a:ext>
                </a:extLst>
              </p:cNvPr>
              <p:cNvSpPr/>
              <p:nvPr/>
            </p:nvSpPr>
            <p:spPr bwMode="auto">
              <a:xfrm>
                <a:off x="6736806" y="2623494"/>
                <a:ext cx="117264" cy="72519"/>
              </a:xfrm>
              <a:custGeom>
                <a:avLst/>
                <a:gdLst>
                  <a:gd name="T0" fmla="*/ 32 w 32"/>
                  <a:gd name="T1" fmla="*/ 10 h 20"/>
                  <a:gd name="T2" fmla="*/ 15 w 32"/>
                  <a:gd name="T3" fmla="*/ 0 h 20"/>
                  <a:gd name="T4" fmla="*/ 0 w 32"/>
                  <a:gd name="T5" fmla="*/ 10 h 20"/>
                  <a:gd name="T6" fmla="*/ 17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1" y="16"/>
                      <a:pt x="9" y="20"/>
                      <a:pt x="17" y="20"/>
                    </a:cubicBezTo>
                    <a:cubicBezTo>
                      <a:pt x="26" y="20"/>
                      <a:pt x="32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" name="iṧḻîḍe">
                <a:extLst>
                  <a:ext uri="{FF2B5EF4-FFF2-40B4-BE49-F238E27FC236}">
                    <a16:creationId xmlns:a16="http://schemas.microsoft.com/office/drawing/2014/main" id="{AD14293E-D243-4722-A794-B168A298B6B7}"/>
                  </a:ext>
                </a:extLst>
              </p:cNvPr>
              <p:cNvSpPr/>
              <p:nvPr/>
            </p:nvSpPr>
            <p:spPr bwMode="auto">
              <a:xfrm>
                <a:off x="6875671" y="2623494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1" y="16"/>
                      <a:pt x="9" y="20"/>
                      <a:pt x="18" y="20"/>
                    </a:cubicBezTo>
                    <a:cubicBezTo>
                      <a:pt x="26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" name="ïsḷîḍé">
                <a:extLst>
                  <a:ext uri="{FF2B5EF4-FFF2-40B4-BE49-F238E27FC236}">
                    <a16:creationId xmlns:a16="http://schemas.microsoft.com/office/drawing/2014/main" id="{E864078F-484E-4364-86B2-FB60D987A341}"/>
                  </a:ext>
                </a:extLst>
              </p:cNvPr>
              <p:cNvSpPr/>
              <p:nvPr/>
            </p:nvSpPr>
            <p:spPr bwMode="auto">
              <a:xfrm>
                <a:off x="7014537" y="2623494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9" y="20"/>
                      <a:pt x="18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" name="íś1íďe">
                <a:extLst>
                  <a:ext uri="{FF2B5EF4-FFF2-40B4-BE49-F238E27FC236}">
                    <a16:creationId xmlns:a16="http://schemas.microsoft.com/office/drawing/2014/main" id="{D52F0B4D-216C-43A1-867A-D503560A2FD7}"/>
                  </a:ext>
                </a:extLst>
              </p:cNvPr>
              <p:cNvSpPr/>
              <p:nvPr/>
            </p:nvSpPr>
            <p:spPr bwMode="auto">
              <a:xfrm>
                <a:off x="6605656" y="2714528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6 w 33"/>
                  <a:gd name="T3" fmla="*/ 0 h 22"/>
                  <a:gd name="T4" fmla="*/ 1 w 33"/>
                  <a:gd name="T5" fmla="*/ 11 h 22"/>
                  <a:gd name="T6" fmla="*/ 18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9" y="22"/>
                      <a:pt x="18" y="22"/>
                    </a:cubicBezTo>
                    <a:cubicBezTo>
                      <a:pt x="27" y="22"/>
                      <a:pt x="33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" name="isļïḍé">
                <a:extLst>
                  <a:ext uri="{FF2B5EF4-FFF2-40B4-BE49-F238E27FC236}">
                    <a16:creationId xmlns:a16="http://schemas.microsoft.com/office/drawing/2014/main" id="{DFB7F8D6-91CC-4B7B-8700-E7CCFF41D38A}"/>
                  </a:ext>
                </a:extLst>
              </p:cNvPr>
              <p:cNvSpPr/>
              <p:nvPr/>
            </p:nvSpPr>
            <p:spPr bwMode="auto">
              <a:xfrm>
                <a:off x="6747607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5 w 33"/>
                  <a:gd name="T3" fmla="*/ 0 h 22"/>
                  <a:gd name="T4" fmla="*/ 1 w 33"/>
                  <a:gd name="T5" fmla="*/ 11 h 22"/>
                  <a:gd name="T6" fmla="*/ 18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1" y="17"/>
                      <a:pt x="9" y="22"/>
                      <a:pt x="18" y="22"/>
                    </a:cubicBezTo>
                    <a:cubicBezTo>
                      <a:pt x="27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" name="iṩļíḓè">
                <a:extLst>
                  <a:ext uri="{FF2B5EF4-FFF2-40B4-BE49-F238E27FC236}">
                    <a16:creationId xmlns:a16="http://schemas.microsoft.com/office/drawing/2014/main" id="{C07CBDF4-D875-4426-8D45-A8692E0C9FE9}"/>
                  </a:ext>
                </a:extLst>
              </p:cNvPr>
              <p:cNvSpPr/>
              <p:nvPr/>
            </p:nvSpPr>
            <p:spPr bwMode="auto">
              <a:xfrm>
                <a:off x="6886473" y="2714528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5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" name="íṣḻiďè">
                <a:extLst>
                  <a:ext uri="{FF2B5EF4-FFF2-40B4-BE49-F238E27FC236}">
                    <a16:creationId xmlns:a16="http://schemas.microsoft.com/office/drawing/2014/main" id="{34F609CE-1EE3-4EFF-9EEB-DCBC1572B888}"/>
                  </a:ext>
                </a:extLst>
              </p:cNvPr>
              <p:cNvSpPr/>
              <p:nvPr/>
            </p:nvSpPr>
            <p:spPr bwMode="auto">
              <a:xfrm>
                <a:off x="7028424" y="2714528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5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7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" name="iṧ1îḋè">
                <a:extLst>
                  <a:ext uri="{FF2B5EF4-FFF2-40B4-BE49-F238E27FC236}">
                    <a16:creationId xmlns:a16="http://schemas.microsoft.com/office/drawing/2014/main" id="{AA7100DB-3798-4257-B4A2-839A3484BD07}"/>
                  </a:ext>
                </a:extLst>
              </p:cNvPr>
              <p:cNvSpPr/>
              <p:nvPr/>
            </p:nvSpPr>
            <p:spPr bwMode="auto">
              <a:xfrm>
                <a:off x="6616456" y="2810191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6 w 34"/>
                  <a:gd name="T3" fmla="*/ 0 h 22"/>
                  <a:gd name="T4" fmla="*/ 1 w 34"/>
                  <a:gd name="T5" fmla="*/ 11 h 22"/>
                  <a:gd name="T6" fmla="*/ 18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9" y="22"/>
                      <a:pt x="18" y="22"/>
                    </a:cubicBezTo>
                    <a:cubicBezTo>
                      <a:pt x="27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" name="íśḻidè">
                <a:extLst>
                  <a:ext uri="{FF2B5EF4-FFF2-40B4-BE49-F238E27FC236}">
                    <a16:creationId xmlns:a16="http://schemas.microsoft.com/office/drawing/2014/main" id="{B90C7600-F2C7-4E6D-B408-022448616218}"/>
                  </a:ext>
                </a:extLst>
              </p:cNvPr>
              <p:cNvSpPr/>
              <p:nvPr/>
            </p:nvSpPr>
            <p:spPr bwMode="auto">
              <a:xfrm>
                <a:off x="6758407" y="2810191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6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7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" name="í$ľidé">
                <a:extLst>
                  <a:ext uri="{FF2B5EF4-FFF2-40B4-BE49-F238E27FC236}">
                    <a16:creationId xmlns:a16="http://schemas.microsoft.com/office/drawing/2014/main" id="{31D5EBCE-EDCD-4D44-BAAC-3ECE03CC268E}"/>
                  </a:ext>
                </a:extLst>
              </p:cNvPr>
              <p:cNvSpPr/>
              <p:nvPr/>
            </p:nvSpPr>
            <p:spPr bwMode="auto">
              <a:xfrm>
                <a:off x="6900359" y="2810191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6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" name="ï$líḓe">
                <a:extLst>
                  <a:ext uri="{FF2B5EF4-FFF2-40B4-BE49-F238E27FC236}">
                    <a16:creationId xmlns:a16="http://schemas.microsoft.com/office/drawing/2014/main" id="{F75C2BB7-7A75-483D-8446-A53CCFD7A928}"/>
                  </a:ext>
                </a:extLst>
              </p:cNvPr>
              <p:cNvSpPr/>
              <p:nvPr/>
            </p:nvSpPr>
            <p:spPr bwMode="auto">
              <a:xfrm>
                <a:off x="6627257" y="2907396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6 w 34"/>
                  <a:gd name="T3" fmla="*/ 0 h 23"/>
                  <a:gd name="T4" fmla="*/ 1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" name="íṥľíḋê">
                <a:extLst>
                  <a:ext uri="{FF2B5EF4-FFF2-40B4-BE49-F238E27FC236}">
                    <a16:creationId xmlns:a16="http://schemas.microsoft.com/office/drawing/2014/main" id="{376D127C-187B-45A0-9F57-1C0216BB1DC3}"/>
                  </a:ext>
                </a:extLst>
              </p:cNvPr>
              <p:cNvSpPr/>
              <p:nvPr/>
            </p:nvSpPr>
            <p:spPr bwMode="auto">
              <a:xfrm>
                <a:off x="6773837" y="2907396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5 w 34"/>
                  <a:gd name="T3" fmla="*/ 0 h 23"/>
                  <a:gd name="T4" fmla="*/ 1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" name="îśľîḋe">
                <a:extLst>
                  <a:ext uri="{FF2B5EF4-FFF2-40B4-BE49-F238E27FC236}">
                    <a16:creationId xmlns:a16="http://schemas.microsoft.com/office/drawing/2014/main" id="{FA0BBF88-AF98-44AE-99CD-A7AC99630C5F}"/>
                  </a:ext>
                </a:extLst>
              </p:cNvPr>
              <p:cNvSpPr/>
              <p:nvPr/>
            </p:nvSpPr>
            <p:spPr bwMode="auto">
              <a:xfrm>
                <a:off x="6915788" y="2907396"/>
                <a:ext cx="128065" cy="84863"/>
              </a:xfrm>
              <a:custGeom>
                <a:avLst/>
                <a:gdLst>
                  <a:gd name="T0" fmla="*/ 34 w 35"/>
                  <a:gd name="T1" fmla="*/ 11 h 23"/>
                  <a:gd name="T2" fmla="*/ 16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" name="ïṩḻiḑe">
                <a:extLst>
                  <a:ext uri="{FF2B5EF4-FFF2-40B4-BE49-F238E27FC236}">
                    <a16:creationId xmlns:a16="http://schemas.microsoft.com/office/drawing/2014/main" id="{05B49817-4BE3-4F6C-AA7F-080F9E800E47}"/>
                  </a:ext>
                </a:extLst>
              </p:cNvPr>
              <p:cNvSpPr/>
              <p:nvPr/>
            </p:nvSpPr>
            <p:spPr bwMode="auto">
              <a:xfrm>
                <a:off x="7060825" y="2907396"/>
                <a:ext cx="128065" cy="84863"/>
              </a:xfrm>
              <a:custGeom>
                <a:avLst/>
                <a:gdLst>
                  <a:gd name="T0" fmla="*/ 33 w 35"/>
                  <a:gd name="T1" fmla="*/ 11 h 23"/>
                  <a:gd name="T2" fmla="*/ 15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3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" name="îSľiďé">
                <a:extLst>
                  <a:ext uri="{FF2B5EF4-FFF2-40B4-BE49-F238E27FC236}">
                    <a16:creationId xmlns:a16="http://schemas.microsoft.com/office/drawing/2014/main" id="{2D94991E-F5DB-47AC-AD67-73F0E9C7EB52}"/>
                  </a:ext>
                </a:extLst>
              </p:cNvPr>
              <p:cNvSpPr/>
              <p:nvPr/>
            </p:nvSpPr>
            <p:spPr bwMode="auto">
              <a:xfrm>
                <a:off x="7207405" y="2907396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5 w 34"/>
                  <a:gd name="T3" fmla="*/ 0 h 23"/>
                  <a:gd name="T4" fmla="*/ 1 w 34"/>
                  <a:gd name="T5" fmla="*/ 11 h 23"/>
                  <a:gd name="T6" fmla="*/ 19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" name="ïṡļíḋé">
                <a:extLst>
                  <a:ext uri="{FF2B5EF4-FFF2-40B4-BE49-F238E27FC236}">
                    <a16:creationId xmlns:a16="http://schemas.microsoft.com/office/drawing/2014/main" id="{153BE35C-902C-4D82-98C0-65C890CDCB93}"/>
                  </a:ext>
                </a:extLst>
              </p:cNvPr>
              <p:cNvSpPr/>
              <p:nvPr/>
            </p:nvSpPr>
            <p:spPr bwMode="auto">
              <a:xfrm>
                <a:off x="6784638" y="3010774"/>
                <a:ext cx="128065" cy="83319"/>
              </a:xfrm>
              <a:custGeom>
                <a:avLst/>
                <a:gdLst>
                  <a:gd name="T0" fmla="*/ 34 w 35"/>
                  <a:gd name="T1" fmla="*/ 11 h 23"/>
                  <a:gd name="T2" fmla="*/ 16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" name="iṧ1ïḋé">
                <a:extLst>
                  <a:ext uri="{FF2B5EF4-FFF2-40B4-BE49-F238E27FC236}">
                    <a16:creationId xmlns:a16="http://schemas.microsoft.com/office/drawing/2014/main" id="{9869EE63-E728-40D2-935C-9593C1BEF4CB}"/>
                  </a:ext>
                </a:extLst>
              </p:cNvPr>
              <p:cNvSpPr/>
              <p:nvPr/>
            </p:nvSpPr>
            <p:spPr bwMode="auto">
              <a:xfrm>
                <a:off x="6929675" y="3010774"/>
                <a:ext cx="128065" cy="83319"/>
              </a:xfrm>
              <a:custGeom>
                <a:avLst/>
                <a:gdLst>
                  <a:gd name="T0" fmla="*/ 34 w 35"/>
                  <a:gd name="T1" fmla="*/ 11 h 23"/>
                  <a:gd name="T2" fmla="*/ 16 w 35"/>
                  <a:gd name="T3" fmla="*/ 0 h 23"/>
                  <a:gd name="T4" fmla="*/ 1 w 35"/>
                  <a:gd name="T5" fmla="*/ 11 h 23"/>
                  <a:gd name="T6" fmla="*/ 20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20" y="23"/>
                    </a:cubicBezTo>
                    <a:cubicBezTo>
                      <a:pt x="29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" name="ïS1iḋê">
                <a:extLst>
                  <a:ext uri="{FF2B5EF4-FFF2-40B4-BE49-F238E27FC236}">
                    <a16:creationId xmlns:a16="http://schemas.microsoft.com/office/drawing/2014/main" id="{4FC4B53A-4DC3-45CE-903C-DA1E28E68A4E}"/>
                  </a:ext>
                </a:extLst>
              </p:cNvPr>
              <p:cNvSpPr/>
              <p:nvPr/>
            </p:nvSpPr>
            <p:spPr bwMode="auto">
              <a:xfrm>
                <a:off x="7079340" y="3010774"/>
                <a:ext cx="128065" cy="83319"/>
              </a:xfrm>
              <a:custGeom>
                <a:avLst/>
                <a:gdLst>
                  <a:gd name="T0" fmla="*/ 33 w 35"/>
                  <a:gd name="T1" fmla="*/ 11 h 23"/>
                  <a:gd name="T2" fmla="*/ 15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3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" name="išḻídé">
                <a:extLst>
                  <a:ext uri="{FF2B5EF4-FFF2-40B4-BE49-F238E27FC236}">
                    <a16:creationId xmlns:a16="http://schemas.microsoft.com/office/drawing/2014/main" id="{27CC7E6D-8E02-4795-AEE2-636DA0706ED8}"/>
                  </a:ext>
                </a:extLst>
              </p:cNvPr>
              <p:cNvSpPr/>
              <p:nvPr/>
            </p:nvSpPr>
            <p:spPr bwMode="auto">
              <a:xfrm>
                <a:off x="7225921" y="3010774"/>
                <a:ext cx="128065" cy="83319"/>
              </a:xfrm>
              <a:custGeom>
                <a:avLst/>
                <a:gdLst>
                  <a:gd name="T0" fmla="*/ 34 w 35"/>
                  <a:gd name="T1" fmla="*/ 11 h 23"/>
                  <a:gd name="T2" fmla="*/ 15 w 35"/>
                  <a:gd name="T3" fmla="*/ 0 h 23"/>
                  <a:gd name="T4" fmla="*/ 1 w 35"/>
                  <a:gd name="T5" fmla="*/ 11 h 23"/>
                  <a:gd name="T6" fmla="*/ 20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20" y="23"/>
                    </a:cubicBezTo>
                    <a:cubicBezTo>
                      <a:pt x="29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" name="îŝḷiḑé">
                <a:extLst>
                  <a:ext uri="{FF2B5EF4-FFF2-40B4-BE49-F238E27FC236}">
                    <a16:creationId xmlns:a16="http://schemas.microsoft.com/office/drawing/2014/main" id="{5377DC96-B06B-4FC3-A2CE-4E5F623D05EE}"/>
                  </a:ext>
                </a:extLst>
              </p:cNvPr>
              <p:cNvSpPr/>
              <p:nvPr/>
            </p:nvSpPr>
            <p:spPr bwMode="auto">
              <a:xfrm>
                <a:off x="7664118" y="3010774"/>
                <a:ext cx="131151" cy="83319"/>
              </a:xfrm>
              <a:custGeom>
                <a:avLst/>
                <a:gdLst>
                  <a:gd name="T0" fmla="*/ 35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1 w 36"/>
                  <a:gd name="T7" fmla="*/ 23 h 23"/>
                  <a:gd name="T8" fmla="*/ 35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8"/>
                      <a:pt x="12" y="23"/>
                      <a:pt x="21" y="23"/>
                    </a:cubicBezTo>
                    <a:cubicBezTo>
                      <a:pt x="30" y="23"/>
                      <a:pt x="36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" name="î$ļïḋê">
                <a:extLst>
                  <a:ext uri="{FF2B5EF4-FFF2-40B4-BE49-F238E27FC236}">
                    <a16:creationId xmlns:a16="http://schemas.microsoft.com/office/drawing/2014/main" id="{95C42144-8C08-43B3-AA01-8E8CE908D106}"/>
                  </a:ext>
                </a:extLst>
              </p:cNvPr>
              <p:cNvSpPr/>
              <p:nvPr/>
            </p:nvSpPr>
            <p:spPr bwMode="auto">
              <a:xfrm>
                <a:off x="6798524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" name="íṩ1îḑé">
                <a:extLst>
                  <a:ext uri="{FF2B5EF4-FFF2-40B4-BE49-F238E27FC236}">
                    <a16:creationId xmlns:a16="http://schemas.microsoft.com/office/drawing/2014/main" id="{6462E9C6-5E53-4EEA-8D76-4E49448E551A}"/>
                  </a:ext>
                </a:extLst>
              </p:cNvPr>
              <p:cNvSpPr/>
              <p:nvPr/>
            </p:nvSpPr>
            <p:spPr bwMode="auto">
              <a:xfrm>
                <a:off x="6948190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5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6"/>
                      <a:pt x="25" y="0"/>
                      <a:pt x="15" y="0"/>
                    </a:cubicBezTo>
                    <a:cubicBezTo>
                      <a:pt x="6" y="0"/>
                      <a:pt x="0" y="6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" name="ïş1íḋè">
                <a:extLst>
                  <a:ext uri="{FF2B5EF4-FFF2-40B4-BE49-F238E27FC236}">
                    <a16:creationId xmlns:a16="http://schemas.microsoft.com/office/drawing/2014/main" id="{B7D91B61-2D3B-4D88-B703-CB768AC0EF81}"/>
                  </a:ext>
                </a:extLst>
              </p:cNvPr>
              <p:cNvSpPr/>
              <p:nvPr/>
            </p:nvSpPr>
            <p:spPr bwMode="auto">
              <a:xfrm>
                <a:off x="7637887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1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8"/>
                      <a:pt x="12" y="23"/>
                      <a:pt x="21" y="23"/>
                    </a:cubicBezTo>
                    <a:cubicBezTo>
                      <a:pt x="30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" name="iṣḷîde">
                <a:extLst>
                  <a:ext uri="{FF2B5EF4-FFF2-40B4-BE49-F238E27FC236}">
                    <a16:creationId xmlns:a16="http://schemas.microsoft.com/office/drawing/2014/main" id="{AE484FB9-B441-4DDA-9C89-E6CE2ECA514D}"/>
                  </a:ext>
                </a:extLst>
              </p:cNvPr>
              <p:cNvSpPr/>
              <p:nvPr/>
            </p:nvSpPr>
            <p:spPr bwMode="auto">
              <a:xfrm>
                <a:off x="7784467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1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8"/>
                      <a:pt x="12" y="23"/>
                      <a:pt x="21" y="23"/>
                    </a:cubicBezTo>
                    <a:cubicBezTo>
                      <a:pt x="30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" name="îṣľïḑé">
                <a:extLst>
                  <a:ext uri="{FF2B5EF4-FFF2-40B4-BE49-F238E27FC236}">
                    <a16:creationId xmlns:a16="http://schemas.microsoft.com/office/drawing/2014/main" id="{1243F144-507F-4FD6-A00D-AB6A34AD13AF}"/>
                  </a:ext>
                </a:extLst>
              </p:cNvPr>
              <p:cNvSpPr/>
              <p:nvPr/>
            </p:nvSpPr>
            <p:spPr bwMode="auto">
              <a:xfrm>
                <a:off x="7926418" y="2907396"/>
                <a:ext cx="134237" cy="84863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2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" name="ïşlíḋe">
                <a:extLst>
                  <a:ext uri="{FF2B5EF4-FFF2-40B4-BE49-F238E27FC236}">
                    <a16:creationId xmlns:a16="http://schemas.microsoft.com/office/drawing/2014/main" id="{6A18F1E8-BA3F-4E53-8BD5-90103405B85D}"/>
                  </a:ext>
                </a:extLst>
              </p:cNvPr>
              <p:cNvSpPr/>
              <p:nvPr/>
            </p:nvSpPr>
            <p:spPr bwMode="auto">
              <a:xfrm>
                <a:off x="8072998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2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" name="isḷíďê">
                <a:extLst>
                  <a:ext uri="{FF2B5EF4-FFF2-40B4-BE49-F238E27FC236}">
                    <a16:creationId xmlns:a16="http://schemas.microsoft.com/office/drawing/2014/main" id="{EC4B4EAA-C093-42FA-9B02-B448641C2E78}"/>
                  </a:ext>
                </a:extLst>
              </p:cNvPr>
              <p:cNvSpPr/>
              <p:nvPr/>
            </p:nvSpPr>
            <p:spPr bwMode="auto">
              <a:xfrm>
                <a:off x="8218035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4 w 36"/>
                  <a:gd name="T3" fmla="*/ 0 h 23"/>
                  <a:gd name="T4" fmla="*/ 2 w 36"/>
                  <a:gd name="T5" fmla="*/ 11 h 23"/>
                  <a:gd name="T6" fmla="*/ 22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" name="ïṩlíḍe">
                <a:extLst>
                  <a:ext uri="{FF2B5EF4-FFF2-40B4-BE49-F238E27FC236}">
                    <a16:creationId xmlns:a16="http://schemas.microsoft.com/office/drawing/2014/main" id="{E2EB62F1-EECC-4C90-B94F-0FE2F60F4903}"/>
                  </a:ext>
                </a:extLst>
              </p:cNvPr>
              <p:cNvSpPr/>
              <p:nvPr/>
            </p:nvSpPr>
            <p:spPr bwMode="auto">
              <a:xfrm>
                <a:off x="8359986" y="2907396"/>
                <a:ext cx="135779" cy="84863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" name="îṡļidê">
                <a:extLst>
                  <a:ext uri="{FF2B5EF4-FFF2-40B4-BE49-F238E27FC236}">
                    <a16:creationId xmlns:a16="http://schemas.microsoft.com/office/drawing/2014/main" id="{BE6F8C42-BC95-4928-AD7E-7B87A16838FB}"/>
                  </a:ext>
                </a:extLst>
              </p:cNvPr>
              <p:cNvSpPr/>
              <p:nvPr/>
            </p:nvSpPr>
            <p:spPr bwMode="auto">
              <a:xfrm>
                <a:off x="8506566" y="2907396"/>
                <a:ext cx="135779" cy="84863"/>
              </a:xfrm>
              <a:custGeom>
                <a:avLst/>
                <a:gdLst>
                  <a:gd name="T0" fmla="*/ 35 w 37"/>
                  <a:gd name="T1" fmla="*/ 11 h 23"/>
                  <a:gd name="T2" fmla="*/ 14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8"/>
                      <a:pt x="14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" name="ï$1îḋé">
                <a:extLst>
                  <a:ext uri="{FF2B5EF4-FFF2-40B4-BE49-F238E27FC236}">
                    <a16:creationId xmlns:a16="http://schemas.microsoft.com/office/drawing/2014/main" id="{60E376E1-818A-4781-A14D-4EBAA910DD50}"/>
                  </a:ext>
                </a:extLst>
              </p:cNvPr>
              <p:cNvSpPr/>
              <p:nvPr/>
            </p:nvSpPr>
            <p:spPr bwMode="auto">
              <a:xfrm>
                <a:off x="8648517" y="2907396"/>
                <a:ext cx="138865" cy="84863"/>
              </a:xfrm>
              <a:custGeom>
                <a:avLst/>
                <a:gdLst>
                  <a:gd name="T0" fmla="*/ 35 w 38"/>
                  <a:gd name="T1" fmla="*/ 11 h 23"/>
                  <a:gd name="T2" fmla="*/ 15 w 38"/>
                  <a:gd name="T3" fmla="*/ 0 h 23"/>
                  <a:gd name="T4" fmla="*/ 3 w 38"/>
                  <a:gd name="T5" fmla="*/ 11 h 23"/>
                  <a:gd name="T6" fmla="*/ 23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3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3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" name="íṡḻîḑé">
                <a:extLst>
                  <a:ext uri="{FF2B5EF4-FFF2-40B4-BE49-F238E27FC236}">
                    <a16:creationId xmlns:a16="http://schemas.microsoft.com/office/drawing/2014/main" id="{7E279154-0F3A-4081-AF05-BE69FE651761}"/>
                  </a:ext>
                </a:extLst>
              </p:cNvPr>
              <p:cNvSpPr/>
              <p:nvPr/>
            </p:nvSpPr>
            <p:spPr bwMode="auto">
              <a:xfrm>
                <a:off x="8795097" y="2907396"/>
                <a:ext cx="138865" cy="84863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3 w 38"/>
                  <a:gd name="T5" fmla="*/ 11 h 23"/>
                  <a:gd name="T6" fmla="*/ 23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" name="íṥḷïḋe">
                <a:extLst>
                  <a:ext uri="{FF2B5EF4-FFF2-40B4-BE49-F238E27FC236}">
                    <a16:creationId xmlns:a16="http://schemas.microsoft.com/office/drawing/2014/main" id="{56CB195B-E176-4188-8F9E-074527FB42E5}"/>
                  </a:ext>
                </a:extLst>
              </p:cNvPr>
              <p:cNvSpPr/>
              <p:nvPr/>
            </p:nvSpPr>
            <p:spPr bwMode="auto">
              <a:xfrm>
                <a:off x="7134886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5"/>
                      <a:pt x="10" y="20"/>
                      <a:pt x="19" y="20"/>
                    </a:cubicBezTo>
                    <a:cubicBezTo>
                      <a:pt x="27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" name="îṧḷïḓé">
                <a:extLst>
                  <a:ext uri="{FF2B5EF4-FFF2-40B4-BE49-F238E27FC236}">
                    <a16:creationId xmlns:a16="http://schemas.microsoft.com/office/drawing/2014/main" id="{686EBC61-0671-4F37-A7B6-FBDA3340E503}"/>
                  </a:ext>
                </a:extLst>
              </p:cNvPr>
              <p:cNvSpPr/>
              <p:nvPr/>
            </p:nvSpPr>
            <p:spPr bwMode="auto">
              <a:xfrm>
                <a:off x="7273752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5"/>
                      <a:pt x="10" y="20"/>
                      <a:pt x="18" y="20"/>
                    </a:cubicBezTo>
                    <a:cubicBezTo>
                      <a:pt x="27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" name="î$líḋe">
                <a:extLst>
                  <a:ext uri="{FF2B5EF4-FFF2-40B4-BE49-F238E27FC236}">
                    <a16:creationId xmlns:a16="http://schemas.microsoft.com/office/drawing/2014/main" id="{496671A5-2588-428D-A832-6371E5001016}"/>
                  </a:ext>
                </a:extLst>
              </p:cNvPr>
              <p:cNvSpPr/>
              <p:nvPr/>
            </p:nvSpPr>
            <p:spPr bwMode="auto">
              <a:xfrm>
                <a:off x="7407988" y="2532461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5 w 34"/>
                  <a:gd name="T3" fmla="*/ 0 h 20"/>
                  <a:gd name="T4" fmla="*/ 2 w 34"/>
                  <a:gd name="T5" fmla="*/ 10 h 20"/>
                  <a:gd name="T6" fmla="*/ 19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5"/>
                      <a:pt x="11" y="20"/>
                      <a:pt x="19" y="20"/>
                    </a:cubicBezTo>
                    <a:cubicBezTo>
                      <a:pt x="28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" name="ïṧḻíḑe">
                <a:extLst>
                  <a:ext uri="{FF2B5EF4-FFF2-40B4-BE49-F238E27FC236}">
                    <a16:creationId xmlns:a16="http://schemas.microsoft.com/office/drawing/2014/main" id="{595507EE-E59F-4E45-9CF1-D0945D7608D0}"/>
                  </a:ext>
                </a:extLst>
              </p:cNvPr>
              <p:cNvSpPr/>
              <p:nvPr/>
            </p:nvSpPr>
            <p:spPr bwMode="auto">
              <a:xfrm>
                <a:off x="7546854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3" y="15"/>
                      <a:pt x="11" y="20"/>
                      <a:pt x="19" y="20"/>
                    </a:cubicBezTo>
                    <a:cubicBezTo>
                      <a:pt x="28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" name="iṩḻiďè">
                <a:extLst>
                  <a:ext uri="{FF2B5EF4-FFF2-40B4-BE49-F238E27FC236}">
                    <a16:creationId xmlns:a16="http://schemas.microsoft.com/office/drawing/2014/main" id="{694E39A8-DA87-42D8-B034-46E331A580AA}"/>
                  </a:ext>
                </a:extLst>
              </p:cNvPr>
              <p:cNvSpPr/>
              <p:nvPr/>
            </p:nvSpPr>
            <p:spPr bwMode="auto">
              <a:xfrm>
                <a:off x="7682633" y="2532461"/>
                <a:ext cx="123436" cy="72519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5"/>
                      <a:pt x="11" y="20"/>
                      <a:pt x="20" y="20"/>
                    </a:cubicBezTo>
                    <a:cubicBezTo>
                      <a:pt x="29" y="20"/>
                      <a:pt x="34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" name="ïśḷïdê">
                <a:extLst>
                  <a:ext uri="{FF2B5EF4-FFF2-40B4-BE49-F238E27FC236}">
                    <a16:creationId xmlns:a16="http://schemas.microsoft.com/office/drawing/2014/main" id="{4458BCFD-FF34-4129-9AB6-2AA427E62D23}"/>
                  </a:ext>
                </a:extLst>
              </p:cNvPr>
              <p:cNvSpPr/>
              <p:nvPr/>
            </p:nvSpPr>
            <p:spPr bwMode="auto">
              <a:xfrm>
                <a:off x="7819955" y="2532461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5"/>
                      <a:pt x="11" y="20"/>
                      <a:pt x="20" y="20"/>
                    </a:cubicBezTo>
                    <a:cubicBezTo>
                      <a:pt x="28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" name="íṣ1îḍè">
                <a:extLst>
                  <a:ext uri="{FF2B5EF4-FFF2-40B4-BE49-F238E27FC236}">
                    <a16:creationId xmlns:a16="http://schemas.microsoft.com/office/drawing/2014/main" id="{CD7C30DA-5893-4E47-BFE7-DC3B1630CAA2}"/>
                  </a:ext>
                </a:extLst>
              </p:cNvPr>
              <p:cNvSpPr/>
              <p:nvPr/>
            </p:nvSpPr>
            <p:spPr bwMode="auto">
              <a:xfrm>
                <a:off x="7958820" y="2532461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3 w 34"/>
                  <a:gd name="T3" fmla="*/ 0 h 20"/>
                  <a:gd name="T4" fmla="*/ 1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1" y="10"/>
                    </a:cubicBezTo>
                    <a:cubicBezTo>
                      <a:pt x="3" y="15"/>
                      <a:pt x="11" y="20"/>
                      <a:pt x="20" y="20"/>
                    </a:cubicBezTo>
                    <a:cubicBezTo>
                      <a:pt x="28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" name="iSľíďê">
                <a:extLst>
                  <a:ext uri="{FF2B5EF4-FFF2-40B4-BE49-F238E27FC236}">
                    <a16:creationId xmlns:a16="http://schemas.microsoft.com/office/drawing/2014/main" id="{A69D98A4-F365-4A00-98E2-75B07EDA87FC}"/>
                  </a:ext>
                </a:extLst>
              </p:cNvPr>
              <p:cNvSpPr/>
              <p:nvPr/>
            </p:nvSpPr>
            <p:spPr bwMode="auto">
              <a:xfrm>
                <a:off x="8094599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4" y="15"/>
                      <a:pt x="12" y="20"/>
                      <a:pt x="21" y="20"/>
                    </a:cubicBezTo>
                    <a:cubicBezTo>
                      <a:pt x="29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" name="í$1îḑê">
                <a:extLst>
                  <a:ext uri="{FF2B5EF4-FFF2-40B4-BE49-F238E27FC236}">
                    <a16:creationId xmlns:a16="http://schemas.microsoft.com/office/drawing/2014/main" id="{EF53ECC7-68AC-455F-BE56-579A63F8D5F1}"/>
                  </a:ext>
                </a:extLst>
              </p:cNvPr>
              <p:cNvSpPr/>
              <p:nvPr/>
            </p:nvSpPr>
            <p:spPr bwMode="auto">
              <a:xfrm>
                <a:off x="8233464" y="2532461"/>
                <a:ext cx="123436" cy="72519"/>
              </a:xfrm>
              <a:custGeom>
                <a:avLst/>
                <a:gdLst>
                  <a:gd name="T0" fmla="*/ 32 w 34"/>
                  <a:gd name="T1" fmla="*/ 10 h 20"/>
                  <a:gd name="T2" fmla="*/ 13 w 34"/>
                  <a:gd name="T3" fmla="*/ 0 h 20"/>
                  <a:gd name="T4" fmla="*/ 2 w 34"/>
                  <a:gd name="T5" fmla="*/ 10 h 20"/>
                  <a:gd name="T6" fmla="*/ 21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3" y="15"/>
                      <a:pt x="12" y="20"/>
                      <a:pt x="21" y="20"/>
                    </a:cubicBezTo>
                    <a:cubicBezTo>
                      <a:pt x="29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" name="îşḻîďê">
                <a:extLst>
                  <a:ext uri="{FF2B5EF4-FFF2-40B4-BE49-F238E27FC236}">
                    <a16:creationId xmlns:a16="http://schemas.microsoft.com/office/drawing/2014/main" id="{D0B419BA-EAEA-4AD4-BF04-697A5676A3A0}"/>
                  </a:ext>
                </a:extLst>
              </p:cNvPr>
              <p:cNvSpPr/>
              <p:nvPr/>
            </p:nvSpPr>
            <p:spPr bwMode="auto">
              <a:xfrm>
                <a:off x="8367701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4" y="15"/>
                      <a:pt x="13" y="20"/>
                      <a:pt x="21" y="20"/>
                    </a:cubicBezTo>
                    <a:cubicBezTo>
                      <a:pt x="30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" name="iṣḻíďè">
                <a:extLst>
                  <a:ext uri="{FF2B5EF4-FFF2-40B4-BE49-F238E27FC236}">
                    <a16:creationId xmlns:a16="http://schemas.microsoft.com/office/drawing/2014/main" id="{04051311-344C-4F3F-9A2A-0AE2B41011B8}"/>
                  </a:ext>
                </a:extLst>
              </p:cNvPr>
              <p:cNvSpPr/>
              <p:nvPr/>
            </p:nvSpPr>
            <p:spPr bwMode="auto">
              <a:xfrm>
                <a:off x="8506566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4" y="15"/>
                      <a:pt x="13" y="20"/>
                      <a:pt x="21" y="20"/>
                    </a:cubicBezTo>
                    <a:cubicBezTo>
                      <a:pt x="30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" name="ïş1íďé">
                <a:extLst>
                  <a:ext uri="{FF2B5EF4-FFF2-40B4-BE49-F238E27FC236}">
                    <a16:creationId xmlns:a16="http://schemas.microsoft.com/office/drawing/2014/main" id="{137D328F-B42F-4275-937B-D57517300CB0}"/>
                  </a:ext>
                </a:extLst>
              </p:cNvPr>
              <p:cNvSpPr/>
              <p:nvPr/>
            </p:nvSpPr>
            <p:spPr bwMode="auto">
              <a:xfrm>
                <a:off x="8642346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5"/>
                      <a:pt x="14" y="20"/>
                      <a:pt x="22" y="20"/>
                    </a:cubicBezTo>
                    <a:cubicBezTo>
                      <a:pt x="31" y="20"/>
                      <a:pt x="36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" name="iṡlîḋé">
                <a:extLst>
                  <a:ext uri="{FF2B5EF4-FFF2-40B4-BE49-F238E27FC236}">
                    <a16:creationId xmlns:a16="http://schemas.microsoft.com/office/drawing/2014/main" id="{AFC90D04-317E-449B-90BE-1F25E746420A}"/>
                  </a:ext>
                </a:extLst>
              </p:cNvPr>
              <p:cNvSpPr/>
              <p:nvPr/>
            </p:nvSpPr>
            <p:spPr bwMode="auto">
              <a:xfrm>
                <a:off x="7153402" y="2623494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10" y="20"/>
                      <a:pt x="18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" name="îṣļïḑé">
                <a:extLst>
                  <a:ext uri="{FF2B5EF4-FFF2-40B4-BE49-F238E27FC236}">
                    <a16:creationId xmlns:a16="http://schemas.microsoft.com/office/drawing/2014/main" id="{8A947D6E-7904-4A21-8DE9-C8021E46843F}"/>
                  </a:ext>
                </a:extLst>
              </p:cNvPr>
              <p:cNvSpPr/>
              <p:nvPr/>
            </p:nvSpPr>
            <p:spPr bwMode="auto">
              <a:xfrm>
                <a:off x="7290725" y="2623494"/>
                <a:ext cx="121893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10" y="20"/>
                      <a:pt x="19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8" name="íśḷïde">
                <a:extLst>
                  <a:ext uri="{FF2B5EF4-FFF2-40B4-BE49-F238E27FC236}">
                    <a16:creationId xmlns:a16="http://schemas.microsoft.com/office/drawing/2014/main" id="{C6711645-7B8D-493C-AA2A-2C8BF0A55BEF}"/>
                  </a:ext>
                </a:extLst>
              </p:cNvPr>
              <p:cNvSpPr/>
              <p:nvPr/>
            </p:nvSpPr>
            <p:spPr bwMode="auto">
              <a:xfrm>
                <a:off x="7429590" y="2623494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1 w 34"/>
                  <a:gd name="T5" fmla="*/ 10 h 20"/>
                  <a:gd name="T6" fmla="*/ 19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11" y="20"/>
                      <a:pt x="19" y="20"/>
                    </a:cubicBezTo>
                    <a:cubicBezTo>
                      <a:pt x="28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9" name="ïṧḷíḍê">
                <a:extLst>
                  <a:ext uri="{FF2B5EF4-FFF2-40B4-BE49-F238E27FC236}">
                    <a16:creationId xmlns:a16="http://schemas.microsoft.com/office/drawing/2014/main" id="{617B4CA5-8906-46D2-A47E-4AB1A310C22F}"/>
                  </a:ext>
                </a:extLst>
              </p:cNvPr>
              <p:cNvSpPr/>
              <p:nvPr/>
            </p:nvSpPr>
            <p:spPr bwMode="auto">
              <a:xfrm>
                <a:off x="7568455" y="2623494"/>
                <a:ext cx="124979" cy="72519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1 w 34"/>
                  <a:gd name="T5" fmla="*/ 10 h 20"/>
                  <a:gd name="T6" fmla="*/ 20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3" y="16"/>
                      <a:pt x="11" y="20"/>
                      <a:pt x="20" y="20"/>
                    </a:cubicBezTo>
                    <a:cubicBezTo>
                      <a:pt x="28" y="20"/>
                      <a:pt x="34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0" name="íṧ1iḑê">
                <a:extLst>
                  <a:ext uri="{FF2B5EF4-FFF2-40B4-BE49-F238E27FC236}">
                    <a16:creationId xmlns:a16="http://schemas.microsoft.com/office/drawing/2014/main" id="{5A43D89C-D219-4761-883C-92B55794132F}"/>
                  </a:ext>
                </a:extLst>
              </p:cNvPr>
              <p:cNvSpPr/>
              <p:nvPr/>
            </p:nvSpPr>
            <p:spPr bwMode="auto">
              <a:xfrm>
                <a:off x="7707320" y="2623494"/>
                <a:ext cx="123436" cy="72519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6"/>
                      <a:pt x="11" y="20"/>
                      <a:pt x="20" y="20"/>
                    </a:cubicBezTo>
                    <a:cubicBezTo>
                      <a:pt x="29" y="20"/>
                      <a:pt x="34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1" name="ïslíḑe">
                <a:extLst>
                  <a:ext uri="{FF2B5EF4-FFF2-40B4-BE49-F238E27FC236}">
                    <a16:creationId xmlns:a16="http://schemas.microsoft.com/office/drawing/2014/main" id="{2BEEA92A-F6A4-44AA-84CC-1A7FAA987CDB}"/>
                  </a:ext>
                </a:extLst>
              </p:cNvPr>
              <p:cNvSpPr/>
              <p:nvPr/>
            </p:nvSpPr>
            <p:spPr bwMode="auto">
              <a:xfrm>
                <a:off x="7846185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0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6"/>
                      <a:pt x="12" y="20"/>
                      <a:pt x="20" y="20"/>
                    </a:cubicBezTo>
                    <a:cubicBezTo>
                      <a:pt x="29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2" name="îsḷíďè">
                <a:extLst>
                  <a:ext uri="{FF2B5EF4-FFF2-40B4-BE49-F238E27FC236}">
                    <a16:creationId xmlns:a16="http://schemas.microsoft.com/office/drawing/2014/main" id="{B465086A-A538-46FC-9704-10C05FB54179}"/>
                  </a:ext>
                </a:extLst>
              </p:cNvPr>
              <p:cNvSpPr/>
              <p:nvPr/>
            </p:nvSpPr>
            <p:spPr bwMode="auto">
              <a:xfrm>
                <a:off x="7985050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2" y="20"/>
                      <a:pt x="21" y="20"/>
                    </a:cubicBezTo>
                    <a:cubicBezTo>
                      <a:pt x="29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3" name="iS1ídé">
                <a:extLst>
                  <a:ext uri="{FF2B5EF4-FFF2-40B4-BE49-F238E27FC236}">
                    <a16:creationId xmlns:a16="http://schemas.microsoft.com/office/drawing/2014/main" id="{08673ECD-8BC5-47AB-8FAC-5B989B5CB04B}"/>
                  </a:ext>
                </a:extLst>
              </p:cNvPr>
              <p:cNvSpPr/>
              <p:nvPr/>
            </p:nvSpPr>
            <p:spPr bwMode="auto">
              <a:xfrm>
                <a:off x="8123916" y="2623494"/>
                <a:ext cx="126522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2" y="20"/>
                      <a:pt x="21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4" name="îşḻïḍe">
                <a:extLst>
                  <a:ext uri="{FF2B5EF4-FFF2-40B4-BE49-F238E27FC236}">
                    <a16:creationId xmlns:a16="http://schemas.microsoft.com/office/drawing/2014/main" id="{046D85F7-5AA1-4F3A-939E-F5213090735E}"/>
                  </a:ext>
                </a:extLst>
              </p:cNvPr>
              <p:cNvSpPr/>
              <p:nvPr/>
            </p:nvSpPr>
            <p:spPr bwMode="auto">
              <a:xfrm>
                <a:off x="8262781" y="2623494"/>
                <a:ext cx="126522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5" name="ïŝḻídè">
                <a:extLst>
                  <a:ext uri="{FF2B5EF4-FFF2-40B4-BE49-F238E27FC236}">
                    <a16:creationId xmlns:a16="http://schemas.microsoft.com/office/drawing/2014/main" id="{4883F835-884C-4E00-B3C1-70C11A252ACD}"/>
                  </a:ext>
                </a:extLst>
              </p:cNvPr>
              <p:cNvSpPr/>
              <p:nvPr/>
            </p:nvSpPr>
            <p:spPr bwMode="auto">
              <a:xfrm>
                <a:off x="8400103" y="2623494"/>
                <a:ext cx="132693" cy="72519"/>
              </a:xfrm>
              <a:custGeom>
                <a:avLst/>
                <a:gdLst>
                  <a:gd name="T0" fmla="*/ 33 w 36"/>
                  <a:gd name="T1" fmla="*/ 10 h 20"/>
                  <a:gd name="T2" fmla="*/ 14 w 36"/>
                  <a:gd name="T3" fmla="*/ 0 h 20"/>
                  <a:gd name="T4" fmla="*/ 2 w 36"/>
                  <a:gd name="T5" fmla="*/ 10 h 20"/>
                  <a:gd name="T6" fmla="*/ 2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3" y="20"/>
                      <a:pt x="22" y="20"/>
                    </a:cubicBezTo>
                    <a:cubicBezTo>
                      <a:pt x="30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6" name="îṣ1îdè">
                <a:extLst>
                  <a:ext uri="{FF2B5EF4-FFF2-40B4-BE49-F238E27FC236}">
                    <a16:creationId xmlns:a16="http://schemas.microsoft.com/office/drawing/2014/main" id="{44262AE0-DB02-4F5B-A274-7E5AF64A26F0}"/>
                  </a:ext>
                </a:extLst>
              </p:cNvPr>
              <p:cNvSpPr/>
              <p:nvPr/>
            </p:nvSpPr>
            <p:spPr bwMode="auto">
              <a:xfrm>
                <a:off x="8538968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2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6"/>
                      <a:pt x="14" y="20"/>
                      <a:pt x="22" y="20"/>
                    </a:cubicBezTo>
                    <a:cubicBezTo>
                      <a:pt x="31" y="20"/>
                      <a:pt x="36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7" name="íšḷîḍê">
                <a:extLst>
                  <a:ext uri="{FF2B5EF4-FFF2-40B4-BE49-F238E27FC236}">
                    <a16:creationId xmlns:a16="http://schemas.microsoft.com/office/drawing/2014/main" id="{1EF46E56-E144-43B7-929B-DE5C32265C66}"/>
                  </a:ext>
                </a:extLst>
              </p:cNvPr>
              <p:cNvSpPr/>
              <p:nvPr/>
            </p:nvSpPr>
            <p:spPr bwMode="auto">
              <a:xfrm>
                <a:off x="8677833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1" y="20"/>
                      <a:pt x="36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8" name="íṩḻídè">
                <a:extLst>
                  <a:ext uri="{FF2B5EF4-FFF2-40B4-BE49-F238E27FC236}">
                    <a16:creationId xmlns:a16="http://schemas.microsoft.com/office/drawing/2014/main" id="{5ED62925-5583-43B1-8573-06527EAB4FE5}"/>
                  </a:ext>
                </a:extLst>
              </p:cNvPr>
              <p:cNvSpPr/>
              <p:nvPr/>
            </p:nvSpPr>
            <p:spPr bwMode="auto">
              <a:xfrm>
                <a:off x="7170375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4 w 33"/>
                  <a:gd name="T3" fmla="*/ 0 h 22"/>
                  <a:gd name="T4" fmla="*/ 1 w 33"/>
                  <a:gd name="T5" fmla="*/ 11 h 22"/>
                  <a:gd name="T6" fmla="*/ 19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7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9" name="ïsḷíḋé">
                <a:extLst>
                  <a:ext uri="{FF2B5EF4-FFF2-40B4-BE49-F238E27FC236}">
                    <a16:creationId xmlns:a16="http://schemas.microsoft.com/office/drawing/2014/main" id="{C38D2691-8102-44BB-86CF-28A57818D57F}"/>
                  </a:ext>
                </a:extLst>
              </p:cNvPr>
              <p:cNvSpPr/>
              <p:nvPr/>
            </p:nvSpPr>
            <p:spPr bwMode="auto">
              <a:xfrm>
                <a:off x="7309240" y="2714528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5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0" name="iSļiḑê">
                <a:extLst>
                  <a:ext uri="{FF2B5EF4-FFF2-40B4-BE49-F238E27FC236}">
                    <a16:creationId xmlns:a16="http://schemas.microsoft.com/office/drawing/2014/main" id="{8A16E31D-68C1-40AC-822B-83B01C3AD0A1}"/>
                  </a:ext>
                </a:extLst>
              </p:cNvPr>
              <p:cNvSpPr/>
              <p:nvPr/>
            </p:nvSpPr>
            <p:spPr bwMode="auto">
              <a:xfrm>
                <a:off x="7452733" y="2714528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4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1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1" name="íSḻíďè">
                <a:extLst>
                  <a:ext uri="{FF2B5EF4-FFF2-40B4-BE49-F238E27FC236}">
                    <a16:creationId xmlns:a16="http://schemas.microsoft.com/office/drawing/2014/main" id="{5947373C-A906-4407-B7D4-BC53A0AE2383}"/>
                  </a:ext>
                </a:extLst>
              </p:cNvPr>
              <p:cNvSpPr/>
              <p:nvPr/>
            </p:nvSpPr>
            <p:spPr bwMode="auto">
              <a:xfrm>
                <a:off x="7590056" y="2714528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5 w 35"/>
                  <a:gd name="T3" fmla="*/ 0 h 22"/>
                  <a:gd name="T4" fmla="*/ 2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2" y="5"/>
                      <a:pt x="23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2" name="íŝḻîďe">
                <a:extLst>
                  <a:ext uri="{FF2B5EF4-FFF2-40B4-BE49-F238E27FC236}">
                    <a16:creationId xmlns:a16="http://schemas.microsoft.com/office/drawing/2014/main" id="{363DD419-4090-4AA0-84E3-652810EE6A9A}"/>
                  </a:ext>
                </a:extLst>
              </p:cNvPr>
              <p:cNvSpPr/>
              <p:nvPr/>
            </p:nvSpPr>
            <p:spPr bwMode="auto">
              <a:xfrm>
                <a:off x="7733550" y="2714528"/>
                <a:ext cx="126522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1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3" name="i$ļïḍe">
                <a:extLst>
                  <a:ext uri="{FF2B5EF4-FFF2-40B4-BE49-F238E27FC236}">
                    <a16:creationId xmlns:a16="http://schemas.microsoft.com/office/drawing/2014/main" id="{7D51C58C-179F-4240-A655-07D89015068E}"/>
                  </a:ext>
                </a:extLst>
              </p:cNvPr>
              <p:cNvSpPr/>
              <p:nvPr/>
            </p:nvSpPr>
            <p:spPr bwMode="auto">
              <a:xfrm>
                <a:off x="7872415" y="2714528"/>
                <a:ext cx="126522" cy="80233"/>
              </a:xfrm>
              <a:custGeom>
                <a:avLst/>
                <a:gdLst>
                  <a:gd name="T0" fmla="*/ 34 w 35"/>
                  <a:gd name="T1" fmla="*/ 11 h 22"/>
                  <a:gd name="T2" fmla="*/ 15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4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4" y="11"/>
                    </a:moveTo>
                    <a:cubicBezTo>
                      <a:pt x="32" y="5"/>
                      <a:pt x="23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7"/>
                      <a:pt x="12" y="22"/>
                      <a:pt x="21" y="22"/>
                    </a:cubicBezTo>
                    <a:cubicBezTo>
                      <a:pt x="30" y="22"/>
                      <a:pt x="35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4" name="iṥļíḓe">
                <a:extLst>
                  <a:ext uri="{FF2B5EF4-FFF2-40B4-BE49-F238E27FC236}">
                    <a16:creationId xmlns:a16="http://schemas.microsoft.com/office/drawing/2014/main" id="{73F546CA-0229-4588-8473-64D5C61C475D}"/>
                  </a:ext>
                </a:extLst>
              </p:cNvPr>
              <p:cNvSpPr/>
              <p:nvPr/>
            </p:nvSpPr>
            <p:spPr bwMode="auto">
              <a:xfrm>
                <a:off x="8014366" y="2714528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3" y="17"/>
                      <a:pt x="12" y="22"/>
                      <a:pt x="21" y="22"/>
                    </a:cubicBezTo>
                    <a:cubicBezTo>
                      <a:pt x="30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5" name="îślíḑe">
                <a:extLst>
                  <a:ext uri="{FF2B5EF4-FFF2-40B4-BE49-F238E27FC236}">
                    <a16:creationId xmlns:a16="http://schemas.microsoft.com/office/drawing/2014/main" id="{542705A0-77B3-46FC-BD83-BE9A7CA08E57}"/>
                  </a:ext>
                </a:extLst>
              </p:cNvPr>
              <p:cNvSpPr/>
              <p:nvPr/>
            </p:nvSpPr>
            <p:spPr bwMode="auto">
              <a:xfrm>
                <a:off x="8153231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5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6" name="ïslïḋè">
                <a:extLst>
                  <a:ext uri="{FF2B5EF4-FFF2-40B4-BE49-F238E27FC236}">
                    <a16:creationId xmlns:a16="http://schemas.microsoft.com/office/drawing/2014/main" id="{1759433E-F6FA-4B05-9E84-961D54F1E578}"/>
                  </a:ext>
                </a:extLst>
              </p:cNvPr>
              <p:cNvSpPr/>
              <p:nvPr/>
            </p:nvSpPr>
            <p:spPr bwMode="auto">
              <a:xfrm>
                <a:off x="8295182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7" name="ïsļîdè">
                <a:extLst>
                  <a:ext uri="{FF2B5EF4-FFF2-40B4-BE49-F238E27FC236}">
                    <a16:creationId xmlns:a16="http://schemas.microsoft.com/office/drawing/2014/main" id="{E565D673-6A06-4902-91CD-9F21AE170A69}"/>
                  </a:ext>
                </a:extLst>
              </p:cNvPr>
              <p:cNvSpPr/>
              <p:nvPr/>
            </p:nvSpPr>
            <p:spPr bwMode="auto">
              <a:xfrm>
                <a:off x="8437133" y="2714528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1" y="22"/>
                    </a:cubicBezTo>
                    <a:cubicBezTo>
                      <a:pt x="30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8" name="í$lîḋe">
                <a:extLst>
                  <a:ext uri="{FF2B5EF4-FFF2-40B4-BE49-F238E27FC236}">
                    <a16:creationId xmlns:a16="http://schemas.microsoft.com/office/drawing/2014/main" id="{5D5616E8-0553-4AB6-A265-5EFA4098F154}"/>
                  </a:ext>
                </a:extLst>
              </p:cNvPr>
              <p:cNvSpPr/>
              <p:nvPr/>
            </p:nvSpPr>
            <p:spPr bwMode="auto">
              <a:xfrm>
                <a:off x="8575998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7"/>
                      <a:pt x="14" y="22"/>
                      <a:pt x="22" y="22"/>
                    </a:cubicBezTo>
                    <a:cubicBezTo>
                      <a:pt x="31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9" name="ïSļîdê">
                <a:extLst>
                  <a:ext uri="{FF2B5EF4-FFF2-40B4-BE49-F238E27FC236}">
                    <a16:creationId xmlns:a16="http://schemas.microsoft.com/office/drawing/2014/main" id="{9B1FC542-DC31-43E9-9045-D65F088449D9}"/>
                  </a:ext>
                </a:extLst>
              </p:cNvPr>
              <p:cNvSpPr/>
              <p:nvPr/>
            </p:nvSpPr>
            <p:spPr bwMode="auto">
              <a:xfrm>
                <a:off x="8717951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3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1" y="5"/>
                      <a:pt x="22" y="0"/>
                      <a:pt x="13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1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0" name="íšľïḓé">
                <a:extLst>
                  <a:ext uri="{FF2B5EF4-FFF2-40B4-BE49-F238E27FC236}">
                    <a16:creationId xmlns:a16="http://schemas.microsoft.com/office/drawing/2014/main" id="{AF4D78BA-1222-4C93-9F8B-E01E9FADF1CF}"/>
                  </a:ext>
                </a:extLst>
              </p:cNvPr>
              <p:cNvSpPr/>
              <p:nvPr/>
            </p:nvSpPr>
            <p:spPr bwMode="auto">
              <a:xfrm>
                <a:off x="7185804" y="2810191"/>
                <a:ext cx="128065" cy="80233"/>
              </a:xfrm>
              <a:custGeom>
                <a:avLst/>
                <a:gdLst>
                  <a:gd name="T0" fmla="*/ 34 w 35"/>
                  <a:gd name="T1" fmla="*/ 11 h 22"/>
                  <a:gd name="T2" fmla="*/ 15 w 35"/>
                  <a:gd name="T3" fmla="*/ 0 h 22"/>
                  <a:gd name="T4" fmla="*/ 2 w 35"/>
                  <a:gd name="T5" fmla="*/ 11 h 22"/>
                  <a:gd name="T6" fmla="*/ 20 w 35"/>
                  <a:gd name="T7" fmla="*/ 22 h 22"/>
                  <a:gd name="T8" fmla="*/ 34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2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1" name="iṧ1ïḓé">
                <a:extLst>
                  <a:ext uri="{FF2B5EF4-FFF2-40B4-BE49-F238E27FC236}">
                    <a16:creationId xmlns:a16="http://schemas.microsoft.com/office/drawing/2014/main" id="{A5827686-31C7-4042-924F-6A3FDCF97D71}"/>
                  </a:ext>
                </a:extLst>
              </p:cNvPr>
              <p:cNvSpPr/>
              <p:nvPr/>
            </p:nvSpPr>
            <p:spPr bwMode="auto">
              <a:xfrm>
                <a:off x="7330841" y="2810191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4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2" name="ïś1ídè">
                <a:extLst>
                  <a:ext uri="{FF2B5EF4-FFF2-40B4-BE49-F238E27FC236}">
                    <a16:creationId xmlns:a16="http://schemas.microsoft.com/office/drawing/2014/main" id="{603CD814-6171-4BD0-A06E-0BFEB4D3FE92}"/>
                  </a:ext>
                </a:extLst>
              </p:cNvPr>
              <p:cNvSpPr/>
              <p:nvPr/>
            </p:nvSpPr>
            <p:spPr bwMode="auto">
              <a:xfrm>
                <a:off x="7474336" y="2810191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4 w 34"/>
                  <a:gd name="T3" fmla="*/ 0 h 22"/>
                  <a:gd name="T4" fmla="*/ 1 w 34"/>
                  <a:gd name="T5" fmla="*/ 11 h 22"/>
                  <a:gd name="T6" fmla="*/ 20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1" y="22"/>
                      <a:pt x="20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3" name="îŝľidè">
                <a:extLst>
                  <a:ext uri="{FF2B5EF4-FFF2-40B4-BE49-F238E27FC236}">
                    <a16:creationId xmlns:a16="http://schemas.microsoft.com/office/drawing/2014/main" id="{CED53A66-830A-4C55-B789-8DD8A516F282}"/>
                  </a:ext>
                </a:extLst>
              </p:cNvPr>
              <p:cNvSpPr/>
              <p:nvPr/>
            </p:nvSpPr>
            <p:spPr bwMode="auto">
              <a:xfrm>
                <a:off x="7616287" y="2810191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1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4" name="ïş1iḑè">
                <a:extLst>
                  <a:ext uri="{FF2B5EF4-FFF2-40B4-BE49-F238E27FC236}">
                    <a16:creationId xmlns:a16="http://schemas.microsoft.com/office/drawing/2014/main" id="{707A079C-4DD0-4C6A-A66A-503F2A381AD5}"/>
                  </a:ext>
                </a:extLst>
              </p:cNvPr>
              <p:cNvSpPr/>
              <p:nvPr/>
            </p:nvSpPr>
            <p:spPr bwMode="auto">
              <a:xfrm>
                <a:off x="7758238" y="2810191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1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5" name="íś1íḍè">
                <a:extLst>
                  <a:ext uri="{FF2B5EF4-FFF2-40B4-BE49-F238E27FC236}">
                    <a16:creationId xmlns:a16="http://schemas.microsoft.com/office/drawing/2014/main" id="{C28B4652-3482-435A-9015-63FA0A765ABD}"/>
                  </a:ext>
                </a:extLst>
              </p:cNvPr>
              <p:cNvSpPr/>
              <p:nvPr/>
            </p:nvSpPr>
            <p:spPr bwMode="auto">
              <a:xfrm>
                <a:off x="7900189" y="2810191"/>
                <a:ext cx="128065" cy="80233"/>
              </a:xfrm>
              <a:custGeom>
                <a:avLst/>
                <a:gdLst>
                  <a:gd name="T0" fmla="*/ 34 w 35"/>
                  <a:gd name="T1" fmla="*/ 11 h 22"/>
                  <a:gd name="T2" fmla="*/ 14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4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7"/>
                      <a:pt x="12" y="22"/>
                      <a:pt x="21" y="22"/>
                    </a:cubicBezTo>
                    <a:cubicBezTo>
                      <a:pt x="30" y="22"/>
                      <a:pt x="35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6" name="ïşľïḍè">
                <a:extLst>
                  <a:ext uri="{FF2B5EF4-FFF2-40B4-BE49-F238E27FC236}">
                    <a16:creationId xmlns:a16="http://schemas.microsoft.com/office/drawing/2014/main" id="{88409708-2970-43DB-88DA-EF49F3955CC9}"/>
                  </a:ext>
                </a:extLst>
              </p:cNvPr>
              <p:cNvSpPr/>
              <p:nvPr/>
            </p:nvSpPr>
            <p:spPr bwMode="auto">
              <a:xfrm>
                <a:off x="8043682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1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7"/>
                      <a:pt x="12" y="22"/>
                      <a:pt x="21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7" name="íṥľîḓê">
                <a:extLst>
                  <a:ext uri="{FF2B5EF4-FFF2-40B4-BE49-F238E27FC236}">
                    <a16:creationId xmlns:a16="http://schemas.microsoft.com/office/drawing/2014/main" id="{36C6A555-836E-4B40-B395-6E376AC2891B}"/>
                  </a:ext>
                </a:extLst>
              </p:cNvPr>
              <p:cNvSpPr/>
              <p:nvPr/>
            </p:nvSpPr>
            <p:spPr bwMode="auto">
              <a:xfrm>
                <a:off x="8185633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8" name="iṣḻídè">
                <a:extLst>
                  <a:ext uri="{FF2B5EF4-FFF2-40B4-BE49-F238E27FC236}">
                    <a16:creationId xmlns:a16="http://schemas.microsoft.com/office/drawing/2014/main" id="{3B39706D-F36E-442B-94AF-849DA5938A76}"/>
                  </a:ext>
                </a:extLst>
              </p:cNvPr>
              <p:cNvSpPr/>
              <p:nvPr/>
            </p:nvSpPr>
            <p:spPr bwMode="auto">
              <a:xfrm>
                <a:off x="8327585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1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9" name="îsḷïḋé">
                <a:extLst>
                  <a:ext uri="{FF2B5EF4-FFF2-40B4-BE49-F238E27FC236}">
                    <a16:creationId xmlns:a16="http://schemas.microsoft.com/office/drawing/2014/main" id="{8EA201A2-1DD2-4D3F-87C1-5A5C5DC329D0}"/>
                  </a:ext>
                </a:extLst>
              </p:cNvPr>
              <p:cNvSpPr/>
              <p:nvPr/>
            </p:nvSpPr>
            <p:spPr bwMode="auto">
              <a:xfrm>
                <a:off x="8469536" y="2810191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14 w 37"/>
                  <a:gd name="T3" fmla="*/ 0 h 22"/>
                  <a:gd name="T4" fmla="*/ 2 w 37"/>
                  <a:gd name="T5" fmla="*/ 11 h 22"/>
                  <a:gd name="T6" fmla="*/ 22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4" y="22"/>
                      <a:pt x="22" y="22"/>
                    </a:cubicBezTo>
                    <a:cubicBezTo>
                      <a:pt x="31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0" name="îşlîḍè">
                <a:extLst>
                  <a:ext uri="{FF2B5EF4-FFF2-40B4-BE49-F238E27FC236}">
                    <a16:creationId xmlns:a16="http://schemas.microsoft.com/office/drawing/2014/main" id="{F5FC9D7F-1AEF-434F-AACC-D85FB4ACCA42}"/>
                  </a:ext>
                </a:extLst>
              </p:cNvPr>
              <p:cNvSpPr/>
              <p:nvPr/>
            </p:nvSpPr>
            <p:spPr bwMode="auto">
              <a:xfrm>
                <a:off x="8613030" y="2810191"/>
                <a:ext cx="134237" cy="80233"/>
              </a:xfrm>
              <a:custGeom>
                <a:avLst/>
                <a:gdLst>
                  <a:gd name="T0" fmla="*/ 34 w 37"/>
                  <a:gd name="T1" fmla="*/ 11 h 22"/>
                  <a:gd name="T2" fmla="*/ 14 w 37"/>
                  <a:gd name="T3" fmla="*/ 0 h 22"/>
                  <a:gd name="T4" fmla="*/ 2 w 37"/>
                  <a:gd name="T5" fmla="*/ 11 h 22"/>
                  <a:gd name="T6" fmla="*/ 2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1" name="îṣḷîḍe">
                <a:extLst>
                  <a:ext uri="{FF2B5EF4-FFF2-40B4-BE49-F238E27FC236}">
                    <a16:creationId xmlns:a16="http://schemas.microsoft.com/office/drawing/2014/main" id="{F9D32948-CC32-40A1-BC5B-D132A23DD450}"/>
                  </a:ext>
                </a:extLst>
              </p:cNvPr>
              <p:cNvSpPr/>
              <p:nvPr/>
            </p:nvSpPr>
            <p:spPr bwMode="auto">
              <a:xfrm>
                <a:off x="8754981" y="2810191"/>
                <a:ext cx="134237" cy="80233"/>
              </a:xfrm>
              <a:custGeom>
                <a:avLst/>
                <a:gdLst>
                  <a:gd name="T0" fmla="*/ 35 w 37"/>
                  <a:gd name="T1" fmla="*/ 11 h 22"/>
                  <a:gd name="T2" fmla="*/ 14 w 37"/>
                  <a:gd name="T3" fmla="*/ 0 h 22"/>
                  <a:gd name="T4" fmla="*/ 3 w 37"/>
                  <a:gd name="T5" fmla="*/ 11 h 22"/>
                  <a:gd name="T6" fmla="*/ 23 w 37"/>
                  <a:gd name="T7" fmla="*/ 22 h 22"/>
                  <a:gd name="T8" fmla="*/ 35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2" name="ïŝliďè">
                <a:extLst>
                  <a:ext uri="{FF2B5EF4-FFF2-40B4-BE49-F238E27FC236}">
                    <a16:creationId xmlns:a16="http://schemas.microsoft.com/office/drawing/2014/main" id="{4D12ADAD-6898-4870-B394-477BFD2CE1FB}"/>
                  </a:ext>
                </a:extLst>
              </p:cNvPr>
              <p:cNvSpPr/>
              <p:nvPr/>
            </p:nvSpPr>
            <p:spPr bwMode="auto">
              <a:xfrm>
                <a:off x="9889046" y="2108150"/>
                <a:ext cx="128065" cy="64804"/>
              </a:xfrm>
              <a:custGeom>
                <a:avLst/>
                <a:gdLst>
                  <a:gd name="T0" fmla="*/ 32 w 35"/>
                  <a:gd name="T1" fmla="*/ 9 h 18"/>
                  <a:gd name="T2" fmla="*/ 12 w 35"/>
                  <a:gd name="T3" fmla="*/ 0 h 18"/>
                  <a:gd name="T4" fmla="*/ 3 w 35"/>
                  <a:gd name="T5" fmla="*/ 9 h 18"/>
                  <a:gd name="T6" fmla="*/ 23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5" y="18"/>
                      <a:pt x="23" y="18"/>
                    </a:cubicBezTo>
                    <a:cubicBezTo>
                      <a:pt x="31" y="18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3" name="ï$lidê">
                <a:extLst>
                  <a:ext uri="{FF2B5EF4-FFF2-40B4-BE49-F238E27FC236}">
                    <a16:creationId xmlns:a16="http://schemas.microsoft.com/office/drawing/2014/main" id="{9D8F2B97-663B-4B98-B42C-8723C9908420}"/>
                  </a:ext>
                </a:extLst>
              </p:cNvPr>
              <p:cNvSpPr/>
              <p:nvPr/>
            </p:nvSpPr>
            <p:spPr bwMode="auto">
              <a:xfrm>
                <a:off x="9808813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5" y="19"/>
                      <a:pt x="23" y="19"/>
                    </a:cubicBezTo>
                    <a:cubicBezTo>
                      <a:pt x="31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4" name="íSlïḓè">
                <a:extLst>
                  <a:ext uri="{FF2B5EF4-FFF2-40B4-BE49-F238E27FC236}">
                    <a16:creationId xmlns:a16="http://schemas.microsoft.com/office/drawing/2014/main" id="{34225A49-AB3C-49C3-9AEF-CDBB0E9129AA}"/>
                  </a:ext>
                </a:extLst>
              </p:cNvPr>
              <p:cNvSpPr/>
              <p:nvPr/>
            </p:nvSpPr>
            <p:spPr bwMode="auto">
              <a:xfrm>
                <a:off x="9939964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5" y="19"/>
                      <a:pt x="23" y="19"/>
                    </a:cubicBezTo>
                    <a:cubicBezTo>
                      <a:pt x="31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5" name="îSḷîḋé">
                <a:extLst>
                  <a:ext uri="{FF2B5EF4-FFF2-40B4-BE49-F238E27FC236}">
                    <a16:creationId xmlns:a16="http://schemas.microsoft.com/office/drawing/2014/main" id="{9FE9C8D3-3B74-46CE-8AFF-6D5559A0630B}"/>
                  </a:ext>
                </a:extLst>
              </p:cNvPr>
              <p:cNvSpPr/>
              <p:nvPr/>
            </p:nvSpPr>
            <p:spPr bwMode="auto">
              <a:xfrm>
                <a:off x="9506396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13 w 36"/>
                  <a:gd name="T3" fmla="*/ 0 h 19"/>
                  <a:gd name="T4" fmla="*/ 3 w 36"/>
                  <a:gd name="T5" fmla="*/ 9 h 19"/>
                  <a:gd name="T6" fmla="*/ 24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6" y="15"/>
                      <a:pt x="15" y="19"/>
                      <a:pt x="24" y="19"/>
                    </a:cubicBezTo>
                    <a:cubicBezTo>
                      <a:pt x="32" y="19"/>
                      <a:pt x="36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6" name="iṣ1iďe">
                <a:extLst>
                  <a:ext uri="{FF2B5EF4-FFF2-40B4-BE49-F238E27FC236}">
                    <a16:creationId xmlns:a16="http://schemas.microsoft.com/office/drawing/2014/main" id="{DF4EBAB4-1C3B-42E1-81EE-CD8A4741C368}"/>
                  </a:ext>
                </a:extLst>
              </p:cNvPr>
              <p:cNvSpPr/>
              <p:nvPr/>
            </p:nvSpPr>
            <p:spPr bwMode="auto">
              <a:xfrm>
                <a:off x="9554228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3 w 36"/>
                  <a:gd name="T5" fmla="*/ 10 h 20"/>
                  <a:gd name="T6" fmla="*/ 24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3" y="10"/>
                    </a:cubicBezTo>
                    <a:cubicBezTo>
                      <a:pt x="6" y="16"/>
                      <a:pt x="15" y="20"/>
                      <a:pt x="24" y="20"/>
                    </a:cubicBezTo>
                    <a:cubicBezTo>
                      <a:pt x="32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7" name="iṩlïḑè">
                <a:extLst>
                  <a:ext uri="{FF2B5EF4-FFF2-40B4-BE49-F238E27FC236}">
                    <a16:creationId xmlns:a16="http://schemas.microsoft.com/office/drawing/2014/main" id="{03F6206F-9E9E-4CC1-943D-2360FBEC35E7}"/>
                  </a:ext>
                </a:extLst>
              </p:cNvPr>
              <p:cNvSpPr/>
              <p:nvPr/>
            </p:nvSpPr>
            <p:spPr bwMode="auto">
              <a:xfrm>
                <a:off x="9600516" y="2532461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13 w 37"/>
                  <a:gd name="T3" fmla="*/ 0 h 20"/>
                  <a:gd name="T4" fmla="*/ 3 w 37"/>
                  <a:gd name="T5" fmla="*/ 10 h 20"/>
                  <a:gd name="T6" fmla="*/ 24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1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6" y="15"/>
                      <a:pt x="16" y="20"/>
                      <a:pt x="24" y="20"/>
                    </a:cubicBezTo>
                    <a:cubicBezTo>
                      <a:pt x="33" y="20"/>
                      <a:pt x="37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8" name="iṡlíďê">
                <a:extLst>
                  <a:ext uri="{FF2B5EF4-FFF2-40B4-BE49-F238E27FC236}">
                    <a16:creationId xmlns:a16="http://schemas.microsoft.com/office/drawing/2014/main" id="{4540674D-B761-48FE-9BC1-7165C307C7DD}"/>
                  </a:ext>
                </a:extLst>
              </p:cNvPr>
              <p:cNvSpPr/>
              <p:nvPr/>
            </p:nvSpPr>
            <p:spPr bwMode="auto">
              <a:xfrm>
                <a:off x="9375246" y="2623494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13 w 37"/>
                  <a:gd name="T3" fmla="*/ 0 h 20"/>
                  <a:gd name="T4" fmla="*/ 2 w 37"/>
                  <a:gd name="T5" fmla="*/ 10 h 20"/>
                  <a:gd name="T6" fmla="*/ 2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1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10"/>
                    </a:cubicBezTo>
                    <a:cubicBezTo>
                      <a:pt x="5" y="16"/>
                      <a:pt x="15" y="20"/>
                      <a:pt x="23" y="20"/>
                    </a:cubicBezTo>
                    <a:cubicBezTo>
                      <a:pt x="32" y="20"/>
                      <a:pt x="37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9" name="íṩḻíḋè">
                <a:extLst>
                  <a:ext uri="{FF2B5EF4-FFF2-40B4-BE49-F238E27FC236}">
                    <a16:creationId xmlns:a16="http://schemas.microsoft.com/office/drawing/2014/main" id="{AA8B4BBF-9BA5-466F-A35E-A6473DCD0A51}"/>
                  </a:ext>
                </a:extLst>
              </p:cNvPr>
              <p:cNvSpPr/>
              <p:nvPr/>
            </p:nvSpPr>
            <p:spPr bwMode="auto">
              <a:xfrm>
                <a:off x="9514111" y="2623494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13 w 37"/>
                  <a:gd name="T3" fmla="*/ 0 h 20"/>
                  <a:gd name="T4" fmla="*/ 3 w 37"/>
                  <a:gd name="T5" fmla="*/ 10 h 20"/>
                  <a:gd name="T6" fmla="*/ 24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1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3" y="10"/>
                    </a:cubicBezTo>
                    <a:cubicBezTo>
                      <a:pt x="6" y="16"/>
                      <a:pt x="15" y="20"/>
                      <a:pt x="24" y="20"/>
                    </a:cubicBezTo>
                    <a:cubicBezTo>
                      <a:pt x="32" y="20"/>
                      <a:pt x="37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0" name="íṧḻídè">
                <a:extLst>
                  <a:ext uri="{FF2B5EF4-FFF2-40B4-BE49-F238E27FC236}">
                    <a16:creationId xmlns:a16="http://schemas.microsoft.com/office/drawing/2014/main" id="{C6A8E07E-5B01-4CD7-B63A-ABFBA7C7C6DA}"/>
                  </a:ext>
                </a:extLst>
              </p:cNvPr>
              <p:cNvSpPr/>
              <p:nvPr/>
            </p:nvSpPr>
            <p:spPr bwMode="auto">
              <a:xfrm>
                <a:off x="9375246" y="2108150"/>
                <a:ext cx="123436" cy="64804"/>
              </a:xfrm>
              <a:custGeom>
                <a:avLst/>
                <a:gdLst>
                  <a:gd name="T0" fmla="*/ 31 w 34"/>
                  <a:gd name="T1" fmla="*/ 9 h 18"/>
                  <a:gd name="T2" fmla="*/ 12 w 34"/>
                  <a:gd name="T3" fmla="*/ 0 h 18"/>
                  <a:gd name="T4" fmla="*/ 3 w 34"/>
                  <a:gd name="T5" fmla="*/ 9 h 18"/>
                  <a:gd name="T6" fmla="*/ 22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4"/>
                      <a:pt x="14" y="18"/>
                      <a:pt x="22" y="18"/>
                    </a:cubicBezTo>
                    <a:cubicBezTo>
                      <a:pt x="30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1" name="ísľîde">
                <a:extLst>
                  <a:ext uri="{FF2B5EF4-FFF2-40B4-BE49-F238E27FC236}">
                    <a16:creationId xmlns:a16="http://schemas.microsoft.com/office/drawing/2014/main" id="{83FDE841-26FA-4C09-B1F2-4F3804229B59}"/>
                  </a:ext>
                </a:extLst>
              </p:cNvPr>
              <p:cNvSpPr/>
              <p:nvPr/>
            </p:nvSpPr>
            <p:spPr bwMode="auto">
              <a:xfrm>
                <a:off x="9418448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2" name="íşľiďé">
                <a:extLst>
                  <a:ext uri="{FF2B5EF4-FFF2-40B4-BE49-F238E27FC236}">
                    <a16:creationId xmlns:a16="http://schemas.microsoft.com/office/drawing/2014/main" id="{52BCA692-309C-4481-9260-6EA6271CE480}"/>
                  </a:ext>
                </a:extLst>
              </p:cNvPr>
              <p:cNvSpPr/>
              <p:nvPr/>
            </p:nvSpPr>
            <p:spPr bwMode="auto">
              <a:xfrm>
                <a:off x="9463193" y="2271702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4" y="19"/>
                      <a:pt x="23" y="19"/>
                    </a:cubicBezTo>
                    <a:cubicBezTo>
                      <a:pt x="31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3" name="ïṣļïḓè">
                <a:extLst>
                  <a:ext uri="{FF2B5EF4-FFF2-40B4-BE49-F238E27FC236}">
                    <a16:creationId xmlns:a16="http://schemas.microsoft.com/office/drawing/2014/main" id="{BA2220EC-D695-477F-B4C0-7867CC1D2DF8}"/>
                  </a:ext>
                </a:extLst>
              </p:cNvPr>
              <p:cNvSpPr/>
              <p:nvPr/>
            </p:nvSpPr>
            <p:spPr bwMode="auto">
              <a:xfrm>
                <a:off x="8199520" y="1734757"/>
                <a:ext cx="114178" cy="58632"/>
              </a:xfrm>
              <a:custGeom>
                <a:avLst/>
                <a:gdLst>
                  <a:gd name="T0" fmla="*/ 29 w 31"/>
                  <a:gd name="T1" fmla="*/ 8 h 16"/>
                  <a:gd name="T2" fmla="*/ 13 w 31"/>
                  <a:gd name="T3" fmla="*/ 0 h 16"/>
                  <a:gd name="T4" fmla="*/ 2 w 31"/>
                  <a:gd name="T5" fmla="*/ 8 h 16"/>
                  <a:gd name="T6" fmla="*/ 19 w 31"/>
                  <a:gd name="T7" fmla="*/ 16 h 16"/>
                  <a:gd name="T8" fmla="*/ 29 w 31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29" y="8"/>
                    </a:moveTo>
                    <a:cubicBezTo>
                      <a:pt x="27" y="3"/>
                      <a:pt x="20" y="0"/>
                      <a:pt x="13" y="0"/>
                    </a:cubicBezTo>
                    <a:cubicBezTo>
                      <a:pt x="5" y="0"/>
                      <a:pt x="0" y="3"/>
                      <a:pt x="2" y="8"/>
                    </a:cubicBezTo>
                    <a:cubicBezTo>
                      <a:pt x="4" y="12"/>
                      <a:pt x="11" y="16"/>
                      <a:pt x="19" y="16"/>
                    </a:cubicBezTo>
                    <a:cubicBezTo>
                      <a:pt x="26" y="16"/>
                      <a:pt x="31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4" name="i$1îḋê">
                <a:extLst>
                  <a:ext uri="{FF2B5EF4-FFF2-40B4-BE49-F238E27FC236}">
                    <a16:creationId xmlns:a16="http://schemas.microsoft.com/office/drawing/2014/main" id="{28150F01-F5E0-46CE-8634-16661FB1257A}"/>
                  </a:ext>
                </a:extLst>
              </p:cNvPr>
              <p:cNvSpPr/>
              <p:nvPr/>
            </p:nvSpPr>
            <p:spPr bwMode="auto">
              <a:xfrm>
                <a:off x="7108657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3 w 29"/>
                  <a:gd name="T3" fmla="*/ 0 h 16"/>
                  <a:gd name="T4" fmla="*/ 1 w 29"/>
                  <a:gd name="T5" fmla="*/ 8 h 16"/>
                  <a:gd name="T6" fmla="*/ 16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7" y="3"/>
                      <a:pt x="20" y="0"/>
                      <a:pt x="13" y="0"/>
                    </a:cubicBezTo>
                    <a:cubicBezTo>
                      <a:pt x="5" y="0"/>
                      <a:pt x="0" y="3"/>
                      <a:pt x="1" y="8"/>
                    </a:cubicBezTo>
                    <a:cubicBezTo>
                      <a:pt x="2" y="12"/>
                      <a:pt x="8" y="16"/>
                      <a:pt x="16" y="16"/>
                    </a:cubicBezTo>
                    <a:cubicBezTo>
                      <a:pt x="23" y="16"/>
                      <a:pt x="29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5" name="îṧľîḓe">
                <a:extLst>
                  <a:ext uri="{FF2B5EF4-FFF2-40B4-BE49-F238E27FC236}">
                    <a16:creationId xmlns:a16="http://schemas.microsoft.com/office/drawing/2014/main" id="{D561197C-F57C-4F5A-AE65-8424121CDA99}"/>
                  </a:ext>
                </a:extLst>
              </p:cNvPr>
              <p:cNvSpPr/>
              <p:nvPr/>
            </p:nvSpPr>
            <p:spPr bwMode="auto">
              <a:xfrm>
                <a:off x="7229007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3 w 29"/>
                  <a:gd name="T3" fmla="*/ 0 h 16"/>
                  <a:gd name="T4" fmla="*/ 1 w 29"/>
                  <a:gd name="T5" fmla="*/ 8 h 16"/>
                  <a:gd name="T6" fmla="*/ 16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7" y="3"/>
                      <a:pt x="20" y="0"/>
                      <a:pt x="13" y="0"/>
                    </a:cubicBezTo>
                    <a:cubicBezTo>
                      <a:pt x="5" y="0"/>
                      <a:pt x="0" y="3"/>
                      <a:pt x="1" y="8"/>
                    </a:cubicBezTo>
                    <a:cubicBezTo>
                      <a:pt x="2" y="12"/>
                      <a:pt x="9" y="16"/>
                      <a:pt x="16" y="16"/>
                    </a:cubicBezTo>
                    <a:cubicBezTo>
                      <a:pt x="24" y="16"/>
                      <a:pt x="29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6" name="íŝlïḍè">
                <a:extLst>
                  <a:ext uri="{FF2B5EF4-FFF2-40B4-BE49-F238E27FC236}">
                    <a16:creationId xmlns:a16="http://schemas.microsoft.com/office/drawing/2014/main" id="{9EB5718F-245E-4DB5-863D-50DC721F94AF}"/>
                  </a:ext>
                </a:extLst>
              </p:cNvPr>
              <p:cNvSpPr/>
              <p:nvPr/>
            </p:nvSpPr>
            <p:spPr bwMode="auto">
              <a:xfrm>
                <a:off x="6875672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7" name="ïṡliďê">
                <a:extLst>
                  <a:ext uri="{FF2B5EF4-FFF2-40B4-BE49-F238E27FC236}">
                    <a16:creationId xmlns:a16="http://schemas.microsoft.com/office/drawing/2014/main" id="{5563FC4B-A08C-46FD-BEE6-E05852DD7C80}"/>
                  </a:ext>
                </a:extLst>
              </p:cNvPr>
              <p:cNvSpPr/>
              <p:nvPr/>
            </p:nvSpPr>
            <p:spPr bwMode="auto">
              <a:xfrm>
                <a:off x="6999108" y="1804190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3 w 29"/>
                  <a:gd name="T3" fmla="*/ 0 h 17"/>
                  <a:gd name="T4" fmla="*/ 1 w 29"/>
                  <a:gd name="T5" fmla="*/ 9 h 17"/>
                  <a:gd name="T6" fmla="*/ 16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6" y="17"/>
                    </a:cubicBezTo>
                    <a:cubicBezTo>
                      <a:pt x="24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8" name="îṡľiḑé">
                <a:extLst>
                  <a:ext uri="{FF2B5EF4-FFF2-40B4-BE49-F238E27FC236}">
                    <a16:creationId xmlns:a16="http://schemas.microsoft.com/office/drawing/2014/main" id="{75007CA6-C50C-4088-859E-8D914C3C439E}"/>
                  </a:ext>
                </a:extLst>
              </p:cNvPr>
              <p:cNvSpPr/>
              <p:nvPr/>
            </p:nvSpPr>
            <p:spPr bwMode="auto">
              <a:xfrm>
                <a:off x="6889558" y="1878251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3 w 29"/>
                  <a:gd name="T3" fmla="*/ 0 h 17"/>
                  <a:gd name="T4" fmla="*/ 1 w 29"/>
                  <a:gd name="T5" fmla="*/ 9 h 17"/>
                  <a:gd name="T6" fmla="*/ 16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9" name="ïṡ1íḍê">
                <a:extLst>
                  <a:ext uri="{FF2B5EF4-FFF2-40B4-BE49-F238E27FC236}">
                    <a16:creationId xmlns:a16="http://schemas.microsoft.com/office/drawing/2014/main" id="{64FF3122-790A-45DB-AC10-762247A86F02}"/>
                  </a:ext>
                </a:extLst>
              </p:cNvPr>
              <p:cNvSpPr/>
              <p:nvPr/>
            </p:nvSpPr>
            <p:spPr bwMode="auto">
              <a:xfrm>
                <a:off x="7137973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7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0" name="íŝḻîdè">
                <a:extLst>
                  <a:ext uri="{FF2B5EF4-FFF2-40B4-BE49-F238E27FC236}">
                    <a16:creationId xmlns:a16="http://schemas.microsoft.com/office/drawing/2014/main" id="{6C25AE0D-EC42-4416-B798-598A7787B412}"/>
                  </a:ext>
                </a:extLst>
              </p:cNvPr>
              <p:cNvSpPr/>
              <p:nvPr/>
            </p:nvSpPr>
            <p:spPr bwMode="auto">
              <a:xfrm>
                <a:off x="7262951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7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1" name="ïšlíḓè">
                <a:extLst>
                  <a:ext uri="{FF2B5EF4-FFF2-40B4-BE49-F238E27FC236}">
                    <a16:creationId xmlns:a16="http://schemas.microsoft.com/office/drawing/2014/main" id="{C6CC7E7B-959E-4C64-9F65-F5A3C56F7883}"/>
                  </a:ext>
                </a:extLst>
              </p:cNvPr>
              <p:cNvSpPr/>
              <p:nvPr/>
            </p:nvSpPr>
            <p:spPr bwMode="auto">
              <a:xfrm>
                <a:off x="7386387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7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2" name="íşliďè">
                <a:extLst>
                  <a:ext uri="{FF2B5EF4-FFF2-40B4-BE49-F238E27FC236}">
                    <a16:creationId xmlns:a16="http://schemas.microsoft.com/office/drawing/2014/main" id="{A0B7140E-88FA-4AB3-AA8A-DF6E6457BE28}"/>
                  </a:ext>
                </a:extLst>
              </p:cNvPr>
              <p:cNvSpPr/>
              <p:nvPr/>
            </p:nvSpPr>
            <p:spPr bwMode="auto">
              <a:xfrm>
                <a:off x="7634802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3" name="iSľidê">
                <a:extLst>
                  <a:ext uri="{FF2B5EF4-FFF2-40B4-BE49-F238E27FC236}">
                    <a16:creationId xmlns:a16="http://schemas.microsoft.com/office/drawing/2014/main" id="{97E99960-4C9F-4E00-A0EB-4C4A04A0A523}"/>
                  </a:ext>
                </a:extLst>
              </p:cNvPr>
              <p:cNvSpPr/>
              <p:nvPr/>
            </p:nvSpPr>
            <p:spPr bwMode="auto">
              <a:xfrm>
                <a:off x="7736637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8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4" name="íṩlïḑè">
                <a:extLst>
                  <a:ext uri="{FF2B5EF4-FFF2-40B4-BE49-F238E27FC236}">
                    <a16:creationId xmlns:a16="http://schemas.microsoft.com/office/drawing/2014/main" id="{A0E43FE3-BF9E-4C86-8E02-F150B0092EC7}"/>
                  </a:ext>
                </a:extLst>
              </p:cNvPr>
              <p:cNvSpPr/>
              <p:nvPr/>
            </p:nvSpPr>
            <p:spPr bwMode="auto">
              <a:xfrm>
                <a:off x="7860072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2 w 30"/>
                  <a:gd name="T3" fmla="*/ 0 h 17"/>
                  <a:gd name="T4" fmla="*/ 1 w 30"/>
                  <a:gd name="T5" fmla="*/ 9 h 17"/>
                  <a:gd name="T6" fmla="*/ 18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5" name="ïṧľíḍé">
                <a:extLst>
                  <a:ext uri="{FF2B5EF4-FFF2-40B4-BE49-F238E27FC236}">
                    <a16:creationId xmlns:a16="http://schemas.microsoft.com/office/drawing/2014/main" id="{FE05EEC2-A909-4CA1-9695-A04F7D43227F}"/>
                  </a:ext>
                </a:extLst>
              </p:cNvPr>
              <p:cNvSpPr/>
              <p:nvPr/>
            </p:nvSpPr>
            <p:spPr bwMode="auto">
              <a:xfrm>
                <a:off x="7980422" y="1804190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6" name="íśľiḋê">
                <a:extLst>
                  <a:ext uri="{FF2B5EF4-FFF2-40B4-BE49-F238E27FC236}">
                    <a16:creationId xmlns:a16="http://schemas.microsoft.com/office/drawing/2014/main" id="{22CDD822-9375-4656-8816-56EAAA0C7A78}"/>
                  </a:ext>
                </a:extLst>
              </p:cNvPr>
              <p:cNvSpPr/>
              <p:nvPr/>
            </p:nvSpPr>
            <p:spPr bwMode="auto">
              <a:xfrm>
                <a:off x="8105400" y="1804190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7" name="ïṡļiďé">
                <a:extLst>
                  <a:ext uri="{FF2B5EF4-FFF2-40B4-BE49-F238E27FC236}">
                    <a16:creationId xmlns:a16="http://schemas.microsoft.com/office/drawing/2014/main" id="{7EDEA20A-3377-4900-86C7-A6354D3C4CA3}"/>
                  </a:ext>
                </a:extLst>
              </p:cNvPr>
              <p:cNvSpPr/>
              <p:nvPr/>
            </p:nvSpPr>
            <p:spPr bwMode="auto">
              <a:xfrm>
                <a:off x="8228836" y="1804190"/>
                <a:ext cx="114178" cy="61718"/>
              </a:xfrm>
              <a:custGeom>
                <a:avLst/>
                <a:gdLst>
                  <a:gd name="T0" fmla="*/ 29 w 31"/>
                  <a:gd name="T1" fmla="*/ 9 h 17"/>
                  <a:gd name="T2" fmla="*/ 12 w 31"/>
                  <a:gd name="T3" fmla="*/ 0 h 17"/>
                  <a:gd name="T4" fmla="*/ 2 w 31"/>
                  <a:gd name="T5" fmla="*/ 9 h 17"/>
                  <a:gd name="T6" fmla="*/ 18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8" name="íṧľïḍè">
                <a:extLst>
                  <a:ext uri="{FF2B5EF4-FFF2-40B4-BE49-F238E27FC236}">
                    <a16:creationId xmlns:a16="http://schemas.microsoft.com/office/drawing/2014/main" id="{A4B6B077-CFCB-4C6F-B532-F5946C964B96}"/>
                  </a:ext>
                </a:extLst>
              </p:cNvPr>
              <p:cNvSpPr/>
              <p:nvPr/>
            </p:nvSpPr>
            <p:spPr bwMode="auto">
              <a:xfrm>
                <a:off x="8349186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9" name="î$ļiḋé">
                <a:extLst>
                  <a:ext uri="{FF2B5EF4-FFF2-40B4-BE49-F238E27FC236}">
                    <a16:creationId xmlns:a16="http://schemas.microsoft.com/office/drawing/2014/main" id="{F2250BEC-D1A9-401A-8367-8E8979E126F4}"/>
                  </a:ext>
                </a:extLst>
              </p:cNvPr>
              <p:cNvSpPr/>
              <p:nvPr/>
            </p:nvSpPr>
            <p:spPr bwMode="auto">
              <a:xfrm>
                <a:off x="8474165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0" name="iSlïḋê">
                <a:extLst>
                  <a:ext uri="{FF2B5EF4-FFF2-40B4-BE49-F238E27FC236}">
                    <a16:creationId xmlns:a16="http://schemas.microsoft.com/office/drawing/2014/main" id="{240A3370-D4A1-44AA-BAAF-02BB2AE5491A}"/>
                  </a:ext>
                </a:extLst>
              </p:cNvPr>
              <p:cNvSpPr/>
              <p:nvPr/>
            </p:nvSpPr>
            <p:spPr bwMode="auto">
              <a:xfrm>
                <a:off x="929038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12 w 33"/>
                  <a:gd name="T3" fmla="*/ 0 h 17"/>
                  <a:gd name="T4" fmla="*/ 3 w 33"/>
                  <a:gd name="T5" fmla="*/ 8 h 17"/>
                  <a:gd name="T6" fmla="*/ 21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5" y="13"/>
                      <a:pt x="14" y="17"/>
                      <a:pt x="21" y="17"/>
                    </a:cubicBezTo>
                    <a:cubicBezTo>
                      <a:pt x="29" y="17"/>
                      <a:pt x="33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1" name="ïšľîḓé">
                <a:extLst>
                  <a:ext uri="{FF2B5EF4-FFF2-40B4-BE49-F238E27FC236}">
                    <a16:creationId xmlns:a16="http://schemas.microsoft.com/office/drawing/2014/main" id="{08ABC5E0-BC86-4B22-9E55-97AE848EF73A}"/>
                  </a:ext>
                </a:extLst>
              </p:cNvPr>
              <p:cNvSpPr/>
              <p:nvPr/>
            </p:nvSpPr>
            <p:spPr bwMode="auto">
              <a:xfrm>
                <a:off x="9415362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3" y="8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2" name="ïşḻíḋê">
                <a:extLst>
                  <a:ext uri="{FF2B5EF4-FFF2-40B4-BE49-F238E27FC236}">
                    <a16:creationId xmlns:a16="http://schemas.microsoft.com/office/drawing/2014/main" id="{C03B2794-462C-4D83-8D14-3DB2BD7E9DF7}"/>
                  </a:ext>
                </a:extLst>
              </p:cNvPr>
              <p:cNvSpPr/>
              <p:nvPr/>
            </p:nvSpPr>
            <p:spPr bwMode="auto">
              <a:xfrm>
                <a:off x="9543426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5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3" name="ísļîḍê">
                <a:extLst>
                  <a:ext uri="{FF2B5EF4-FFF2-40B4-BE49-F238E27FC236}">
                    <a16:creationId xmlns:a16="http://schemas.microsoft.com/office/drawing/2014/main" id="{DF35A6D6-9BBE-4183-BF66-8F3CA916DC2E}"/>
                  </a:ext>
                </a:extLst>
              </p:cNvPr>
              <p:cNvSpPr/>
              <p:nvPr/>
            </p:nvSpPr>
            <p:spPr bwMode="auto">
              <a:xfrm>
                <a:off x="9666862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3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4" name="ïsľïďe">
                <a:extLst>
                  <a:ext uri="{FF2B5EF4-FFF2-40B4-BE49-F238E27FC236}">
                    <a16:creationId xmlns:a16="http://schemas.microsoft.com/office/drawing/2014/main" id="{939FED84-F953-4E48-A6B2-17C88B8F223B}"/>
                  </a:ext>
                </a:extLst>
              </p:cNvPr>
              <p:cNvSpPr/>
              <p:nvPr/>
            </p:nvSpPr>
            <p:spPr bwMode="auto">
              <a:xfrm>
                <a:off x="9794927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5" name="iś1ïde">
                <a:extLst>
                  <a:ext uri="{FF2B5EF4-FFF2-40B4-BE49-F238E27FC236}">
                    <a16:creationId xmlns:a16="http://schemas.microsoft.com/office/drawing/2014/main" id="{B7B038F7-9CE0-4F5C-8DDA-99BD83302EA3}"/>
                  </a:ext>
                </a:extLst>
              </p:cNvPr>
              <p:cNvSpPr/>
              <p:nvPr/>
            </p:nvSpPr>
            <p:spPr bwMode="auto">
              <a:xfrm>
                <a:off x="9918363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12 w 35"/>
                  <a:gd name="T3" fmla="*/ 0 h 17"/>
                  <a:gd name="T4" fmla="*/ 3 w 35"/>
                  <a:gd name="T5" fmla="*/ 8 h 17"/>
                  <a:gd name="T6" fmla="*/ 23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6" name="îš1îḋe">
                <a:extLst>
                  <a:ext uri="{FF2B5EF4-FFF2-40B4-BE49-F238E27FC236}">
                    <a16:creationId xmlns:a16="http://schemas.microsoft.com/office/drawing/2014/main" id="{1E6C07EA-E7EA-4651-A212-9C42C44A5F0F}"/>
                  </a:ext>
                </a:extLst>
              </p:cNvPr>
              <p:cNvSpPr/>
              <p:nvPr/>
            </p:nvSpPr>
            <p:spPr bwMode="auto">
              <a:xfrm>
                <a:off x="10046427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1 w 34"/>
                  <a:gd name="T3" fmla="*/ 0 h 17"/>
                  <a:gd name="T4" fmla="*/ 3 w 34"/>
                  <a:gd name="T5" fmla="*/ 8 h 17"/>
                  <a:gd name="T6" fmla="*/ 23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7" name="iṧ1ïďè">
                <a:extLst>
                  <a:ext uri="{FF2B5EF4-FFF2-40B4-BE49-F238E27FC236}">
                    <a16:creationId xmlns:a16="http://schemas.microsoft.com/office/drawing/2014/main" id="{DCF4D95F-DD2E-4728-9AE3-0DB76569C370}"/>
                  </a:ext>
                </a:extLst>
              </p:cNvPr>
              <p:cNvSpPr/>
              <p:nvPr/>
            </p:nvSpPr>
            <p:spPr bwMode="auto">
              <a:xfrm>
                <a:off x="10169863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12 w 35"/>
                  <a:gd name="T3" fmla="*/ 0 h 17"/>
                  <a:gd name="T4" fmla="*/ 3 w 35"/>
                  <a:gd name="T5" fmla="*/ 8 h 17"/>
                  <a:gd name="T6" fmla="*/ 23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7" y="13"/>
                      <a:pt x="16" y="17"/>
                      <a:pt x="23" y="17"/>
                    </a:cubicBezTo>
                    <a:cubicBezTo>
                      <a:pt x="31" y="17"/>
                      <a:pt x="35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8" name="ísḻïḓe">
                <a:extLst>
                  <a:ext uri="{FF2B5EF4-FFF2-40B4-BE49-F238E27FC236}">
                    <a16:creationId xmlns:a16="http://schemas.microsoft.com/office/drawing/2014/main" id="{8ACD5264-8B17-4B59-B98D-893C8F5E73F2}"/>
                  </a:ext>
                </a:extLst>
              </p:cNvPr>
              <p:cNvSpPr/>
              <p:nvPr/>
            </p:nvSpPr>
            <p:spPr bwMode="auto">
              <a:xfrm>
                <a:off x="10297928" y="1953855"/>
                <a:ext cx="128065" cy="63261"/>
              </a:xfrm>
              <a:custGeom>
                <a:avLst/>
                <a:gdLst>
                  <a:gd name="T0" fmla="*/ 31 w 35"/>
                  <a:gd name="T1" fmla="*/ 8 h 17"/>
                  <a:gd name="T2" fmla="*/ 11 w 35"/>
                  <a:gd name="T3" fmla="*/ 0 h 17"/>
                  <a:gd name="T4" fmla="*/ 3 w 35"/>
                  <a:gd name="T5" fmla="*/ 8 h 17"/>
                  <a:gd name="T6" fmla="*/ 23 w 35"/>
                  <a:gd name="T7" fmla="*/ 17 h 17"/>
                  <a:gd name="T8" fmla="*/ 31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8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3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9" name="ïṡļîďe">
                <a:extLst>
                  <a:ext uri="{FF2B5EF4-FFF2-40B4-BE49-F238E27FC236}">
                    <a16:creationId xmlns:a16="http://schemas.microsoft.com/office/drawing/2014/main" id="{C236D9D1-05D7-4856-BD78-7053C4386890}"/>
                  </a:ext>
                </a:extLst>
              </p:cNvPr>
              <p:cNvSpPr/>
              <p:nvPr/>
            </p:nvSpPr>
            <p:spPr bwMode="auto">
              <a:xfrm>
                <a:off x="9330500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0" name="îşḻiḍè">
                <a:extLst>
                  <a:ext uri="{FF2B5EF4-FFF2-40B4-BE49-F238E27FC236}">
                    <a16:creationId xmlns:a16="http://schemas.microsoft.com/office/drawing/2014/main" id="{7D86ED96-99FB-4F37-8BB9-990AF3178CB9}"/>
                  </a:ext>
                </a:extLst>
              </p:cNvPr>
              <p:cNvSpPr/>
              <p:nvPr/>
            </p:nvSpPr>
            <p:spPr bwMode="auto">
              <a:xfrm>
                <a:off x="9458565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1" name="îSḻîḓè">
                <a:extLst>
                  <a:ext uri="{FF2B5EF4-FFF2-40B4-BE49-F238E27FC236}">
                    <a16:creationId xmlns:a16="http://schemas.microsoft.com/office/drawing/2014/main" id="{A18376E4-8275-46D9-965D-738B00537C0F}"/>
                  </a:ext>
                </a:extLst>
              </p:cNvPr>
              <p:cNvSpPr/>
              <p:nvPr/>
            </p:nvSpPr>
            <p:spPr bwMode="auto">
              <a:xfrm>
                <a:off x="9586629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2" name="îŝḻîḑé">
                <a:extLst>
                  <a:ext uri="{FF2B5EF4-FFF2-40B4-BE49-F238E27FC236}">
                    <a16:creationId xmlns:a16="http://schemas.microsoft.com/office/drawing/2014/main" id="{0E5F63C3-A32B-4D9F-B38A-346CA11187B5}"/>
                  </a:ext>
                </a:extLst>
              </p:cNvPr>
              <p:cNvSpPr/>
              <p:nvPr/>
            </p:nvSpPr>
            <p:spPr bwMode="auto">
              <a:xfrm>
                <a:off x="9714694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3" name="îS1ïḍê">
                <a:extLst>
                  <a:ext uri="{FF2B5EF4-FFF2-40B4-BE49-F238E27FC236}">
                    <a16:creationId xmlns:a16="http://schemas.microsoft.com/office/drawing/2014/main" id="{0C0A4B98-1C74-44BE-82CD-CAD8C237B133}"/>
                  </a:ext>
                </a:extLst>
              </p:cNvPr>
              <p:cNvSpPr/>
              <p:nvPr/>
            </p:nvSpPr>
            <p:spPr bwMode="auto">
              <a:xfrm>
                <a:off x="9842758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4" name="í$ļïďé">
                <a:extLst>
                  <a:ext uri="{FF2B5EF4-FFF2-40B4-BE49-F238E27FC236}">
                    <a16:creationId xmlns:a16="http://schemas.microsoft.com/office/drawing/2014/main" id="{74E1B145-96E2-4727-9396-5EBDE8E3DFA7}"/>
                  </a:ext>
                </a:extLst>
              </p:cNvPr>
              <p:cNvSpPr/>
              <p:nvPr/>
            </p:nvSpPr>
            <p:spPr bwMode="auto">
              <a:xfrm>
                <a:off x="9969280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1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5" name="îsḻïďe">
                <a:extLst>
                  <a:ext uri="{FF2B5EF4-FFF2-40B4-BE49-F238E27FC236}">
                    <a16:creationId xmlns:a16="http://schemas.microsoft.com/office/drawing/2014/main" id="{25A4245D-CC35-40B1-B32D-16A4620CEEFA}"/>
                  </a:ext>
                </a:extLst>
              </p:cNvPr>
              <p:cNvSpPr/>
              <p:nvPr/>
            </p:nvSpPr>
            <p:spPr bwMode="auto">
              <a:xfrm>
                <a:off x="10097345" y="2031003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11 w 35"/>
                  <a:gd name="T3" fmla="*/ 0 h 17"/>
                  <a:gd name="T4" fmla="*/ 3 w 35"/>
                  <a:gd name="T5" fmla="*/ 9 h 17"/>
                  <a:gd name="T6" fmla="*/ 23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3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6" name="išlîḋê">
                <a:extLst>
                  <a:ext uri="{FF2B5EF4-FFF2-40B4-BE49-F238E27FC236}">
                    <a16:creationId xmlns:a16="http://schemas.microsoft.com/office/drawing/2014/main" id="{1DB155D5-3E53-4834-A7C5-24695E4E3982}"/>
                  </a:ext>
                </a:extLst>
              </p:cNvPr>
              <p:cNvSpPr/>
              <p:nvPr/>
            </p:nvSpPr>
            <p:spPr bwMode="auto">
              <a:xfrm>
                <a:off x="10222323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12 w 36"/>
                  <a:gd name="T3" fmla="*/ 0 h 17"/>
                  <a:gd name="T4" fmla="*/ 4 w 36"/>
                  <a:gd name="T5" fmla="*/ 9 h 17"/>
                  <a:gd name="T6" fmla="*/ 24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4" y="9"/>
                    </a:cubicBezTo>
                    <a:cubicBezTo>
                      <a:pt x="7" y="13"/>
                      <a:pt x="16" y="17"/>
                      <a:pt x="24" y="17"/>
                    </a:cubicBezTo>
                    <a:cubicBezTo>
                      <a:pt x="32" y="17"/>
                      <a:pt x="36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7" name="íṧľîde">
                <a:extLst>
                  <a:ext uri="{FF2B5EF4-FFF2-40B4-BE49-F238E27FC236}">
                    <a16:creationId xmlns:a16="http://schemas.microsoft.com/office/drawing/2014/main" id="{9E0A323E-DB78-45D5-94FD-F588CBACBA37}"/>
                  </a:ext>
                </a:extLst>
              </p:cNvPr>
              <p:cNvSpPr/>
              <p:nvPr/>
            </p:nvSpPr>
            <p:spPr bwMode="auto">
              <a:xfrm>
                <a:off x="7758238" y="1878251"/>
                <a:ext cx="114178" cy="61718"/>
              </a:xfrm>
              <a:custGeom>
                <a:avLst/>
                <a:gdLst>
                  <a:gd name="T0" fmla="*/ 29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8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8" name="iṡḷïďê">
                <a:extLst>
                  <a:ext uri="{FF2B5EF4-FFF2-40B4-BE49-F238E27FC236}">
                    <a16:creationId xmlns:a16="http://schemas.microsoft.com/office/drawing/2014/main" id="{8C3C2B39-1EB5-4BA0-9ED8-98D212FDEB2E}"/>
                  </a:ext>
                </a:extLst>
              </p:cNvPr>
              <p:cNvSpPr/>
              <p:nvPr/>
            </p:nvSpPr>
            <p:spPr bwMode="auto">
              <a:xfrm>
                <a:off x="7883216" y="1878251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9" name="iṣľiďè">
                <a:extLst>
                  <a:ext uri="{FF2B5EF4-FFF2-40B4-BE49-F238E27FC236}">
                    <a16:creationId xmlns:a16="http://schemas.microsoft.com/office/drawing/2014/main" id="{0BFDB2EA-3A3C-4510-9BFE-BB4E9B943380}"/>
                  </a:ext>
                </a:extLst>
              </p:cNvPr>
              <p:cNvSpPr/>
              <p:nvPr/>
            </p:nvSpPr>
            <p:spPr bwMode="auto">
              <a:xfrm>
                <a:off x="8006652" y="1878251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7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0" name="ïṧ1íḋé">
                <a:extLst>
                  <a:ext uri="{FF2B5EF4-FFF2-40B4-BE49-F238E27FC236}">
                    <a16:creationId xmlns:a16="http://schemas.microsoft.com/office/drawing/2014/main" id="{39B6650D-34DE-4510-BF55-C7FF3F1179D7}"/>
                  </a:ext>
                </a:extLst>
              </p:cNvPr>
              <p:cNvSpPr/>
              <p:nvPr/>
            </p:nvSpPr>
            <p:spPr bwMode="auto">
              <a:xfrm>
                <a:off x="8130087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1" name="íşḷîḍé">
                <a:extLst>
                  <a:ext uri="{FF2B5EF4-FFF2-40B4-BE49-F238E27FC236}">
                    <a16:creationId xmlns:a16="http://schemas.microsoft.com/office/drawing/2014/main" id="{6890ADA8-DCB5-437F-9899-22876505C115}"/>
                  </a:ext>
                </a:extLst>
              </p:cNvPr>
              <p:cNvSpPr/>
              <p:nvPr/>
            </p:nvSpPr>
            <p:spPr bwMode="auto">
              <a:xfrm>
                <a:off x="8255067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2" name="íşḷiḍé">
                <a:extLst>
                  <a:ext uri="{FF2B5EF4-FFF2-40B4-BE49-F238E27FC236}">
                    <a16:creationId xmlns:a16="http://schemas.microsoft.com/office/drawing/2014/main" id="{0BB72253-41EA-4D3A-AE25-D8B31850786A}"/>
                  </a:ext>
                </a:extLst>
              </p:cNvPr>
              <p:cNvSpPr/>
              <p:nvPr/>
            </p:nvSpPr>
            <p:spPr bwMode="auto">
              <a:xfrm>
                <a:off x="8383131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2 w 31"/>
                  <a:gd name="T3" fmla="*/ 0 h 17"/>
                  <a:gd name="T4" fmla="*/ 1 w 31"/>
                  <a:gd name="T5" fmla="*/ 9 h 17"/>
                  <a:gd name="T6" fmla="*/ 19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1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3" name="íṧ1íḑé">
                <a:extLst>
                  <a:ext uri="{FF2B5EF4-FFF2-40B4-BE49-F238E27FC236}">
                    <a16:creationId xmlns:a16="http://schemas.microsoft.com/office/drawing/2014/main" id="{922466E2-2883-4557-A61E-B9455AEC1F65}"/>
                  </a:ext>
                </a:extLst>
              </p:cNvPr>
              <p:cNvSpPr/>
              <p:nvPr/>
            </p:nvSpPr>
            <p:spPr bwMode="auto">
              <a:xfrm>
                <a:off x="8506566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2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7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4" name="ïṣlïḑè">
                <a:extLst>
                  <a:ext uri="{FF2B5EF4-FFF2-40B4-BE49-F238E27FC236}">
                    <a16:creationId xmlns:a16="http://schemas.microsoft.com/office/drawing/2014/main" id="{83AC3D94-CF56-4D60-8C45-DC6B4730A4E9}"/>
                  </a:ext>
                </a:extLst>
              </p:cNvPr>
              <p:cNvSpPr/>
              <p:nvPr/>
            </p:nvSpPr>
            <p:spPr bwMode="auto">
              <a:xfrm>
                <a:off x="8630002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5" name="ïšḻïďè">
                <a:extLst>
                  <a:ext uri="{FF2B5EF4-FFF2-40B4-BE49-F238E27FC236}">
                    <a16:creationId xmlns:a16="http://schemas.microsoft.com/office/drawing/2014/main" id="{48A506E4-D365-43D3-BE04-523F03740E88}"/>
                  </a:ext>
                </a:extLst>
              </p:cNvPr>
              <p:cNvSpPr/>
              <p:nvPr/>
            </p:nvSpPr>
            <p:spPr bwMode="auto">
              <a:xfrm>
                <a:off x="8754981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6" name="ï$ļïde">
                <a:extLst>
                  <a:ext uri="{FF2B5EF4-FFF2-40B4-BE49-F238E27FC236}">
                    <a16:creationId xmlns:a16="http://schemas.microsoft.com/office/drawing/2014/main" id="{8198E626-54E5-44E8-A1A6-98CD833A61B3}"/>
                  </a:ext>
                </a:extLst>
              </p:cNvPr>
              <p:cNvSpPr/>
              <p:nvPr/>
            </p:nvSpPr>
            <p:spPr bwMode="auto">
              <a:xfrm>
                <a:off x="8878417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7" name="íṥḻiḍê">
                <a:extLst>
                  <a:ext uri="{FF2B5EF4-FFF2-40B4-BE49-F238E27FC236}">
                    <a16:creationId xmlns:a16="http://schemas.microsoft.com/office/drawing/2014/main" id="{5544BE73-A624-45D9-8815-0DC745B8FD6B}"/>
                  </a:ext>
                </a:extLst>
              </p:cNvPr>
              <p:cNvSpPr/>
              <p:nvPr/>
            </p:nvSpPr>
            <p:spPr bwMode="auto">
              <a:xfrm>
                <a:off x="9003395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3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8" name="işlîḓe">
                <a:extLst>
                  <a:ext uri="{FF2B5EF4-FFF2-40B4-BE49-F238E27FC236}">
                    <a16:creationId xmlns:a16="http://schemas.microsoft.com/office/drawing/2014/main" id="{02822235-327F-4680-81E8-119290F6E80B}"/>
                  </a:ext>
                </a:extLst>
              </p:cNvPr>
              <p:cNvSpPr/>
              <p:nvPr/>
            </p:nvSpPr>
            <p:spPr bwMode="auto">
              <a:xfrm>
                <a:off x="9126831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9" name="iṡ1îḍé">
                <a:extLst>
                  <a:ext uri="{FF2B5EF4-FFF2-40B4-BE49-F238E27FC236}">
                    <a16:creationId xmlns:a16="http://schemas.microsoft.com/office/drawing/2014/main" id="{FA7CCFFE-92C7-4F17-9052-A8DD05E563A1}"/>
                  </a:ext>
                </a:extLst>
              </p:cNvPr>
              <p:cNvSpPr/>
              <p:nvPr/>
            </p:nvSpPr>
            <p:spPr bwMode="auto">
              <a:xfrm>
                <a:off x="9250267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9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0" name="íṥlíďé">
                <a:extLst>
                  <a:ext uri="{FF2B5EF4-FFF2-40B4-BE49-F238E27FC236}">
                    <a16:creationId xmlns:a16="http://schemas.microsoft.com/office/drawing/2014/main" id="{663BC985-820E-4BFB-A74A-2814A32F69B3}"/>
                  </a:ext>
                </a:extLst>
              </p:cNvPr>
              <p:cNvSpPr/>
              <p:nvPr/>
            </p:nvSpPr>
            <p:spPr bwMode="auto">
              <a:xfrm>
                <a:off x="9375246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3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3"/>
                      <a:pt x="14" y="17"/>
                      <a:pt x="21" y="17"/>
                    </a:cubicBezTo>
                    <a:cubicBezTo>
                      <a:pt x="29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1" name="îṩ1íḍe">
                <a:extLst>
                  <a:ext uri="{FF2B5EF4-FFF2-40B4-BE49-F238E27FC236}">
                    <a16:creationId xmlns:a16="http://schemas.microsoft.com/office/drawing/2014/main" id="{8194BA7F-3AF3-4891-970F-BE21F8F5200C}"/>
                  </a:ext>
                </a:extLst>
              </p:cNvPr>
              <p:cNvSpPr/>
              <p:nvPr/>
            </p:nvSpPr>
            <p:spPr bwMode="auto">
              <a:xfrm>
                <a:off x="9498681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3 w 33"/>
                  <a:gd name="T5" fmla="*/ 9 h 17"/>
                  <a:gd name="T6" fmla="*/ 2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3"/>
                      <a:pt x="14" y="17"/>
                      <a:pt x="22" y="17"/>
                    </a:cubicBezTo>
                    <a:cubicBezTo>
                      <a:pt x="29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2" name="iṣḷïḋe">
                <a:extLst>
                  <a:ext uri="{FF2B5EF4-FFF2-40B4-BE49-F238E27FC236}">
                    <a16:creationId xmlns:a16="http://schemas.microsoft.com/office/drawing/2014/main" id="{84017A3D-59AA-43EF-BACB-F1440DACB50A}"/>
                  </a:ext>
                </a:extLst>
              </p:cNvPr>
              <p:cNvSpPr/>
              <p:nvPr/>
            </p:nvSpPr>
            <p:spPr bwMode="auto">
              <a:xfrm>
                <a:off x="9623660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3" name="îṧlíḓé">
                <a:extLst>
                  <a:ext uri="{FF2B5EF4-FFF2-40B4-BE49-F238E27FC236}">
                    <a16:creationId xmlns:a16="http://schemas.microsoft.com/office/drawing/2014/main" id="{B9CF48E2-B3F2-4C90-B14C-721501E7C91F}"/>
                  </a:ext>
                </a:extLst>
              </p:cNvPr>
              <p:cNvSpPr/>
              <p:nvPr/>
            </p:nvSpPr>
            <p:spPr bwMode="auto">
              <a:xfrm>
                <a:off x="9747095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4" name="iS1ïḓè">
                <a:extLst>
                  <a:ext uri="{FF2B5EF4-FFF2-40B4-BE49-F238E27FC236}">
                    <a16:creationId xmlns:a16="http://schemas.microsoft.com/office/drawing/2014/main" id="{9D97C86B-EC1E-4CC5-9A38-5CABFCB2CCB2}"/>
                  </a:ext>
                </a:extLst>
              </p:cNvPr>
              <p:cNvSpPr/>
              <p:nvPr/>
            </p:nvSpPr>
            <p:spPr bwMode="auto">
              <a:xfrm>
                <a:off x="9870531" y="1878251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5" name="íśḻïḍè">
                <a:extLst>
                  <a:ext uri="{FF2B5EF4-FFF2-40B4-BE49-F238E27FC236}">
                    <a16:creationId xmlns:a16="http://schemas.microsoft.com/office/drawing/2014/main" id="{A68727B8-DA82-40C7-AC5B-B2D7372DF2B2}"/>
                  </a:ext>
                </a:extLst>
              </p:cNvPr>
              <p:cNvSpPr/>
              <p:nvPr/>
            </p:nvSpPr>
            <p:spPr bwMode="auto">
              <a:xfrm>
                <a:off x="9995510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6" name="ïšļíḍê">
                <a:extLst>
                  <a:ext uri="{FF2B5EF4-FFF2-40B4-BE49-F238E27FC236}">
                    <a16:creationId xmlns:a16="http://schemas.microsoft.com/office/drawing/2014/main" id="{D089AF54-3F71-4A3F-B4B2-7A01DFEAF4AE}"/>
                  </a:ext>
                </a:extLst>
              </p:cNvPr>
              <p:cNvSpPr/>
              <p:nvPr/>
            </p:nvSpPr>
            <p:spPr bwMode="auto">
              <a:xfrm>
                <a:off x="10118946" y="1878251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12 w 35"/>
                  <a:gd name="T3" fmla="*/ 0 h 17"/>
                  <a:gd name="T4" fmla="*/ 4 w 35"/>
                  <a:gd name="T5" fmla="*/ 9 h 17"/>
                  <a:gd name="T6" fmla="*/ 23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4" y="9"/>
                    </a:cubicBezTo>
                    <a:cubicBezTo>
                      <a:pt x="7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7" name="ïşļïḑe">
                <a:extLst>
                  <a:ext uri="{FF2B5EF4-FFF2-40B4-BE49-F238E27FC236}">
                    <a16:creationId xmlns:a16="http://schemas.microsoft.com/office/drawing/2014/main" id="{82D60EFA-620C-426D-B0C2-CF2F04BBF8CB}"/>
                  </a:ext>
                </a:extLst>
              </p:cNvPr>
              <p:cNvSpPr/>
              <p:nvPr/>
            </p:nvSpPr>
            <p:spPr bwMode="auto">
              <a:xfrm>
                <a:off x="6648859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4 w 30"/>
                  <a:gd name="T3" fmla="*/ 0 h 17"/>
                  <a:gd name="T4" fmla="*/ 1 w 30"/>
                  <a:gd name="T5" fmla="*/ 8 h 17"/>
                  <a:gd name="T6" fmla="*/ 16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8" name="í$1iďé">
                <a:extLst>
                  <a:ext uri="{FF2B5EF4-FFF2-40B4-BE49-F238E27FC236}">
                    <a16:creationId xmlns:a16="http://schemas.microsoft.com/office/drawing/2014/main" id="{1B797EF4-A7C2-468F-A6EE-2CA5F72B5977}"/>
                  </a:ext>
                </a:extLst>
              </p:cNvPr>
              <p:cNvSpPr/>
              <p:nvPr/>
            </p:nvSpPr>
            <p:spPr bwMode="auto">
              <a:xfrm>
                <a:off x="6776924" y="1953855"/>
                <a:ext cx="106464" cy="63261"/>
              </a:xfrm>
              <a:custGeom>
                <a:avLst/>
                <a:gdLst>
                  <a:gd name="T0" fmla="*/ 29 w 29"/>
                  <a:gd name="T1" fmla="*/ 8 h 17"/>
                  <a:gd name="T2" fmla="*/ 13 w 29"/>
                  <a:gd name="T3" fmla="*/ 0 h 17"/>
                  <a:gd name="T4" fmla="*/ 0 w 29"/>
                  <a:gd name="T5" fmla="*/ 8 h 17"/>
                  <a:gd name="T6" fmla="*/ 16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8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9" name="íšḻîḋê">
                <a:extLst>
                  <a:ext uri="{FF2B5EF4-FFF2-40B4-BE49-F238E27FC236}">
                    <a16:creationId xmlns:a16="http://schemas.microsoft.com/office/drawing/2014/main" id="{EE605300-08B7-4B9B-BEBA-6201AAA7DB5D}"/>
                  </a:ext>
                </a:extLst>
              </p:cNvPr>
              <p:cNvSpPr/>
              <p:nvPr/>
            </p:nvSpPr>
            <p:spPr bwMode="auto">
              <a:xfrm>
                <a:off x="6900360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4 w 30"/>
                  <a:gd name="T3" fmla="*/ 0 h 17"/>
                  <a:gd name="T4" fmla="*/ 1 w 30"/>
                  <a:gd name="T5" fmla="*/ 8 h 17"/>
                  <a:gd name="T6" fmla="*/ 17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4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0" name="îṧļîďe">
                <a:extLst>
                  <a:ext uri="{FF2B5EF4-FFF2-40B4-BE49-F238E27FC236}">
                    <a16:creationId xmlns:a16="http://schemas.microsoft.com/office/drawing/2014/main" id="{780BC24E-FC31-4250-B4F2-C01770055EC0}"/>
                  </a:ext>
                </a:extLst>
              </p:cNvPr>
              <p:cNvSpPr/>
              <p:nvPr/>
            </p:nvSpPr>
            <p:spPr bwMode="auto">
              <a:xfrm>
                <a:off x="7028424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3 w 30"/>
                  <a:gd name="T3" fmla="*/ 0 h 17"/>
                  <a:gd name="T4" fmla="*/ 0 w 30"/>
                  <a:gd name="T5" fmla="*/ 8 h 17"/>
                  <a:gd name="T6" fmla="*/ 16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8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1" name="í$1ídè">
                <a:extLst>
                  <a:ext uri="{FF2B5EF4-FFF2-40B4-BE49-F238E27FC236}">
                    <a16:creationId xmlns:a16="http://schemas.microsoft.com/office/drawing/2014/main" id="{4439EC22-CE38-4281-BC5A-190F111B2353}"/>
                  </a:ext>
                </a:extLst>
              </p:cNvPr>
              <p:cNvSpPr/>
              <p:nvPr/>
            </p:nvSpPr>
            <p:spPr bwMode="auto">
              <a:xfrm>
                <a:off x="7153403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3 w 30"/>
                  <a:gd name="T3" fmla="*/ 0 h 17"/>
                  <a:gd name="T4" fmla="*/ 1 w 30"/>
                  <a:gd name="T5" fmla="*/ 8 h 17"/>
                  <a:gd name="T6" fmla="*/ 17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2" name="íṡľíḓé">
                <a:extLst>
                  <a:ext uri="{FF2B5EF4-FFF2-40B4-BE49-F238E27FC236}">
                    <a16:creationId xmlns:a16="http://schemas.microsoft.com/office/drawing/2014/main" id="{567FF7BA-4FDA-4A99-A2AE-FD5C88B75067}"/>
                  </a:ext>
                </a:extLst>
              </p:cNvPr>
              <p:cNvSpPr/>
              <p:nvPr/>
            </p:nvSpPr>
            <p:spPr bwMode="auto">
              <a:xfrm>
                <a:off x="7279924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3 w 30"/>
                  <a:gd name="T3" fmla="*/ 0 h 17"/>
                  <a:gd name="T4" fmla="*/ 1 w 30"/>
                  <a:gd name="T5" fmla="*/ 8 h 17"/>
                  <a:gd name="T6" fmla="*/ 17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3" name="isľïḑé">
                <a:extLst>
                  <a:ext uri="{FF2B5EF4-FFF2-40B4-BE49-F238E27FC236}">
                    <a16:creationId xmlns:a16="http://schemas.microsoft.com/office/drawing/2014/main" id="{AA5535B0-5A64-4498-8C81-7CFF21836960}"/>
                  </a:ext>
                </a:extLst>
              </p:cNvPr>
              <p:cNvSpPr/>
              <p:nvPr/>
            </p:nvSpPr>
            <p:spPr bwMode="auto">
              <a:xfrm>
                <a:off x="7404903" y="1953855"/>
                <a:ext cx="112636" cy="63261"/>
              </a:xfrm>
              <a:custGeom>
                <a:avLst/>
                <a:gdLst>
                  <a:gd name="T0" fmla="*/ 29 w 31"/>
                  <a:gd name="T1" fmla="*/ 8 h 17"/>
                  <a:gd name="T2" fmla="*/ 13 w 31"/>
                  <a:gd name="T3" fmla="*/ 0 h 17"/>
                  <a:gd name="T4" fmla="*/ 1 w 31"/>
                  <a:gd name="T5" fmla="*/ 8 h 17"/>
                  <a:gd name="T6" fmla="*/ 17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2" y="13"/>
                      <a:pt x="10" y="17"/>
                      <a:pt x="17" y="17"/>
                    </a:cubicBezTo>
                    <a:cubicBezTo>
                      <a:pt x="25" y="17"/>
                      <a:pt x="31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4" name="íślíḑé">
                <a:extLst>
                  <a:ext uri="{FF2B5EF4-FFF2-40B4-BE49-F238E27FC236}">
                    <a16:creationId xmlns:a16="http://schemas.microsoft.com/office/drawing/2014/main" id="{5FC61541-2AB6-4CC7-AF85-84961341B93B}"/>
                  </a:ext>
                </a:extLst>
              </p:cNvPr>
              <p:cNvSpPr/>
              <p:nvPr/>
            </p:nvSpPr>
            <p:spPr bwMode="auto">
              <a:xfrm>
                <a:off x="7528338" y="1953855"/>
                <a:ext cx="114178" cy="63261"/>
              </a:xfrm>
              <a:custGeom>
                <a:avLst/>
                <a:gdLst>
                  <a:gd name="T0" fmla="*/ 30 w 31"/>
                  <a:gd name="T1" fmla="*/ 8 h 17"/>
                  <a:gd name="T2" fmla="*/ 14 w 31"/>
                  <a:gd name="T3" fmla="*/ 0 h 17"/>
                  <a:gd name="T4" fmla="*/ 2 w 31"/>
                  <a:gd name="T5" fmla="*/ 8 h 17"/>
                  <a:gd name="T6" fmla="*/ 18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29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2" y="8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5" name="îśļïḓé">
                <a:extLst>
                  <a:ext uri="{FF2B5EF4-FFF2-40B4-BE49-F238E27FC236}">
                    <a16:creationId xmlns:a16="http://schemas.microsoft.com/office/drawing/2014/main" id="{6775E9EA-71C3-4547-B1BF-F2F82B32C813}"/>
                  </a:ext>
                </a:extLst>
              </p:cNvPr>
              <p:cNvSpPr/>
              <p:nvPr/>
            </p:nvSpPr>
            <p:spPr bwMode="auto">
              <a:xfrm>
                <a:off x="7656403" y="1953855"/>
                <a:ext cx="112636" cy="63261"/>
              </a:xfrm>
              <a:custGeom>
                <a:avLst/>
                <a:gdLst>
                  <a:gd name="T0" fmla="*/ 29 w 31"/>
                  <a:gd name="T1" fmla="*/ 8 h 17"/>
                  <a:gd name="T2" fmla="*/ 13 w 31"/>
                  <a:gd name="T3" fmla="*/ 0 h 17"/>
                  <a:gd name="T4" fmla="*/ 1 w 31"/>
                  <a:gd name="T5" fmla="*/ 8 h 17"/>
                  <a:gd name="T6" fmla="*/ 18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6" name="ís1îḑè">
                <a:extLst>
                  <a:ext uri="{FF2B5EF4-FFF2-40B4-BE49-F238E27FC236}">
                    <a16:creationId xmlns:a16="http://schemas.microsoft.com/office/drawing/2014/main" id="{E9992882-31A1-488C-9B6C-27071E3BE1CE}"/>
                  </a:ext>
                </a:extLst>
              </p:cNvPr>
              <p:cNvSpPr/>
              <p:nvPr/>
            </p:nvSpPr>
            <p:spPr bwMode="auto">
              <a:xfrm>
                <a:off x="7779839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2" y="8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7" name="işlïḑé">
                <a:extLst>
                  <a:ext uri="{FF2B5EF4-FFF2-40B4-BE49-F238E27FC236}">
                    <a16:creationId xmlns:a16="http://schemas.microsoft.com/office/drawing/2014/main" id="{A997A6AA-2644-4B4F-9292-854C7E13179A}"/>
                  </a:ext>
                </a:extLst>
              </p:cNvPr>
              <p:cNvSpPr/>
              <p:nvPr/>
            </p:nvSpPr>
            <p:spPr bwMode="auto">
              <a:xfrm>
                <a:off x="7907903" y="1953855"/>
                <a:ext cx="112636" cy="63261"/>
              </a:xfrm>
              <a:custGeom>
                <a:avLst/>
                <a:gdLst>
                  <a:gd name="T0" fmla="*/ 30 w 31"/>
                  <a:gd name="T1" fmla="*/ 8 h 17"/>
                  <a:gd name="T2" fmla="*/ 13 w 31"/>
                  <a:gd name="T3" fmla="*/ 0 h 17"/>
                  <a:gd name="T4" fmla="*/ 1 w 31"/>
                  <a:gd name="T5" fmla="*/ 8 h 17"/>
                  <a:gd name="T6" fmla="*/ 18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8" name="iS1iḑe">
                <a:extLst>
                  <a:ext uri="{FF2B5EF4-FFF2-40B4-BE49-F238E27FC236}">
                    <a16:creationId xmlns:a16="http://schemas.microsoft.com/office/drawing/2014/main" id="{48468A5D-EFC1-4B22-996B-C50F9B64B2FC}"/>
                  </a:ext>
                </a:extLst>
              </p:cNvPr>
              <p:cNvSpPr/>
              <p:nvPr/>
            </p:nvSpPr>
            <p:spPr bwMode="auto">
              <a:xfrm>
                <a:off x="8032882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9" name="íṥliḋé">
                <a:extLst>
                  <a:ext uri="{FF2B5EF4-FFF2-40B4-BE49-F238E27FC236}">
                    <a16:creationId xmlns:a16="http://schemas.microsoft.com/office/drawing/2014/main" id="{B484506A-F41F-4ABF-BDDD-8E71FEA43D8D}"/>
                  </a:ext>
                </a:extLst>
              </p:cNvPr>
              <p:cNvSpPr/>
              <p:nvPr/>
            </p:nvSpPr>
            <p:spPr bwMode="auto">
              <a:xfrm>
                <a:off x="8159404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0" name="îSļîḓé">
                <a:extLst>
                  <a:ext uri="{FF2B5EF4-FFF2-40B4-BE49-F238E27FC236}">
                    <a16:creationId xmlns:a16="http://schemas.microsoft.com/office/drawing/2014/main" id="{3F1671E9-791D-42F0-B329-6B8216E2CD9E}"/>
                  </a:ext>
                </a:extLst>
              </p:cNvPr>
              <p:cNvSpPr/>
              <p:nvPr/>
            </p:nvSpPr>
            <p:spPr bwMode="auto">
              <a:xfrm>
                <a:off x="8284382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1" name="ïṣļïdé">
                <a:extLst>
                  <a:ext uri="{FF2B5EF4-FFF2-40B4-BE49-F238E27FC236}">
                    <a16:creationId xmlns:a16="http://schemas.microsoft.com/office/drawing/2014/main" id="{7757D748-3E4F-490A-B8C5-4D9B01C93B6C}"/>
                  </a:ext>
                </a:extLst>
              </p:cNvPr>
              <p:cNvSpPr/>
              <p:nvPr/>
            </p:nvSpPr>
            <p:spPr bwMode="auto">
              <a:xfrm>
                <a:off x="8412447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2" name="îṥļiďé">
                <a:extLst>
                  <a:ext uri="{FF2B5EF4-FFF2-40B4-BE49-F238E27FC236}">
                    <a16:creationId xmlns:a16="http://schemas.microsoft.com/office/drawing/2014/main" id="{3F895C1D-22FC-47B0-9567-DC4819933516}"/>
                  </a:ext>
                </a:extLst>
              </p:cNvPr>
              <p:cNvSpPr/>
              <p:nvPr/>
            </p:nvSpPr>
            <p:spPr bwMode="auto">
              <a:xfrm>
                <a:off x="8535883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3" name="íṥļïḋé">
                <a:extLst>
                  <a:ext uri="{FF2B5EF4-FFF2-40B4-BE49-F238E27FC236}">
                    <a16:creationId xmlns:a16="http://schemas.microsoft.com/office/drawing/2014/main" id="{864B738B-EC5D-47B6-9DFA-A98544B536BE}"/>
                  </a:ext>
                </a:extLst>
              </p:cNvPr>
              <p:cNvSpPr/>
              <p:nvPr/>
            </p:nvSpPr>
            <p:spPr bwMode="auto">
              <a:xfrm>
                <a:off x="8663947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4" name="íṩḷíḍe">
                <a:extLst>
                  <a:ext uri="{FF2B5EF4-FFF2-40B4-BE49-F238E27FC236}">
                    <a16:creationId xmlns:a16="http://schemas.microsoft.com/office/drawing/2014/main" id="{838E5C05-C6B4-44C6-AB9E-E71E30F9B3C3}"/>
                  </a:ext>
                </a:extLst>
              </p:cNvPr>
              <p:cNvSpPr/>
              <p:nvPr/>
            </p:nvSpPr>
            <p:spPr bwMode="auto">
              <a:xfrm>
                <a:off x="878738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12 w 33"/>
                  <a:gd name="T3" fmla="*/ 0 h 17"/>
                  <a:gd name="T4" fmla="*/ 2 w 33"/>
                  <a:gd name="T5" fmla="*/ 8 h 17"/>
                  <a:gd name="T6" fmla="*/ 20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3" y="17"/>
                      <a:pt x="20" y="17"/>
                    </a:cubicBezTo>
                    <a:cubicBezTo>
                      <a:pt x="28" y="17"/>
                      <a:pt x="33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5" name="í$ḷíḓé">
                <a:extLst>
                  <a:ext uri="{FF2B5EF4-FFF2-40B4-BE49-F238E27FC236}">
                    <a16:creationId xmlns:a16="http://schemas.microsoft.com/office/drawing/2014/main" id="{3C3EB79B-65C1-4AAE-9355-3A634FC32B60}"/>
                  </a:ext>
                </a:extLst>
              </p:cNvPr>
              <p:cNvSpPr/>
              <p:nvPr/>
            </p:nvSpPr>
            <p:spPr bwMode="auto">
              <a:xfrm>
                <a:off x="8915448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6" name="ïṥlîďe">
                <a:extLst>
                  <a:ext uri="{FF2B5EF4-FFF2-40B4-BE49-F238E27FC236}">
                    <a16:creationId xmlns:a16="http://schemas.microsoft.com/office/drawing/2014/main" id="{4448FF88-A0F8-4B9D-9325-1C4B46324054}"/>
                  </a:ext>
                </a:extLst>
              </p:cNvPr>
              <p:cNvSpPr/>
              <p:nvPr/>
            </p:nvSpPr>
            <p:spPr bwMode="auto">
              <a:xfrm>
                <a:off x="903888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12 w 33"/>
                  <a:gd name="T3" fmla="*/ 0 h 17"/>
                  <a:gd name="T4" fmla="*/ 2 w 33"/>
                  <a:gd name="T5" fmla="*/ 8 h 17"/>
                  <a:gd name="T6" fmla="*/ 21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9" y="17"/>
                      <a:pt x="33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7" name="ïś1îḑê">
                <a:extLst>
                  <a:ext uri="{FF2B5EF4-FFF2-40B4-BE49-F238E27FC236}">
                    <a16:creationId xmlns:a16="http://schemas.microsoft.com/office/drawing/2014/main" id="{A3988C9C-4BD0-4F40-B609-A641FFB416C5}"/>
                  </a:ext>
                </a:extLst>
              </p:cNvPr>
              <p:cNvSpPr/>
              <p:nvPr/>
            </p:nvSpPr>
            <p:spPr bwMode="auto">
              <a:xfrm>
                <a:off x="9166947" y="1953855"/>
                <a:ext cx="120350" cy="63261"/>
              </a:xfrm>
              <a:custGeom>
                <a:avLst/>
                <a:gdLst>
                  <a:gd name="T0" fmla="*/ 30 w 33"/>
                  <a:gd name="T1" fmla="*/ 8 h 17"/>
                  <a:gd name="T2" fmla="*/ 12 w 33"/>
                  <a:gd name="T3" fmla="*/ 0 h 17"/>
                  <a:gd name="T4" fmla="*/ 2 w 33"/>
                  <a:gd name="T5" fmla="*/ 8 h 17"/>
                  <a:gd name="T6" fmla="*/ 21 w 33"/>
                  <a:gd name="T7" fmla="*/ 17 h 17"/>
                  <a:gd name="T8" fmla="*/ 30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8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4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8" name="îśḷîḓé">
                <a:extLst>
                  <a:ext uri="{FF2B5EF4-FFF2-40B4-BE49-F238E27FC236}">
                    <a16:creationId xmlns:a16="http://schemas.microsoft.com/office/drawing/2014/main" id="{0D0BC6F4-9F8A-4680-A001-A0516332DAEF}"/>
                  </a:ext>
                </a:extLst>
              </p:cNvPr>
              <p:cNvSpPr/>
              <p:nvPr/>
            </p:nvSpPr>
            <p:spPr bwMode="auto">
              <a:xfrm>
                <a:off x="6659660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4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9" name="işḷidè">
                <a:extLst>
                  <a:ext uri="{FF2B5EF4-FFF2-40B4-BE49-F238E27FC236}">
                    <a16:creationId xmlns:a16="http://schemas.microsoft.com/office/drawing/2014/main" id="{62255863-2155-4608-9359-426E1713FC06}"/>
                  </a:ext>
                </a:extLst>
              </p:cNvPr>
              <p:cNvSpPr/>
              <p:nvPr/>
            </p:nvSpPr>
            <p:spPr bwMode="auto">
              <a:xfrm>
                <a:off x="6787724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0" name="ïṩlíḑê">
                <a:extLst>
                  <a:ext uri="{FF2B5EF4-FFF2-40B4-BE49-F238E27FC236}">
                    <a16:creationId xmlns:a16="http://schemas.microsoft.com/office/drawing/2014/main" id="{C15BC5CD-1081-4D47-A705-62D2FBEF6A97}"/>
                  </a:ext>
                </a:extLst>
              </p:cNvPr>
              <p:cNvSpPr/>
              <p:nvPr/>
            </p:nvSpPr>
            <p:spPr bwMode="auto">
              <a:xfrm>
                <a:off x="6915789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0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1" name="ïsḷïḍè">
                <a:extLst>
                  <a:ext uri="{FF2B5EF4-FFF2-40B4-BE49-F238E27FC236}">
                    <a16:creationId xmlns:a16="http://schemas.microsoft.com/office/drawing/2014/main" id="{EDE0F11F-B35A-4AE6-B66E-DF3E80E305CA}"/>
                  </a:ext>
                </a:extLst>
              </p:cNvPr>
              <p:cNvSpPr/>
              <p:nvPr/>
            </p:nvSpPr>
            <p:spPr bwMode="auto">
              <a:xfrm>
                <a:off x="7043853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0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1" y="13"/>
                      <a:pt x="9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2" name="íšļîḓê">
                <a:extLst>
                  <a:ext uri="{FF2B5EF4-FFF2-40B4-BE49-F238E27FC236}">
                    <a16:creationId xmlns:a16="http://schemas.microsoft.com/office/drawing/2014/main" id="{EA517BCE-D245-4214-827D-C0B55DA53F55}"/>
                  </a:ext>
                </a:extLst>
              </p:cNvPr>
              <p:cNvSpPr/>
              <p:nvPr/>
            </p:nvSpPr>
            <p:spPr bwMode="auto">
              <a:xfrm>
                <a:off x="7167289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4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10" y="17"/>
                      <a:pt x="18" y="17"/>
                    </a:cubicBezTo>
                    <a:cubicBezTo>
                      <a:pt x="25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3" name="îšḻïḓe">
                <a:extLst>
                  <a:ext uri="{FF2B5EF4-FFF2-40B4-BE49-F238E27FC236}">
                    <a16:creationId xmlns:a16="http://schemas.microsoft.com/office/drawing/2014/main" id="{342BA725-91EB-42CC-93B2-2B514392D322}"/>
                  </a:ext>
                </a:extLst>
              </p:cNvPr>
              <p:cNvSpPr/>
              <p:nvPr/>
            </p:nvSpPr>
            <p:spPr bwMode="auto">
              <a:xfrm>
                <a:off x="7295354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4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4" name="îṣľiḍê">
                <a:extLst>
                  <a:ext uri="{FF2B5EF4-FFF2-40B4-BE49-F238E27FC236}">
                    <a16:creationId xmlns:a16="http://schemas.microsoft.com/office/drawing/2014/main" id="{207D44A8-C89D-4F25-A66B-8D1B76A4AB7E}"/>
                  </a:ext>
                </a:extLst>
              </p:cNvPr>
              <p:cNvSpPr/>
              <p:nvPr/>
            </p:nvSpPr>
            <p:spPr bwMode="auto">
              <a:xfrm>
                <a:off x="7423418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5" name="ïŝľïḑè">
                <a:extLst>
                  <a:ext uri="{FF2B5EF4-FFF2-40B4-BE49-F238E27FC236}">
                    <a16:creationId xmlns:a16="http://schemas.microsoft.com/office/drawing/2014/main" id="{0C0CB41C-0F56-4EDA-BC8B-AABB9D62089B}"/>
                  </a:ext>
                </a:extLst>
              </p:cNvPr>
              <p:cNvSpPr/>
              <p:nvPr/>
            </p:nvSpPr>
            <p:spPr bwMode="auto">
              <a:xfrm>
                <a:off x="7549940" y="2031003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6" name="îṥḷiḓè">
                <a:extLst>
                  <a:ext uri="{FF2B5EF4-FFF2-40B4-BE49-F238E27FC236}">
                    <a16:creationId xmlns:a16="http://schemas.microsoft.com/office/drawing/2014/main" id="{5790F477-291A-4FE3-98FE-6339D5E48C69}"/>
                  </a:ext>
                </a:extLst>
              </p:cNvPr>
              <p:cNvSpPr/>
              <p:nvPr/>
            </p:nvSpPr>
            <p:spPr bwMode="auto">
              <a:xfrm>
                <a:off x="7678005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7" name="iŝḻíḍê">
                <a:extLst>
                  <a:ext uri="{FF2B5EF4-FFF2-40B4-BE49-F238E27FC236}">
                    <a16:creationId xmlns:a16="http://schemas.microsoft.com/office/drawing/2014/main" id="{CFB41420-116D-4E56-9A79-C281EB3C7FD5}"/>
                  </a:ext>
                </a:extLst>
              </p:cNvPr>
              <p:cNvSpPr/>
              <p:nvPr/>
            </p:nvSpPr>
            <p:spPr bwMode="auto">
              <a:xfrm>
                <a:off x="7806069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8" name="iṡ1ïḑe">
                <a:extLst>
                  <a:ext uri="{FF2B5EF4-FFF2-40B4-BE49-F238E27FC236}">
                    <a16:creationId xmlns:a16="http://schemas.microsoft.com/office/drawing/2014/main" id="{AB87DC4D-7457-4BF2-BB6F-126690B51217}"/>
                  </a:ext>
                </a:extLst>
              </p:cNvPr>
              <p:cNvSpPr/>
              <p:nvPr/>
            </p:nvSpPr>
            <p:spPr bwMode="auto">
              <a:xfrm>
                <a:off x="7934134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9" name="íSḷiďê">
                <a:extLst>
                  <a:ext uri="{FF2B5EF4-FFF2-40B4-BE49-F238E27FC236}">
                    <a16:creationId xmlns:a16="http://schemas.microsoft.com/office/drawing/2014/main" id="{4034884F-7DC2-4810-91F1-7FE83258A4F0}"/>
                  </a:ext>
                </a:extLst>
              </p:cNvPr>
              <p:cNvSpPr/>
              <p:nvPr/>
            </p:nvSpPr>
            <p:spPr bwMode="auto">
              <a:xfrm>
                <a:off x="8060655" y="2031003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2 w 31"/>
                  <a:gd name="T3" fmla="*/ 0 h 17"/>
                  <a:gd name="T4" fmla="*/ 1 w 31"/>
                  <a:gd name="T5" fmla="*/ 9 h 17"/>
                  <a:gd name="T6" fmla="*/ 19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0" name="íŝḷïdé">
                <a:extLst>
                  <a:ext uri="{FF2B5EF4-FFF2-40B4-BE49-F238E27FC236}">
                    <a16:creationId xmlns:a16="http://schemas.microsoft.com/office/drawing/2014/main" id="{EC4A04A7-D230-4F01-85A5-571F01DD88E3}"/>
                  </a:ext>
                </a:extLst>
              </p:cNvPr>
              <p:cNvSpPr/>
              <p:nvPr/>
            </p:nvSpPr>
            <p:spPr bwMode="auto">
              <a:xfrm>
                <a:off x="818563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1" name="ïṡliďè">
                <a:extLst>
                  <a:ext uri="{FF2B5EF4-FFF2-40B4-BE49-F238E27FC236}">
                    <a16:creationId xmlns:a16="http://schemas.microsoft.com/office/drawing/2014/main" id="{68001BE1-CBDB-4AB1-AF96-9BE3E03672F6}"/>
                  </a:ext>
                </a:extLst>
              </p:cNvPr>
              <p:cNvSpPr/>
              <p:nvPr/>
            </p:nvSpPr>
            <p:spPr bwMode="auto">
              <a:xfrm>
                <a:off x="8313699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2" name="iś1îḑê">
                <a:extLst>
                  <a:ext uri="{FF2B5EF4-FFF2-40B4-BE49-F238E27FC236}">
                    <a16:creationId xmlns:a16="http://schemas.microsoft.com/office/drawing/2014/main" id="{51BB3B51-F3DA-442F-B293-7A68A4F34943}"/>
                  </a:ext>
                </a:extLst>
              </p:cNvPr>
              <p:cNvSpPr/>
              <p:nvPr/>
            </p:nvSpPr>
            <p:spPr bwMode="auto">
              <a:xfrm>
                <a:off x="8440220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3" name="i$lîďe">
                <a:extLst>
                  <a:ext uri="{FF2B5EF4-FFF2-40B4-BE49-F238E27FC236}">
                    <a16:creationId xmlns:a16="http://schemas.microsoft.com/office/drawing/2014/main" id="{A2531081-39A7-4C87-BFE1-A108412DDB11}"/>
                  </a:ext>
                </a:extLst>
              </p:cNvPr>
              <p:cNvSpPr/>
              <p:nvPr/>
            </p:nvSpPr>
            <p:spPr bwMode="auto">
              <a:xfrm>
                <a:off x="8568284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4" name="îşlíḑé">
                <a:extLst>
                  <a:ext uri="{FF2B5EF4-FFF2-40B4-BE49-F238E27FC236}">
                    <a16:creationId xmlns:a16="http://schemas.microsoft.com/office/drawing/2014/main" id="{AEB609D7-2729-46A2-A433-275FB33CF59E}"/>
                  </a:ext>
                </a:extLst>
              </p:cNvPr>
              <p:cNvSpPr/>
              <p:nvPr/>
            </p:nvSpPr>
            <p:spPr bwMode="auto">
              <a:xfrm>
                <a:off x="8696349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5" name="îṥļïďe">
                <a:extLst>
                  <a:ext uri="{FF2B5EF4-FFF2-40B4-BE49-F238E27FC236}">
                    <a16:creationId xmlns:a16="http://schemas.microsoft.com/office/drawing/2014/main" id="{89B8FD68-E83B-425C-8DC1-CF9DF28FFF83}"/>
                  </a:ext>
                </a:extLst>
              </p:cNvPr>
              <p:cNvSpPr/>
              <p:nvPr/>
            </p:nvSpPr>
            <p:spPr bwMode="auto">
              <a:xfrm>
                <a:off x="882441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6" name="îṡļíḍe">
                <a:extLst>
                  <a:ext uri="{FF2B5EF4-FFF2-40B4-BE49-F238E27FC236}">
                    <a16:creationId xmlns:a16="http://schemas.microsoft.com/office/drawing/2014/main" id="{8DB9A4F5-EA18-4195-82AA-C16866623641}"/>
                  </a:ext>
                </a:extLst>
              </p:cNvPr>
              <p:cNvSpPr/>
              <p:nvPr/>
            </p:nvSpPr>
            <p:spPr bwMode="auto">
              <a:xfrm>
                <a:off x="8952478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7" name="îṧļïḑe">
                <a:extLst>
                  <a:ext uri="{FF2B5EF4-FFF2-40B4-BE49-F238E27FC236}">
                    <a16:creationId xmlns:a16="http://schemas.microsoft.com/office/drawing/2014/main" id="{DAB0AF30-DE62-48EB-A8F2-0DFB406FFDBB}"/>
                  </a:ext>
                </a:extLst>
              </p:cNvPr>
              <p:cNvSpPr/>
              <p:nvPr/>
            </p:nvSpPr>
            <p:spPr bwMode="auto">
              <a:xfrm>
                <a:off x="9079000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3" y="17"/>
                      <a:pt x="21" y="17"/>
                    </a:cubicBezTo>
                    <a:cubicBezTo>
                      <a:pt x="29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8" name="iŝľïdé">
                <a:extLst>
                  <a:ext uri="{FF2B5EF4-FFF2-40B4-BE49-F238E27FC236}">
                    <a16:creationId xmlns:a16="http://schemas.microsoft.com/office/drawing/2014/main" id="{A86224B0-E965-4E31-B560-7DA57437A6BA}"/>
                  </a:ext>
                </a:extLst>
              </p:cNvPr>
              <p:cNvSpPr/>
              <p:nvPr/>
            </p:nvSpPr>
            <p:spPr bwMode="auto">
              <a:xfrm>
                <a:off x="9203978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3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9" name="îŝḷîḋe">
                <a:extLst>
                  <a:ext uri="{FF2B5EF4-FFF2-40B4-BE49-F238E27FC236}">
                    <a16:creationId xmlns:a16="http://schemas.microsoft.com/office/drawing/2014/main" id="{3B85A8A0-2A7F-4522-83D6-D78F3AC4682F}"/>
                  </a:ext>
                </a:extLst>
              </p:cNvPr>
              <p:cNvSpPr/>
              <p:nvPr/>
            </p:nvSpPr>
            <p:spPr bwMode="auto">
              <a:xfrm>
                <a:off x="6670460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4 w 30"/>
                  <a:gd name="T3" fmla="*/ 0 h 18"/>
                  <a:gd name="T4" fmla="*/ 0 w 30"/>
                  <a:gd name="T5" fmla="*/ 9 h 18"/>
                  <a:gd name="T6" fmla="*/ 16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0" name="íṣḷîḑè">
                <a:extLst>
                  <a:ext uri="{FF2B5EF4-FFF2-40B4-BE49-F238E27FC236}">
                    <a16:creationId xmlns:a16="http://schemas.microsoft.com/office/drawing/2014/main" id="{B1F9BE0F-4510-42F5-A0E5-66C5816BC66C}"/>
                  </a:ext>
                </a:extLst>
              </p:cNvPr>
              <p:cNvSpPr/>
              <p:nvPr/>
            </p:nvSpPr>
            <p:spPr bwMode="auto">
              <a:xfrm>
                <a:off x="6798525" y="2108150"/>
                <a:ext cx="109550" cy="64804"/>
              </a:xfrm>
              <a:custGeom>
                <a:avLst/>
                <a:gdLst>
                  <a:gd name="T0" fmla="*/ 30 w 30"/>
                  <a:gd name="T1" fmla="*/ 9 h 18"/>
                  <a:gd name="T2" fmla="*/ 14 w 30"/>
                  <a:gd name="T3" fmla="*/ 0 h 18"/>
                  <a:gd name="T4" fmla="*/ 1 w 30"/>
                  <a:gd name="T5" fmla="*/ 9 h 18"/>
                  <a:gd name="T6" fmla="*/ 17 w 30"/>
                  <a:gd name="T7" fmla="*/ 18 h 18"/>
                  <a:gd name="T8" fmla="*/ 30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9" y="18"/>
                      <a:pt x="17" y="18"/>
                    </a:cubicBezTo>
                    <a:cubicBezTo>
                      <a:pt x="25" y="18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1" name="îṡľïďe">
                <a:extLst>
                  <a:ext uri="{FF2B5EF4-FFF2-40B4-BE49-F238E27FC236}">
                    <a16:creationId xmlns:a16="http://schemas.microsoft.com/office/drawing/2014/main" id="{721A2C63-E96B-47B4-837D-0E8BD25EA625}"/>
                  </a:ext>
                </a:extLst>
              </p:cNvPr>
              <p:cNvSpPr/>
              <p:nvPr/>
            </p:nvSpPr>
            <p:spPr bwMode="auto">
              <a:xfrm>
                <a:off x="6926589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4 w 31"/>
                  <a:gd name="T3" fmla="*/ 0 h 18"/>
                  <a:gd name="T4" fmla="*/ 1 w 31"/>
                  <a:gd name="T5" fmla="*/ 9 h 18"/>
                  <a:gd name="T6" fmla="*/ 17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8"/>
                      <a:pt x="17" y="18"/>
                    </a:cubicBezTo>
                    <a:cubicBezTo>
                      <a:pt x="25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2" name="íšḻiďe">
                <a:extLst>
                  <a:ext uri="{FF2B5EF4-FFF2-40B4-BE49-F238E27FC236}">
                    <a16:creationId xmlns:a16="http://schemas.microsoft.com/office/drawing/2014/main" id="{C4781E77-30D9-4DFD-BE15-70DA8D0FA3DC}"/>
                  </a:ext>
                </a:extLst>
              </p:cNvPr>
              <p:cNvSpPr/>
              <p:nvPr/>
            </p:nvSpPr>
            <p:spPr bwMode="auto">
              <a:xfrm>
                <a:off x="7057740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3 w 30"/>
                  <a:gd name="T3" fmla="*/ 0 h 18"/>
                  <a:gd name="T4" fmla="*/ 0 w 30"/>
                  <a:gd name="T5" fmla="*/ 9 h 18"/>
                  <a:gd name="T6" fmla="*/ 17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1" y="14"/>
                      <a:pt x="9" y="18"/>
                      <a:pt x="17" y="18"/>
                    </a:cubicBezTo>
                    <a:cubicBezTo>
                      <a:pt x="25" y="18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3" name="îšliḋê">
                <a:extLst>
                  <a:ext uri="{FF2B5EF4-FFF2-40B4-BE49-F238E27FC236}">
                    <a16:creationId xmlns:a16="http://schemas.microsoft.com/office/drawing/2014/main" id="{40A8A855-5AF4-4F8F-ABBA-C34BCAC8C322}"/>
                  </a:ext>
                </a:extLst>
              </p:cNvPr>
              <p:cNvSpPr/>
              <p:nvPr/>
            </p:nvSpPr>
            <p:spPr bwMode="auto">
              <a:xfrm>
                <a:off x="7185804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3 w 31"/>
                  <a:gd name="T3" fmla="*/ 0 h 18"/>
                  <a:gd name="T4" fmla="*/ 1 w 31"/>
                  <a:gd name="T5" fmla="*/ 9 h 18"/>
                  <a:gd name="T6" fmla="*/ 17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9" y="18"/>
                      <a:pt x="17" y="18"/>
                    </a:cubicBezTo>
                    <a:cubicBezTo>
                      <a:pt x="25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4" name="išľïde">
                <a:extLst>
                  <a:ext uri="{FF2B5EF4-FFF2-40B4-BE49-F238E27FC236}">
                    <a16:creationId xmlns:a16="http://schemas.microsoft.com/office/drawing/2014/main" id="{ECF07199-60EE-4723-8880-54E890640528}"/>
                  </a:ext>
                </a:extLst>
              </p:cNvPr>
              <p:cNvSpPr/>
              <p:nvPr/>
            </p:nvSpPr>
            <p:spPr bwMode="auto">
              <a:xfrm>
                <a:off x="7313869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4 w 31"/>
                  <a:gd name="T3" fmla="*/ 0 h 18"/>
                  <a:gd name="T4" fmla="*/ 1 w 31"/>
                  <a:gd name="T5" fmla="*/ 9 h 18"/>
                  <a:gd name="T6" fmla="*/ 18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8"/>
                      <a:pt x="18" y="18"/>
                    </a:cubicBezTo>
                    <a:cubicBezTo>
                      <a:pt x="26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5" name="íSlîďê">
                <a:extLst>
                  <a:ext uri="{FF2B5EF4-FFF2-40B4-BE49-F238E27FC236}">
                    <a16:creationId xmlns:a16="http://schemas.microsoft.com/office/drawing/2014/main" id="{CF6D69D7-83B7-46D9-8D89-1443D973DB9F}"/>
                  </a:ext>
                </a:extLst>
              </p:cNvPr>
              <p:cNvSpPr/>
              <p:nvPr/>
            </p:nvSpPr>
            <p:spPr bwMode="auto">
              <a:xfrm>
                <a:off x="7440391" y="2108150"/>
                <a:ext cx="117264" cy="64804"/>
              </a:xfrm>
              <a:custGeom>
                <a:avLst/>
                <a:gdLst>
                  <a:gd name="T0" fmla="*/ 31 w 32"/>
                  <a:gd name="T1" fmla="*/ 9 h 18"/>
                  <a:gd name="T2" fmla="*/ 14 w 32"/>
                  <a:gd name="T3" fmla="*/ 0 h 18"/>
                  <a:gd name="T4" fmla="*/ 2 w 32"/>
                  <a:gd name="T5" fmla="*/ 9 h 18"/>
                  <a:gd name="T6" fmla="*/ 18 w 32"/>
                  <a:gd name="T7" fmla="*/ 18 h 18"/>
                  <a:gd name="T8" fmla="*/ 31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1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0" y="18"/>
                      <a:pt x="18" y="18"/>
                    </a:cubicBezTo>
                    <a:cubicBezTo>
                      <a:pt x="26" y="18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6" name="iSlidè">
                <a:extLst>
                  <a:ext uri="{FF2B5EF4-FFF2-40B4-BE49-F238E27FC236}">
                    <a16:creationId xmlns:a16="http://schemas.microsoft.com/office/drawing/2014/main" id="{E56357D3-729A-4FA4-8B32-BF3BD7F1E821}"/>
                  </a:ext>
                </a:extLst>
              </p:cNvPr>
              <p:cNvSpPr/>
              <p:nvPr/>
            </p:nvSpPr>
            <p:spPr bwMode="auto">
              <a:xfrm>
                <a:off x="7573084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3 w 31"/>
                  <a:gd name="T3" fmla="*/ 0 h 18"/>
                  <a:gd name="T4" fmla="*/ 1 w 31"/>
                  <a:gd name="T5" fmla="*/ 9 h 18"/>
                  <a:gd name="T6" fmla="*/ 18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8"/>
                      <a:pt x="18" y="18"/>
                    </a:cubicBezTo>
                    <a:cubicBezTo>
                      <a:pt x="26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7" name="ï$ḷiḍe">
                <a:extLst>
                  <a:ext uri="{FF2B5EF4-FFF2-40B4-BE49-F238E27FC236}">
                    <a16:creationId xmlns:a16="http://schemas.microsoft.com/office/drawing/2014/main" id="{A61B558E-8816-442D-88B4-B2DE09381F07}"/>
                  </a:ext>
                </a:extLst>
              </p:cNvPr>
              <p:cNvSpPr/>
              <p:nvPr/>
            </p:nvSpPr>
            <p:spPr bwMode="auto">
              <a:xfrm>
                <a:off x="7699606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3 w 32"/>
                  <a:gd name="T3" fmla="*/ 0 h 18"/>
                  <a:gd name="T4" fmla="*/ 1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0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8" name="ïṥḷîdè">
                <a:extLst>
                  <a:ext uri="{FF2B5EF4-FFF2-40B4-BE49-F238E27FC236}">
                    <a16:creationId xmlns:a16="http://schemas.microsoft.com/office/drawing/2014/main" id="{7217018B-3604-423D-9F66-93D715F458BE}"/>
                  </a:ext>
                </a:extLst>
              </p:cNvPr>
              <p:cNvSpPr/>
              <p:nvPr/>
            </p:nvSpPr>
            <p:spPr bwMode="auto">
              <a:xfrm>
                <a:off x="7827670" y="2108150"/>
                <a:ext cx="117264" cy="64804"/>
              </a:xfrm>
              <a:custGeom>
                <a:avLst/>
                <a:gdLst>
                  <a:gd name="T0" fmla="*/ 31 w 32"/>
                  <a:gd name="T1" fmla="*/ 9 h 18"/>
                  <a:gd name="T2" fmla="*/ 14 w 32"/>
                  <a:gd name="T3" fmla="*/ 0 h 18"/>
                  <a:gd name="T4" fmla="*/ 2 w 32"/>
                  <a:gd name="T5" fmla="*/ 9 h 18"/>
                  <a:gd name="T6" fmla="*/ 19 w 32"/>
                  <a:gd name="T7" fmla="*/ 18 h 18"/>
                  <a:gd name="T8" fmla="*/ 31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1" y="9"/>
                    </a:moveTo>
                    <a:cubicBezTo>
                      <a:pt x="29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9" name="ïṡľïḍé">
                <a:extLst>
                  <a:ext uri="{FF2B5EF4-FFF2-40B4-BE49-F238E27FC236}">
                    <a16:creationId xmlns:a16="http://schemas.microsoft.com/office/drawing/2014/main" id="{293D8BB0-F726-4008-94A8-4701C013EB78}"/>
                  </a:ext>
                </a:extLst>
              </p:cNvPr>
              <p:cNvSpPr/>
              <p:nvPr/>
            </p:nvSpPr>
            <p:spPr bwMode="auto">
              <a:xfrm>
                <a:off x="7958821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3 w 32"/>
                  <a:gd name="T3" fmla="*/ 0 h 18"/>
                  <a:gd name="T4" fmla="*/ 1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0" name="ïṧliḑê">
                <a:extLst>
                  <a:ext uri="{FF2B5EF4-FFF2-40B4-BE49-F238E27FC236}">
                    <a16:creationId xmlns:a16="http://schemas.microsoft.com/office/drawing/2014/main" id="{03A472D0-DA9D-4933-BA3B-9308D3A358EC}"/>
                  </a:ext>
                </a:extLst>
              </p:cNvPr>
              <p:cNvSpPr/>
              <p:nvPr/>
            </p:nvSpPr>
            <p:spPr bwMode="auto">
              <a:xfrm>
                <a:off x="8086885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3 w 32"/>
                  <a:gd name="T3" fmla="*/ 0 h 18"/>
                  <a:gd name="T4" fmla="*/ 2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1" name="iṧ1iďê">
                <a:extLst>
                  <a:ext uri="{FF2B5EF4-FFF2-40B4-BE49-F238E27FC236}">
                    <a16:creationId xmlns:a16="http://schemas.microsoft.com/office/drawing/2014/main" id="{A754E985-29B3-47FB-8F51-1D321662CE47}"/>
                  </a:ext>
                </a:extLst>
              </p:cNvPr>
              <p:cNvSpPr/>
              <p:nvPr/>
            </p:nvSpPr>
            <p:spPr bwMode="auto">
              <a:xfrm>
                <a:off x="8214950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13 w 33"/>
                  <a:gd name="T3" fmla="*/ 0 h 18"/>
                  <a:gd name="T4" fmla="*/ 2 w 33"/>
                  <a:gd name="T5" fmla="*/ 9 h 18"/>
                  <a:gd name="T6" fmla="*/ 20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8"/>
                      <a:pt x="20" y="18"/>
                    </a:cubicBezTo>
                    <a:cubicBezTo>
                      <a:pt x="28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2" name="ïṡḷiḋe">
                <a:extLst>
                  <a:ext uri="{FF2B5EF4-FFF2-40B4-BE49-F238E27FC236}">
                    <a16:creationId xmlns:a16="http://schemas.microsoft.com/office/drawing/2014/main" id="{2A279638-2445-40DF-BB4A-0687C849CF5E}"/>
                  </a:ext>
                </a:extLst>
              </p:cNvPr>
              <p:cNvSpPr/>
              <p:nvPr/>
            </p:nvSpPr>
            <p:spPr bwMode="auto">
              <a:xfrm>
                <a:off x="8346100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2 w 32"/>
                  <a:gd name="T3" fmla="*/ 0 h 18"/>
                  <a:gd name="T4" fmla="*/ 1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1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3" name="işľidé">
                <a:extLst>
                  <a:ext uri="{FF2B5EF4-FFF2-40B4-BE49-F238E27FC236}">
                    <a16:creationId xmlns:a16="http://schemas.microsoft.com/office/drawing/2014/main" id="{CBE0B1BA-D3F2-426F-8EF1-349BAF4E3D87}"/>
                  </a:ext>
                </a:extLst>
              </p:cNvPr>
              <p:cNvSpPr/>
              <p:nvPr/>
            </p:nvSpPr>
            <p:spPr bwMode="auto">
              <a:xfrm>
                <a:off x="8474165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13 w 33"/>
                  <a:gd name="T3" fmla="*/ 0 h 18"/>
                  <a:gd name="T4" fmla="*/ 2 w 33"/>
                  <a:gd name="T5" fmla="*/ 9 h 18"/>
                  <a:gd name="T6" fmla="*/ 20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8"/>
                      <a:pt x="20" y="18"/>
                    </a:cubicBezTo>
                    <a:cubicBezTo>
                      <a:pt x="28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4" name="íšḻïḓè">
                <a:extLst>
                  <a:ext uri="{FF2B5EF4-FFF2-40B4-BE49-F238E27FC236}">
                    <a16:creationId xmlns:a16="http://schemas.microsoft.com/office/drawing/2014/main" id="{1FCCBC34-6B4D-4024-8EB6-1BBCFE976CB4}"/>
                  </a:ext>
                </a:extLst>
              </p:cNvPr>
              <p:cNvSpPr/>
              <p:nvPr/>
            </p:nvSpPr>
            <p:spPr bwMode="auto">
              <a:xfrm>
                <a:off x="8600687" y="2108150"/>
                <a:ext cx="121893" cy="64804"/>
              </a:xfrm>
              <a:custGeom>
                <a:avLst/>
                <a:gdLst>
                  <a:gd name="T0" fmla="*/ 31 w 33"/>
                  <a:gd name="T1" fmla="*/ 9 h 18"/>
                  <a:gd name="T2" fmla="*/ 13 w 33"/>
                  <a:gd name="T3" fmla="*/ 0 h 18"/>
                  <a:gd name="T4" fmla="*/ 2 w 33"/>
                  <a:gd name="T5" fmla="*/ 9 h 18"/>
                  <a:gd name="T6" fmla="*/ 21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8"/>
                      <a:pt x="21" y="18"/>
                    </a:cubicBezTo>
                    <a:cubicBezTo>
                      <a:pt x="29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5" name="íṡļíḋè">
                <a:extLst>
                  <a:ext uri="{FF2B5EF4-FFF2-40B4-BE49-F238E27FC236}">
                    <a16:creationId xmlns:a16="http://schemas.microsoft.com/office/drawing/2014/main" id="{91F5AE65-11F4-4FD9-B654-99D71FC9E2B9}"/>
                  </a:ext>
                </a:extLst>
              </p:cNvPr>
              <p:cNvSpPr/>
              <p:nvPr/>
            </p:nvSpPr>
            <p:spPr bwMode="auto">
              <a:xfrm>
                <a:off x="8728751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13 w 34"/>
                  <a:gd name="T3" fmla="*/ 0 h 18"/>
                  <a:gd name="T4" fmla="*/ 3 w 34"/>
                  <a:gd name="T5" fmla="*/ 9 h 18"/>
                  <a:gd name="T6" fmla="*/ 21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3" y="18"/>
                      <a:pt x="21" y="18"/>
                    </a:cubicBezTo>
                    <a:cubicBezTo>
                      <a:pt x="29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6" name="ïṥļïdé">
                <a:extLst>
                  <a:ext uri="{FF2B5EF4-FFF2-40B4-BE49-F238E27FC236}">
                    <a16:creationId xmlns:a16="http://schemas.microsoft.com/office/drawing/2014/main" id="{973D73C4-B85B-434A-AABD-65DE78A55C3B}"/>
                  </a:ext>
                </a:extLst>
              </p:cNvPr>
              <p:cNvSpPr/>
              <p:nvPr/>
            </p:nvSpPr>
            <p:spPr bwMode="auto">
              <a:xfrm>
                <a:off x="8859902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12 w 33"/>
                  <a:gd name="T3" fmla="*/ 0 h 18"/>
                  <a:gd name="T4" fmla="*/ 2 w 33"/>
                  <a:gd name="T5" fmla="*/ 9 h 18"/>
                  <a:gd name="T6" fmla="*/ 21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4"/>
                      <a:pt x="13" y="18"/>
                      <a:pt x="21" y="18"/>
                    </a:cubicBezTo>
                    <a:cubicBezTo>
                      <a:pt x="29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7" name="iṧļïḑé">
                <a:extLst>
                  <a:ext uri="{FF2B5EF4-FFF2-40B4-BE49-F238E27FC236}">
                    <a16:creationId xmlns:a16="http://schemas.microsoft.com/office/drawing/2014/main" id="{7FB0A073-5883-48ED-85F1-75DF2467BF04}"/>
                  </a:ext>
                </a:extLst>
              </p:cNvPr>
              <p:cNvSpPr/>
              <p:nvPr/>
            </p:nvSpPr>
            <p:spPr bwMode="auto">
              <a:xfrm>
                <a:off x="8987966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12 w 34"/>
                  <a:gd name="T3" fmla="*/ 0 h 18"/>
                  <a:gd name="T4" fmla="*/ 2 w 34"/>
                  <a:gd name="T5" fmla="*/ 9 h 18"/>
                  <a:gd name="T6" fmla="*/ 21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4"/>
                      <a:pt x="13" y="18"/>
                      <a:pt x="21" y="18"/>
                    </a:cubicBezTo>
                    <a:cubicBezTo>
                      <a:pt x="29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8" name="îṧlíḓé">
                <a:extLst>
                  <a:ext uri="{FF2B5EF4-FFF2-40B4-BE49-F238E27FC236}">
                    <a16:creationId xmlns:a16="http://schemas.microsoft.com/office/drawing/2014/main" id="{37F7E18A-9830-44C7-8724-729624AA8C64}"/>
                  </a:ext>
                </a:extLst>
              </p:cNvPr>
              <p:cNvSpPr/>
              <p:nvPr/>
            </p:nvSpPr>
            <p:spPr bwMode="auto">
              <a:xfrm>
                <a:off x="9116031" y="2108150"/>
                <a:ext cx="123436" cy="64804"/>
              </a:xfrm>
              <a:custGeom>
                <a:avLst/>
                <a:gdLst>
                  <a:gd name="T0" fmla="*/ 32 w 34"/>
                  <a:gd name="T1" fmla="*/ 9 h 18"/>
                  <a:gd name="T2" fmla="*/ 13 w 34"/>
                  <a:gd name="T3" fmla="*/ 0 h 18"/>
                  <a:gd name="T4" fmla="*/ 3 w 34"/>
                  <a:gd name="T5" fmla="*/ 9 h 18"/>
                  <a:gd name="T6" fmla="*/ 22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8"/>
                      <a:pt x="22" y="18"/>
                    </a:cubicBezTo>
                    <a:cubicBezTo>
                      <a:pt x="30" y="18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9" name="íŝḷîďé">
                <a:extLst>
                  <a:ext uri="{FF2B5EF4-FFF2-40B4-BE49-F238E27FC236}">
                    <a16:creationId xmlns:a16="http://schemas.microsoft.com/office/drawing/2014/main" id="{3C3590FD-9DD8-40BB-BB46-2BE3D7F88E20}"/>
                  </a:ext>
                </a:extLst>
              </p:cNvPr>
              <p:cNvSpPr/>
              <p:nvPr/>
            </p:nvSpPr>
            <p:spPr bwMode="auto">
              <a:xfrm>
                <a:off x="9247181" y="2108150"/>
                <a:ext cx="123436" cy="64804"/>
              </a:xfrm>
              <a:custGeom>
                <a:avLst/>
                <a:gdLst>
                  <a:gd name="T0" fmla="*/ 31 w 34"/>
                  <a:gd name="T1" fmla="*/ 9 h 18"/>
                  <a:gd name="T2" fmla="*/ 12 w 34"/>
                  <a:gd name="T3" fmla="*/ 0 h 18"/>
                  <a:gd name="T4" fmla="*/ 2 w 34"/>
                  <a:gd name="T5" fmla="*/ 9 h 18"/>
                  <a:gd name="T6" fmla="*/ 21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3" y="18"/>
                      <a:pt x="21" y="18"/>
                    </a:cubicBezTo>
                    <a:cubicBezTo>
                      <a:pt x="29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0" name="iś1îḓé">
                <a:extLst>
                  <a:ext uri="{FF2B5EF4-FFF2-40B4-BE49-F238E27FC236}">
                    <a16:creationId xmlns:a16="http://schemas.microsoft.com/office/drawing/2014/main" id="{0B95AED0-A243-4FDF-AA54-C55EFCB0E9AA}"/>
                  </a:ext>
                </a:extLst>
              </p:cNvPr>
              <p:cNvSpPr/>
              <p:nvPr/>
            </p:nvSpPr>
            <p:spPr bwMode="auto">
              <a:xfrm>
                <a:off x="6678175" y="2188383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1" name="íṩlídé">
                <a:extLst>
                  <a:ext uri="{FF2B5EF4-FFF2-40B4-BE49-F238E27FC236}">
                    <a16:creationId xmlns:a16="http://schemas.microsoft.com/office/drawing/2014/main" id="{8DEC1BAB-2790-46CC-8384-D11DC9DFF504}"/>
                  </a:ext>
                </a:extLst>
              </p:cNvPr>
              <p:cNvSpPr/>
              <p:nvPr/>
            </p:nvSpPr>
            <p:spPr bwMode="auto">
              <a:xfrm>
                <a:off x="6809325" y="2188383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2" name="íṡḻïdè">
                <a:extLst>
                  <a:ext uri="{FF2B5EF4-FFF2-40B4-BE49-F238E27FC236}">
                    <a16:creationId xmlns:a16="http://schemas.microsoft.com/office/drawing/2014/main" id="{7B264063-7D59-4E1A-8013-45A6EFA6578E}"/>
                  </a:ext>
                </a:extLst>
              </p:cNvPr>
              <p:cNvSpPr/>
              <p:nvPr/>
            </p:nvSpPr>
            <p:spPr bwMode="auto">
              <a:xfrm>
                <a:off x="6940476" y="2188383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3" name="ïṥliḋê">
                <a:extLst>
                  <a:ext uri="{FF2B5EF4-FFF2-40B4-BE49-F238E27FC236}">
                    <a16:creationId xmlns:a16="http://schemas.microsoft.com/office/drawing/2014/main" id="{87AC5BFB-8890-496C-B7B2-C5E340C910D4}"/>
                  </a:ext>
                </a:extLst>
              </p:cNvPr>
              <p:cNvSpPr/>
              <p:nvPr/>
            </p:nvSpPr>
            <p:spPr bwMode="auto">
              <a:xfrm>
                <a:off x="7073170" y="2188383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3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4" name="íSļidè">
                <a:extLst>
                  <a:ext uri="{FF2B5EF4-FFF2-40B4-BE49-F238E27FC236}">
                    <a16:creationId xmlns:a16="http://schemas.microsoft.com/office/drawing/2014/main" id="{956236B3-B1C0-4286-87E1-4F905F0B2AA5}"/>
                  </a:ext>
                </a:extLst>
              </p:cNvPr>
              <p:cNvSpPr/>
              <p:nvPr/>
            </p:nvSpPr>
            <p:spPr bwMode="auto">
              <a:xfrm>
                <a:off x="7199691" y="2188383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5" name="îśḷïḓê">
                <a:extLst>
                  <a:ext uri="{FF2B5EF4-FFF2-40B4-BE49-F238E27FC236}">
                    <a16:creationId xmlns:a16="http://schemas.microsoft.com/office/drawing/2014/main" id="{5D692387-0FC2-4F9D-9311-C8F72E89DA46}"/>
                  </a:ext>
                </a:extLst>
              </p:cNvPr>
              <p:cNvSpPr/>
              <p:nvPr/>
            </p:nvSpPr>
            <p:spPr bwMode="auto">
              <a:xfrm>
                <a:off x="7330841" y="2188383"/>
                <a:ext cx="117264" cy="69433"/>
              </a:xfrm>
              <a:custGeom>
                <a:avLst/>
                <a:gdLst>
                  <a:gd name="T0" fmla="*/ 30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6" name="îṣ1ïḍe">
                <a:extLst>
                  <a:ext uri="{FF2B5EF4-FFF2-40B4-BE49-F238E27FC236}">
                    <a16:creationId xmlns:a16="http://schemas.microsoft.com/office/drawing/2014/main" id="{3361C132-2558-4A15-99E1-F58F39D0FDE2}"/>
                  </a:ext>
                </a:extLst>
              </p:cNvPr>
              <p:cNvSpPr/>
              <p:nvPr/>
            </p:nvSpPr>
            <p:spPr bwMode="auto">
              <a:xfrm>
                <a:off x="7463535" y="2188383"/>
                <a:ext cx="115721" cy="69433"/>
              </a:xfrm>
              <a:custGeom>
                <a:avLst/>
                <a:gdLst>
                  <a:gd name="T0" fmla="*/ 30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7" name="íśḷíďè">
                <a:extLst>
                  <a:ext uri="{FF2B5EF4-FFF2-40B4-BE49-F238E27FC236}">
                    <a16:creationId xmlns:a16="http://schemas.microsoft.com/office/drawing/2014/main" id="{946F9065-E98A-45BB-95CA-0B991524D46A}"/>
                  </a:ext>
                </a:extLst>
              </p:cNvPr>
              <p:cNvSpPr/>
              <p:nvPr/>
            </p:nvSpPr>
            <p:spPr bwMode="auto">
              <a:xfrm>
                <a:off x="7594685" y="2188383"/>
                <a:ext cx="115721" cy="69433"/>
              </a:xfrm>
              <a:custGeom>
                <a:avLst/>
                <a:gdLst>
                  <a:gd name="T0" fmla="*/ 30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8" name="îṥḷíḓè">
                <a:extLst>
                  <a:ext uri="{FF2B5EF4-FFF2-40B4-BE49-F238E27FC236}">
                    <a16:creationId xmlns:a16="http://schemas.microsoft.com/office/drawing/2014/main" id="{98B45D8B-BA6D-4AA7-B23F-3D552E1EB186}"/>
                  </a:ext>
                </a:extLst>
              </p:cNvPr>
              <p:cNvSpPr/>
              <p:nvPr/>
            </p:nvSpPr>
            <p:spPr bwMode="auto">
              <a:xfrm>
                <a:off x="7722750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9" name="íṧ1iḋé">
                <a:extLst>
                  <a:ext uri="{FF2B5EF4-FFF2-40B4-BE49-F238E27FC236}">
                    <a16:creationId xmlns:a16="http://schemas.microsoft.com/office/drawing/2014/main" id="{BDA41D47-9EB3-49F7-B39C-4FF6CC4A60B1}"/>
                  </a:ext>
                </a:extLst>
              </p:cNvPr>
              <p:cNvSpPr/>
              <p:nvPr/>
            </p:nvSpPr>
            <p:spPr bwMode="auto">
              <a:xfrm>
                <a:off x="7853900" y="2188383"/>
                <a:ext cx="115721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2 w 32"/>
                  <a:gd name="T5" fmla="*/ 9 h 19"/>
                  <a:gd name="T6" fmla="*/ 19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0" name="iślïḓê">
                <a:extLst>
                  <a:ext uri="{FF2B5EF4-FFF2-40B4-BE49-F238E27FC236}">
                    <a16:creationId xmlns:a16="http://schemas.microsoft.com/office/drawing/2014/main" id="{F570C3A4-F16B-4820-A5EB-EDF455542AE1}"/>
                  </a:ext>
                </a:extLst>
              </p:cNvPr>
              <p:cNvSpPr/>
              <p:nvPr/>
            </p:nvSpPr>
            <p:spPr bwMode="auto">
              <a:xfrm>
                <a:off x="7985050" y="2188383"/>
                <a:ext cx="115721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9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1" name="iṩļïḋè">
                <a:extLst>
                  <a:ext uri="{FF2B5EF4-FFF2-40B4-BE49-F238E27FC236}">
                    <a16:creationId xmlns:a16="http://schemas.microsoft.com/office/drawing/2014/main" id="{49F8F9F6-C8A9-41A4-A1C5-05D939813F83}"/>
                  </a:ext>
                </a:extLst>
              </p:cNvPr>
              <p:cNvSpPr/>
              <p:nvPr/>
            </p:nvSpPr>
            <p:spPr bwMode="auto">
              <a:xfrm>
                <a:off x="8113115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2" name="íS1iḓê">
                <a:extLst>
                  <a:ext uri="{FF2B5EF4-FFF2-40B4-BE49-F238E27FC236}">
                    <a16:creationId xmlns:a16="http://schemas.microsoft.com/office/drawing/2014/main" id="{7B82C622-B9D6-4D4A-89BF-B95EBAADFE97}"/>
                  </a:ext>
                </a:extLst>
              </p:cNvPr>
              <p:cNvSpPr/>
              <p:nvPr/>
            </p:nvSpPr>
            <p:spPr bwMode="auto">
              <a:xfrm>
                <a:off x="8244265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3" name="íṧ1iḍé">
                <a:extLst>
                  <a:ext uri="{FF2B5EF4-FFF2-40B4-BE49-F238E27FC236}">
                    <a16:creationId xmlns:a16="http://schemas.microsoft.com/office/drawing/2014/main" id="{811891AD-2BF4-477D-A9D0-AC9822463AB3}"/>
                  </a:ext>
                </a:extLst>
              </p:cNvPr>
              <p:cNvSpPr/>
              <p:nvPr/>
            </p:nvSpPr>
            <p:spPr bwMode="auto">
              <a:xfrm>
                <a:off x="8375416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4" name="î$ļíḍê">
                <a:extLst>
                  <a:ext uri="{FF2B5EF4-FFF2-40B4-BE49-F238E27FC236}">
                    <a16:creationId xmlns:a16="http://schemas.microsoft.com/office/drawing/2014/main" id="{EC12B7FD-2227-4E7A-BEA3-7C1C8C75D852}"/>
                  </a:ext>
                </a:extLst>
              </p:cNvPr>
              <p:cNvSpPr/>
              <p:nvPr/>
            </p:nvSpPr>
            <p:spPr bwMode="auto">
              <a:xfrm>
                <a:off x="8506566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5" name="ïṩlíďe">
                <a:extLst>
                  <a:ext uri="{FF2B5EF4-FFF2-40B4-BE49-F238E27FC236}">
                    <a16:creationId xmlns:a16="http://schemas.microsoft.com/office/drawing/2014/main" id="{C11D8A28-9533-4BCC-A1EC-FD933E428EE5}"/>
                  </a:ext>
                </a:extLst>
              </p:cNvPr>
              <p:cNvSpPr/>
              <p:nvPr/>
            </p:nvSpPr>
            <p:spPr bwMode="auto">
              <a:xfrm>
                <a:off x="8634631" y="2188383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3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6" name="ïŝļïḍé">
                <a:extLst>
                  <a:ext uri="{FF2B5EF4-FFF2-40B4-BE49-F238E27FC236}">
                    <a16:creationId xmlns:a16="http://schemas.microsoft.com/office/drawing/2014/main" id="{DFA6D052-9FF0-4F59-8B1C-5F67F83AF945}"/>
                  </a:ext>
                </a:extLst>
              </p:cNvPr>
              <p:cNvSpPr/>
              <p:nvPr/>
            </p:nvSpPr>
            <p:spPr bwMode="auto">
              <a:xfrm>
                <a:off x="8765781" y="2188383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7" name="ïṣlíḋé">
                <a:extLst>
                  <a:ext uri="{FF2B5EF4-FFF2-40B4-BE49-F238E27FC236}">
                    <a16:creationId xmlns:a16="http://schemas.microsoft.com/office/drawing/2014/main" id="{45656296-8F5E-439D-8933-ABDC45A980BF}"/>
                  </a:ext>
                </a:extLst>
              </p:cNvPr>
              <p:cNvSpPr/>
              <p:nvPr/>
            </p:nvSpPr>
            <p:spPr bwMode="auto">
              <a:xfrm>
                <a:off x="8896932" y="2188383"/>
                <a:ext cx="123436" cy="69433"/>
              </a:xfrm>
              <a:custGeom>
                <a:avLst/>
                <a:gdLst>
                  <a:gd name="T0" fmla="*/ 31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8" name="íṩ1iḓè">
                <a:extLst>
                  <a:ext uri="{FF2B5EF4-FFF2-40B4-BE49-F238E27FC236}">
                    <a16:creationId xmlns:a16="http://schemas.microsoft.com/office/drawing/2014/main" id="{527818F5-57AA-40B2-A08C-1416826633F4}"/>
                  </a:ext>
                </a:extLst>
              </p:cNvPr>
              <p:cNvSpPr/>
              <p:nvPr/>
            </p:nvSpPr>
            <p:spPr bwMode="auto">
              <a:xfrm>
                <a:off x="9028082" y="2188383"/>
                <a:ext cx="124979" cy="69433"/>
              </a:xfrm>
              <a:custGeom>
                <a:avLst/>
                <a:gdLst>
                  <a:gd name="T0" fmla="*/ 31 w 34"/>
                  <a:gd name="T1" fmla="*/ 9 h 19"/>
                  <a:gd name="T2" fmla="*/ 12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9" name="îṧḻîdé">
                <a:extLst>
                  <a:ext uri="{FF2B5EF4-FFF2-40B4-BE49-F238E27FC236}">
                    <a16:creationId xmlns:a16="http://schemas.microsoft.com/office/drawing/2014/main" id="{BF247AC1-4B79-4C8E-93B7-581B6BC2DA23}"/>
                  </a:ext>
                </a:extLst>
              </p:cNvPr>
              <p:cNvSpPr/>
              <p:nvPr/>
            </p:nvSpPr>
            <p:spPr bwMode="auto">
              <a:xfrm>
                <a:off x="9156147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0" name="íŝḻîḋê">
                <a:extLst>
                  <a:ext uri="{FF2B5EF4-FFF2-40B4-BE49-F238E27FC236}">
                    <a16:creationId xmlns:a16="http://schemas.microsoft.com/office/drawing/2014/main" id="{CBB7B509-EBCB-426F-8FBA-BACBFC718395}"/>
                  </a:ext>
                </a:extLst>
              </p:cNvPr>
              <p:cNvSpPr/>
              <p:nvPr/>
            </p:nvSpPr>
            <p:spPr bwMode="auto">
              <a:xfrm>
                <a:off x="9287297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1" name="iš1ïde">
                <a:extLst>
                  <a:ext uri="{FF2B5EF4-FFF2-40B4-BE49-F238E27FC236}">
                    <a16:creationId xmlns:a16="http://schemas.microsoft.com/office/drawing/2014/main" id="{BDEDA97E-8F76-40C6-88FB-6BC85D491780}"/>
                  </a:ext>
                </a:extLst>
              </p:cNvPr>
              <p:cNvSpPr/>
              <p:nvPr/>
            </p:nvSpPr>
            <p:spPr bwMode="auto">
              <a:xfrm>
                <a:off x="6688975" y="2271702"/>
                <a:ext cx="114178" cy="69433"/>
              </a:xfrm>
              <a:custGeom>
                <a:avLst/>
                <a:gdLst>
                  <a:gd name="T0" fmla="*/ 31 w 31"/>
                  <a:gd name="T1" fmla="*/ 9 h 19"/>
                  <a:gd name="T2" fmla="*/ 15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2" name="íṡlîḍé">
                <a:extLst>
                  <a:ext uri="{FF2B5EF4-FFF2-40B4-BE49-F238E27FC236}">
                    <a16:creationId xmlns:a16="http://schemas.microsoft.com/office/drawing/2014/main" id="{3CF8C512-C98B-48C0-8A38-7CAD9DD073A5}"/>
                  </a:ext>
                </a:extLst>
              </p:cNvPr>
              <p:cNvSpPr/>
              <p:nvPr/>
            </p:nvSpPr>
            <p:spPr bwMode="auto">
              <a:xfrm>
                <a:off x="6824755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3" name="íṡ1ïďê">
                <a:extLst>
                  <a:ext uri="{FF2B5EF4-FFF2-40B4-BE49-F238E27FC236}">
                    <a16:creationId xmlns:a16="http://schemas.microsoft.com/office/drawing/2014/main" id="{DC180618-B1F8-40CA-906A-58846EF03EF7}"/>
                  </a:ext>
                </a:extLst>
              </p:cNvPr>
              <p:cNvSpPr/>
              <p:nvPr/>
            </p:nvSpPr>
            <p:spPr bwMode="auto">
              <a:xfrm>
                <a:off x="6955906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4" name="ïṣļïḓe">
                <a:extLst>
                  <a:ext uri="{FF2B5EF4-FFF2-40B4-BE49-F238E27FC236}">
                    <a16:creationId xmlns:a16="http://schemas.microsoft.com/office/drawing/2014/main" id="{A4FABA97-9116-42D3-8BBD-57CF1C094B73}"/>
                  </a:ext>
                </a:extLst>
              </p:cNvPr>
              <p:cNvSpPr/>
              <p:nvPr/>
            </p:nvSpPr>
            <p:spPr bwMode="auto">
              <a:xfrm>
                <a:off x="7087056" y="2271702"/>
                <a:ext cx="117264" cy="69433"/>
              </a:xfrm>
              <a:custGeom>
                <a:avLst/>
                <a:gdLst>
                  <a:gd name="T0" fmla="*/ 30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7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5" name="iśḷiḑê">
                <a:extLst>
                  <a:ext uri="{FF2B5EF4-FFF2-40B4-BE49-F238E27FC236}">
                    <a16:creationId xmlns:a16="http://schemas.microsoft.com/office/drawing/2014/main" id="{CC58162B-7209-4755-9AED-D78B66D0B74C}"/>
                  </a:ext>
                </a:extLst>
              </p:cNvPr>
              <p:cNvSpPr/>
              <p:nvPr/>
            </p:nvSpPr>
            <p:spPr bwMode="auto">
              <a:xfrm>
                <a:off x="7218207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6" name="î$ľîḋè">
                <a:extLst>
                  <a:ext uri="{FF2B5EF4-FFF2-40B4-BE49-F238E27FC236}">
                    <a16:creationId xmlns:a16="http://schemas.microsoft.com/office/drawing/2014/main" id="{28F029ED-3212-4636-83ED-BC440CC74785}"/>
                  </a:ext>
                </a:extLst>
              </p:cNvPr>
              <p:cNvSpPr/>
              <p:nvPr/>
            </p:nvSpPr>
            <p:spPr bwMode="auto">
              <a:xfrm>
                <a:off x="7349356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3" y="14"/>
                      <a:pt x="10" y="19"/>
                      <a:pt x="18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7" name="îṩľïďè">
                <a:extLst>
                  <a:ext uri="{FF2B5EF4-FFF2-40B4-BE49-F238E27FC236}">
                    <a16:creationId xmlns:a16="http://schemas.microsoft.com/office/drawing/2014/main" id="{5101881F-A11D-4EE5-8B81-43F5428B4D65}"/>
                  </a:ext>
                </a:extLst>
              </p:cNvPr>
              <p:cNvSpPr/>
              <p:nvPr/>
            </p:nvSpPr>
            <p:spPr bwMode="auto">
              <a:xfrm>
                <a:off x="7480507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8" name="işľiḍé">
                <a:extLst>
                  <a:ext uri="{FF2B5EF4-FFF2-40B4-BE49-F238E27FC236}">
                    <a16:creationId xmlns:a16="http://schemas.microsoft.com/office/drawing/2014/main" id="{5604536F-D0C2-496F-927F-74AD6DB9D5DD}"/>
                  </a:ext>
                </a:extLst>
              </p:cNvPr>
              <p:cNvSpPr/>
              <p:nvPr/>
            </p:nvSpPr>
            <p:spPr bwMode="auto">
              <a:xfrm>
                <a:off x="7616287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9" name="íṩḷïḓé">
                <a:extLst>
                  <a:ext uri="{FF2B5EF4-FFF2-40B4-BE49-F238E27FC236}">
                    <a16:creationId xmlns:a16="http://schemas.microsoft.com/office/drawing/2014/main" id="{42BAFA32-DC93-42C2-ABB3-6F2FB018D42F}"/>
                  </a:ext>
                </a:extLst>
              </p:cNvPr>
              <p:cNvSpPr/>
              <p:nvPr/>
            </p:nvSpPr>
            <p:spPr bwMode="auto">
              <a:xfrm>
                <a:off x="7747437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9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0" name="i$1ïḑê">
                <a:extLst>
                  <a:ext uri="{FF2B5EF4-FFF2-40B4-BE49-F238E27FC236}">
                    <a16:creationId xmlns:a16="http://schemas.microsoft.com/office/drawing/2014/main" id="{63FDB1FE-C9DB-4F15-958E-A7DF87D4886B}"/>
                  </a:ext>
                </a:extLst>
              </p:cNvPr>
              <p:cNvSpPr/>
              <p:nvPr/>
            </p:nvSpPr>
            <p:spPr bwMode="auto">
              <a:xfrm>
                <a:off x="7878588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1" name="íśḷîde">
                <a:extLst>
                  <a:ext uri="{FF2B5EF4-FFF2-40B4-BE49-F238E27FC236}">
                    <a16:creationId xmlns:a16="http://schemas.microsoft.com/office/drawing/2014/main" id="{8F058E33-8A9F-4EC2-9DA2-B9FD8B5868AE}"/>
                  </a:ext>
                </a:extLst>
              </p:cNvPr>
              <p:cNvSpPr/>
              <p:nvPr/>
            </p:nvSpPr>
            <p:spPr bwMode="auto">
              <a:xfrm>
                <a:off x="8009738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2" name="íŝ1îdè">
                <a:extLst>
                  <a:ext uri="{FF2B5EF4-FFF2-40B4-BE49-F238E27FC236}">
                    <a16:creationId xmlns:a16="http://schemas.microsoft.com/office/drawing/2014/main" id="{4C7B720E-4C53-4A48-AEE4-1DEC982C8596}"/>
                  </a:ext>
                </a:extLst>
              </p:cNvPr>
              <p:cNvSpPr/>
              <p:nvPr/>
            </p:nvSpPr>
            <p:spPr bwMode="auto">
              <a:xfrm>
                <a:off x="8142431" y="2271702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3" name="îşḷiḓê">
                <a:extLst>
                  <a:ext uri="{FF2B5EF4-FFF2-40B4-BE49-F238E27FC236}">
                    <a16:creationId xmlns:a16="http://schemas.microsoft.com/office/drawing/2014/main" id="{ECC4C72D-CB2E-468A-B33D-0840C3187A22}"/>
                  </a:ext>
                </a:extLst>
              </p:cNvPr>
              <p:cNvSpPr/>
              <p:nvPr/>
            </p:nvSpPr>
            <p:spPr bwMode="auto">
              <a:xfrm>
                <a:off x="8273582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4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4" name="îSḻiḑe">
                <a:extLst>
                  <a:ext uri="{FF2B5EF4-FFF2-40B4-BE49-F238E27FC236}">
                    <a16:creationId xmlns:a16="http://schemas.microsoft.com/office/drawing/2014/main" id="{FACEDF1A-A409-4D4A-BD7C-70A83904A805}"/>
                  </a:ext>
                </a:extLst>
              </p:cNvPr>
              <p:cNvSpPr/>
              <p:nvPr/>
            </p:nvSpPr>
            <p:spPr bwMode="auto">
              <a:xfrm>
                <a:off x="8407818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5" name="iṥļïḍe">
                <a:extLst>
                  <a:ext uri="{FF2B5EF4-FFF2-40B4-BE49-F238E27FC236}">
                    <a16:creationId xmlns:a16="http://schemas.microsoft.com/office/drawing/2014/main" id="{2D914457-FB59-440F-A9DC-126DEFE14DE5}"/>
                  </a:ext>
                </a:extLst>
              </p:cNvPr>
              <p:cNvSpPr/>
              <p:nvPr/>
            </p:nvSpPr>
            <p:spPr bwMode="auto">
              <a:xfrm>
                <a:off x="8538969" y="2271702"/>
                <a:ext cx="124979" cy="69433"/>
              </a:xfrm>
              <a:custGeom>
                <a:avLst/>
                <a:gdLst>
                  <a:gd name="T0" fmla="*/ 31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0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9" y="19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6" name="iŝḻîḑé">
                <a:extLst>
                  <a:ext uri="{FF2B5EF4-FFF2-40B4-BE49-F238E27FC236}">
                    <a16:creationId xmlns:a16="http://schemas.microsoft.com/office/drawing/2014/main" id="{DAE6990F-D7AF-4BFC-A187-088B6A142891}"/>
                  </a:ext>
                </a:extLst>
              </p:cNvPr>
              <p:cNvSpPr/>
              <p:nvPr/>
            </p:nvSpPr>
            <p:spPr bwMode="auto">
              <a:xfrm>
                <a:off x="8670119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7" name="îṣḻíďé">
                <a:extLst>
                  <a:ext uri="{FF2B5EF4-FFF2-40B4-BE49-F238E27FC236}">
                    <a16:creationId xmlns:a16="http://schemas.microsoft.com/office/drawing/2014/main" id="{CF0A9B6F-EB40-4887-A1A8-6ECA717E9F38}"/>
                  </a:ext>
                </a:extLst>
              </p:cNvPr>
              <p:cNvSpPr/>
              <p:nvPr/>
            </p:nvSpPr>
            <p:spPr bwMode="auto">
              <a:xfrm>
                <a:off x="8802812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30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8" name="íṧlíḍé">
                <a:extLst>
                  <a:ext uri="{FF2B5EF4-FFF2-40B4-BE49-F238E27FC236}">
                    <a16:creationId xmlns:a16="http://schemas.microsoft.com/office/drawing/2014/main" id="{70753879-8A69-4903-9832-DBABC3EF2040}"/>
                  </a:ext>
                </a:extLst>
              </p:cNvPr>
              <p:cNvSpPr/>
              <p:nvPr/>
            </p:nvSpPr>
            <p:spPr bwMode="auto">
              <a:xfrm>
                <a:off x="8933963" y="2271702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9" name="ïšļiḋé">
                <a:extLst>
                  <a:ext uri="{FF2B5EF4-FFF2-40B4-BE49-F238E27FC236}">
                    <a16:creationId xmlns:a16="http://schemas.microsoft.com/office/drawing/2014/main" id="{FC1FA291-0735-4D74-B7A1-E9F51963774C}"/>
                  </a:ext>
                </a:extLst>
              </p:cNvPr>
              <p:cNvSpPr/>
              <p:nvPr/>
            </p:nvSpPr>
            <p:spPr bwMode="auto">
              <a:xfrm>
                <a:off x="9065113" y="2271702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1" y="19"/>
                      <a:pt x="35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0" name="ïśḷîḑè">
                <a:extLst>
                  <a:ext uri="{FF2B5EF4-FFF2-40B4-BE49-F238E27FC236}">
                    <a16:creationId xmlns:a16="http://schemas.microsoft.com/office/drawing/2014/main" id="{7B818172-61F0-4356-B67D-FA17ED4EFCBC}"/>
                  </a:ext>
                </a:extLst>
              </p:cNvPr>
              <p:cNvSpPr/>
              <p:nvPr/>
            </p:nvSpPr>
            <p:spPr bwMode="auto">
              <a:xfrm>
                <a:off x="9199350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12 w 34"/>
                  <a:gd name="T3" fmla="*/ 0 h 19"/>
                  <a:gd name="T4" fmla="*/ 2 w 34"/>
                  <a:gd name="T5" fmla="*/ 9 h 19"/>
                  <a:gd name="T6" fmla="*/ 22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1" name="îṡliḑè">
                <a:extLst>
                  <a:ext uri="{FF2B5EF4-FFF2-40B4-BE49-F238E27FC236}">
                    <a16:creationId xmlns:a16="http://schemas.microsoft.com/office/drawing/2014/main" id="{E83CF037-7709-4DB3-96CB-73C913CC7B8C}"/>
                  </a:ext>
                </a:extLst>
              </p:cNvPr>
              <p:cNvSpPr/>
              <p:nvPr/>
            </p:nvSpPr>
            <p:spPr bwMode="auto">
              <a:xfrm>
                <a:off x="9330500" y="2271702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2" name="îşľiḑe">
                <a:extLst>
                  <a:ext uri="{FF2B5EF4-FFF2-40B4-BE49-F238E27FC236}">
                    <a16:creationId xmlns:a16="http://schemas.microsoft.com/office/drawing/2014/main" id="{79D51E9C-B2D6-4008-AFEE-F3D27A3C87BB}"/>
                  </a:ext>
                </a:extLst>
              </p:cNvPr>
              <p:cNvSpPr/>
              <p:nvPr/>
            </p:nvSpPr>
            <p:spPr bwMode="auto">
              <a:xfrm>
                <a:off x="9375246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5"/>
                      <a:pt x="14" y="19"/>
                      <a:pt x="23" y="19"/>
                    </a:cubicBezTo>
                    <a:cubicBezTo>
                      <a:pt x="31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3" name="ïś1íḑê">
                <a:extLst>
                  <a:ext uri="{FF2B5EF4-FFF2-40B4-BE49-F238E27FC236}">
                    <a16:creationId xmlns:a16="http://schemas.microsoft.com/office/drawing/2014/main" id="{D29D5669-0CBC-42FA-8070-55D8AB2D1FE6}"/>
                  </a:ext>
                </a:extLst>
              </p:cNvPr>
              <p:cNvSpPr/>
              <p:nvPr/>
            </p:nvSpPr>
            <p:spPr bwMode="auto">
              <a:xfrm>
                <a:off x="6969792" y="2356565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5"/>
                      <a:pt x="9" y="19"/>
                      <a:pt x="17" y="19"/>
                    </a:cubicBezTo>
                    <a:cubicBezTo>
                      <a:pt x="25" y="19"/>
                      <a:pt x="31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4" name="ïṧlïdé">
                <a:extLst>
                  <a:ext uri="{FF2B5EF4-FFF2-40B4-BE49-F238E27FC236}">
                    <a16:creationId xmlns:a16="http://schemas.microsoft.com/office/drawing/2014/main" id="{E9A00029-9C76-48FE-AAF2-7CBBA998275C}"/>
                  </a:ext>
                </a:extLst>
              </p:cNvPr>
              <p:cNvSpPr/>
              <p:nvPr/>
            </p:nvSpPr>
            <p:spPr bwMode="auto">
              <a:xfrm>
                <a:off x="7102485" y="2356565"/>
                <a:ext cx="115721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5"/>
                      <a:pt x="10" y="19"/>
                      <a:pt x="18" y="19"/>
                    </a:cubicBezTo>
                    <a:cubicBezTo>
                      <a:pt x="26" y="19"/>
                      <a:pt x="32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5" name="íSľíḓè">
                <a:extLst>
                  <a:ext uri="{FF2B5EF4-FFF2-40B4-BE49-F238E27FC236}">
                    <a16:creationId xmlns:a16="http://schemas.microsoft.com/office/drawing/2014/main" id="{534C2D0D-9855-4D93-B5DB-23F8E54DBC49}"/>
                  </a:ext>
                </a:extLst>
              </p:cNvPr>
              <p:cNvSpPr/>
              <p:nvPr/>
            </p:nvSpPr>
            <p:spPr bwMode="auto">
              <a:xfrm>
                <a:off x="7236722" y="2356565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5"/>
                      <a:pt x="10" y="19"/>
                      <a:pt x="18" y="19"/>
                    </a:cubicBezTo>
                    <a:cubicBezTo>
                      <a:pt x="26" y="19"/>
                      <a:pt x="32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6" name="ïş1íḓé">
                <a:extLst>
                  <a:ext uri="{FF2B5EF4-FFF2-40B4-BE49-F238E27FC236}">
                    <a16:creationId xmlns:a16="http://schemas.microsoft.com/office/drawing/2014/main" id="{0C28C991-07B6-462A-B0FE-7A015E26649C}"/>
                  </a:ext>
                </a:extLst>
              </p:cNvPr>
              <p:cNvSpPr/>
              <p:nvPr/>
            </p:nvSpPr>
            <p:spPr bwMode="auto">
              <a:xfrm>
                <a:off x="7367872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19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5"/>
                      <a:pt x="11" y="19"/>
                      <a:pt x="19" y="19"/>
                    </a:cubicBezTo>
                    <a:cubicBezTo>
                      <a:pt x="27" y="19"/>
                      <a:pt x="33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7" name="íṡlïḓè">
                <a:extLst>
                  <a:ext uri="{FF2B5EF4-FFF2-40B4-BE49-F238E27FC236}">
                    <a16:creationId xmlns:a16="http://schemas.microsoft.com/office/drawing/2014/main" id="{A14512F6-770D-448C-B2FF-7D594F37C203}"/>
                  </a:ext>
                </a:extLst>
              </p:cNvPr>
              <p:cNvSpPr/>
              <p:nvPr/>
            </p:nvSpPr>
            <p:spPr bwMode="auto">
              <a:xfrm>
                <a:off x="7503651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3" y="15"/>
                      <a:pt x="10" y="19"/>
                      <a:pt x="19" y="19"/>
                    </a:cubicBezTo>
                    <a:cubicBezTo>
                      <a:pt x="27" y="19"/>
                      <a:pt x="33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8" name="íṣlíḋê">
                <a:extLst>
                  <a:ext uri="{FF2B5EF4-FFF2-40B4-BE49-F238E27FC236}">
                    <a16:creationId xmlns:a16="http://schemas.microsoft.com/office/drawing/2014/main" id="{C6F0F0E4-0002-470B-9D21-A87B12EC7291}"/>
                  </a:ext>
                </a:extLst>
              </p:cNvPr>
              <p:cNvSpPr/>
              <p:nvPr/>
            </p:nvSpPr>
            <p:spPr bwMode="auto">
              <a:xfrm>
                <a:off x="7637888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5"/>
                      <a:pt x="10" y="19"/>
                      <a:pt x="19" y="19"/>
                    </a:cubicBezTo>
                    <a:cubicBezTo>
                      <a:pt x="27" y="19"/>
                      <a:pt x="33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9" name="íṣḷïďê">
                <a:extLst>
                  <a:ext uri="{FF2B5EF4-FFF2-40B4-BE49-F238E27FC236}">
                    <a16:creationId xmlns:a16="http://schemas.microsoft.com/office/drawing/2014/main" id="{50D63A9C-8131-4F2F-8C5C-44332EF7C7CA}"/>
                  </a:ext>
                </a:extLst>
              </p:cNvPr>
              <p:cNvSpPr/>
              <p:nvPr/>
            </p:nvSpPr>
            <p:spPr bwMode="auto">
              <a:xfrm>
                <a:off x="7769038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5"/>
                      <a:pt x="11" y="19"/>
                      <a:pt x="20" y="19"/>
                    </a:cubicBezTo>
                    <a:cubicBezTo>
                      <a:pt x="28" y="19"/>
                      <a:pt x="33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0" name="íṧlïḑé">
                <a:extLst>
                  <a:ext uri="{FF2B5EF4-FFF2-40B4-BE49-F238E27FC236}">
                    <a16:creationId xmlns:a16="http://schemas.microsoft.com/office/drawing/2014/main" id="{CF731022-4ABA-4072-8E21-700728B7CE58}"/>
                  </a:ext>
                </a:extLst>
              </p:cNvPr>
              <p:cNvSpPr/>
              <p:nvPr/>
            </p:nvSpPr>
            <p:spPr bwMode="auto">
              <a:xfrm>
                <a:off x="7904817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5"/>
                      <a:pt x="11" y="19"/>
                      <a:pt x="20" y="19"/>
                    </a:cubicBezTo>
                    <a:cubicBezTo>
                      <a:pt x="28" y="19"/>
                      <a:pt x="33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1" name="i$liḍé">
                <a:extLst>
                  <a:ext uri="{FF2B5EF4-FFF2-40B4-BE49-F238E27FC236}">
                    <a16:creationId xmlns:a16="http://schemas.microsoft.com/office/drawing/2014/main" id="{CDBF82BD-5052-480F-BFAE-E595F0A19536}"/>
                  </a:ext>
                </a:extLst>
              </p:cNvPr>
              <p:cNvSpPr/>
              <p:nvPr/>
            </p:nvSpPr>
            <p:spPr bwMode="auto">
              <a:xfrm>
                <a:off x="8039054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5"/>
                      <a:pt x="11" y="19"/>
                      <a:pt x="19" y="19"/>
                    </a:cubicBezTo>
                    <a:cubicBezTo>
                      <a:pt x="28" y="19"/>
                      <a:pt x="33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2" name="iṩļîďe">
                <a:extLst>
                  <a:ext uri="{FF2B5EF4-FFF2-40B4-BE49-F238E27FC236}">
                    <a16:creationId xmlns:a16="http://schemas.microsoft.com/office/drawing/2014/main" id="{432A3311-CC0E-4D0A-A887-82700295969B}"/>
                  </a:ext>
                </a:extLst>
              </p:cNvPr>
              <p:cNvSpPr/>
              <p:nvPr/>
            </p:nvSpPr>
            <p:spPr bwMode="auto">
              <a:xfrm>
                <a:off x="8170204" y="2356565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14 w 34"/>
                  <a:gd name="T3" fmla="*/ 0 h 19"/>
                  <a:gd name="T4" fmla="*/ 2 w 34"/>
                  <a:gd name="T5" fmla="*/ 9 h 19"/>
                  <a:gd name="T6" fmla="*/ 20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2" y="19"/>
                      <a:pt x="20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3" name="îş1ïḑè">
                <a:extLst>
                  <a:ext uri="{FF2B5EF4-FFF2-40B4-BE49-F238E27FC236}">
                    <a16:creationId xmlns:a16="http://schemas.microsoft.com/office/drawing/2014/main" id="{FF752694-8931-4028-B9BA-A1AF6AD3DA45}"/>
                  </a:ext>
                </a:extLst>
              </p:cNvPr>
              <p:cNvSpPr/>
              <p:nvPr/>
            </p:nvSpPr>
            <p:spPr bwMode="auto">
              <a:xfrm>
                <a:off x="8305983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0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2" y="19"/>
                      <a:pt x="20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4" name="íSḷíďe">
                <a:extLst>
                  <a:ext uri="{FF2B5EF4-FFF2-40B4-BE49-F238E27FC236}">
                    <a16:creationId xmlns:a16="http://schemas.microsoft.com/office/drawing/2014/main" id="{E6A0A4B2-73D6-4BF3-813E-0295A761EE77}"/>
                  </a:ext>
                </a:extLst>
              </p:cNvPr>
              <p:cNvSpPr/>
              <p:nvPr/>
            </p:nvSpPr>
            <p:spPr bwMode="auto">
              <a:xfrm>
                <a:off x="8437134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4 w 35"/>
                  <a:gd name="T3" fmla="*/ 0 h 19"/>
                  <a:gd name="T4" fmla="*/ 2 w 35"/>
                  <a:gd name="T5" fmla="*/ 9 h 19"/>
                  <a:gd name="T6" fmla="*/ 21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3" y="19"/>
                      <a:pt x="21" y="19"/>
                    </a:cubicBezTo>
                    <a:cubicBezTo>
                      <a:pt x="30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5" name="îš1ídê">
                <a:extLst>
                  <a:ext uri="{FF2B5EF4-FFF2-40B4-BE49-F238E27FC236}">
                    <a16:creationId xmlns:a16="http://schemas.microsoft.com/office/drawing/2014/main" id="{3E81F677-DE3C-4EB8-94F8-8C3D6E978636}"/>
                  </a:ext>
                </a:extLst>
              </p:cNvPr>
              <p:cNvSpPr/>
              <p:nvPr/>
            </p:nvSpPr>
            <p:spPr bwMode="auto">
              <a:xfrm>
                <a:off x="8572914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3" y="19"/>
                      <a:pt x="21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6" name="iṥḷîḓè">
                <a:extLst>
                  <a:ext uri="{FF2B5EF4-FFF2-40B4-BE49-F238E27FC236}">
                    <a16:creationId xmlns:a16="http://schemas.microsoft.com/office/drawing/2014/main" id="{99BA87D9-CE75-46B9-ADCF-E2536B569C50}"/>
                  </a:ext>
                </a:extLst>
              </p:cNvPr>
              <p:cNvSpPr/>
              <p:nvPr/>
            </p:nvSpPr>
            <p:spPr bwMode="auto">
              <a:xfrm>
                <a:off x="8707149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3" y="19"/>
                      <a:pt x="21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7" name="iślîḍê">
                <a:extLst>
                  <a:ext uri="{FF2B5EF4-FFF2-40B4-BE49-F238E27FC236}">
                    <a16:creationId xmlns:a16="http://schemas.microsoft.com/office/drawing/2014/main" id="{A081731F-6E49-477D-B9B1-6587CE76514A}"/>
                  </a:ext>
                </a:extLst>
              </p:cNvPr>
              <p:cNvSpPr/>
              <p:nvPr/>
            </p:nvSpPr>
            <p:spPr bwMode="auto">
              <a:xfrm>
                <a:off x="8838300" y="2356565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5"/>
                      <a:pt x="14" y="19"/>
                      <a:pt x="22" y="19"/>
                    </a:cubicBezTo>
                    <a:cubicBezTo>
                      <a:pt x="30" y="19"/>
                      <a:pt x="35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8" name="íšḷîḍê">
                <a:extLst>
                  <a:ext uri="{FF2B5EF4-FFF2-40B4-BE49-F238E27FC236}">
                    <a16:creationId xmlns:a16="http://schemas.microsoft.com/office/drawing/2014/main" id="{567E268E-2E29-4304-A0BC-73651F598698}"/>
                  </a:ext>
                </a:extLst>
              </p:cNvPr>
              <p:cNvSpPr/>
              <p:nvPr/>
            </p:nvSpPr>
            <p:spPr bwMode="auto">
              <a:xfrm>
                <a:off x="8974080" y="2356565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13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5"/>
                      <a:pt x="14" y="19"/>
                      <a:pt x="22" y="19"/>
                    </a:cubicBezTo>
                    <a:cubicBezTo>
                      <a:pt x="30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9" name="îṥlïḍé">
                <a:extLst>
                  <a:ext uri="{FF2B5EF4-FFF2-40B4-BE49-F238E27FC236}">
                    <a16:creationId xmlns:a16="http://schemas.microsoft.com/office/drawing/2014/main" id="{6E965E67-79B3-4550-A347-8CA67FA6257E}"/>
                  </a:ext>
                </a:extLst>
              </p:cNvPr>
              <p:cNvSpPr/>
              <p:nvPr/>
            </p:nvSpPr>
            <p:spPr bwMode="auto">
              <a:xfrm>
                <a:off x="9108316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5"/>
                      <a:pt x="13" y="19"/>
                      <a:pt x="22" y="19"/>
                    </a:cubicBezTo>
                    <a:cubicBezTo>
                      <a:pt x="30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0" name="ïṣľiḍé">
                <a:extLst>
                  <a:ext uri="{FF2B5EF4-FFF2-40B4-BE49-F238E27FC236}">
                    <a16:creationId xmlns:a16="http://schemas.microsoft.com/office/drawing/2014/main" id="{12E7194F-61BF-4C49-A136-87CDA38934FD}"/>
                  </a:ext>
                </a:extLst>
              </p:cNvPr>
              <p:cNvSpPr/>
              <p:nvPr/>
            </p:nvSpPr>
            <p:spPr bwMode="auto">
              <a:xfrm>
                <a:off x="9239466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13 w 36"/>
                  <a:gd name="T3" fmla="*/ 0 h 19"/>
                  <a:gd name="T4" fmla="*/ 3 w 36"/>
                  <a:gd name="T5" fmla="*/ 9 h 19"/>
                  <a:gd name="T6" fmla="*/ 2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5"/>
                      <a:pt x="14" y="19"/>
                      <a:pt x="23" y="19"/>
                    </a:cubicBezTo>
                    <a:cubicBezTo>
                      <a:pt x="31" y="19"/>
                      <a:pt x="36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1" name="îṧľîḍè">
                <a:extLst>
                  <a:ext uri="{FF2B5EF4-FFF2-40B4-BE49-F238E27FC236}">
                    <a16:creationId xmlns:a16="http://schemas.microsoft.com/office/drawing/2014/main" id="{631E037F-3DAB-489C-B3C8-AC3DF401743D}"/>
                  </a:ext>
                </a:extLst>
              </p:cNvPr>
              <p:cNvSpPr/>
              <p:nvPr/>
            </p:nvSpPr>
            <p:spPr bwMode="auto">
              <a:xfrm>
                <a:off x="6985221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4 w 32"/>
                  <a:gd name="T3" fmla="*/ 0 h 20"/>
                  <a:gd name="T4" fmla="*/ 0 w 32"/>
                  <a:gd name="T5" fmla="*/ 10 h 20"/>
                  <a:gd name="T6" fmla="*/ 17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0" y="10"/>
                    </a:cubicBezTo>
                    <a:cubicBezTo>
                      <a:pt x="1" y="16"/>
                      <a:pt x="9" y="20"/>
                      <a:pt x="17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2" name="îṧ1îḓe">
                <a:extLst>
                  <a:ext uri="{FF2B5EF4-FFF2-40B4-BE49-F238E27FC236}">
                    <a16:creationId xmlns:a16="http://schemas.microsoft.com/office/drawing/2014/main" id="{562BF072-14C2-459D-B338-52A2A5FABD4C}"/>
                  </a:ext>
                </a:extLst>
              </p:cNvPr>
              <p:cNvSpPr/>
              <p:nvPr/>
            </p:nvSpPr>
            <p:spPr bwMode="auto">
              <a:xfrm>
                <a:off x="7119458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4 w 32"/>
                  <a:gd name="T3" fmla="*/ 0 h 20"/>
                  <a:gd name="T4" fmla="*/ 1 w 32"/>
                  <a:gd name="T5" fmla="*/ 10 h 20"/>
                  <a:gd name="T6" fmla="*/ 18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2" y="16"/>
                      <a:pt x="9" y="20"/>
                      <a:pt x="18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3" name="íṧļïde">
                <a:extLst>
                  <a:ext uri="{FF2B5EF4-FFF2-40B4-BE49-F238E27FC236}">
                    <a16:creationId xmlns:a16="http://schemas.microsoft.com/office/drawing/2014/main" id="{79B140E5-AB57-4970-9C87-DEDEDAF87E61}"/>
                  </a:ext>
                </a:extLst>
              </p:cNvPr>
              <p:cNvSpPr/>
              <p:nvPr/>
            </p:nvSpPr>
            <p:spPr bwMode="auto">
              <a:xfrm>
                <a:off x="7255237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4 w 32"/>
                  <a:gd name="T3" fmla="*/ 0 h 20"/>
                  <a:gd name="T4" fmla="*/ 1 w 32"/>
                  <a:gd name="T5" fmla="*/ 10 h 20"/>
                  <a:gd name="T6" fmla="*/ 18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2" y="16"/>
                      <a:pt x="10" y="20"/>
                      <a:pt x="18" y="20"/>
                    </a:cubicBezTo>
                    <a:cubicBezTo>
                      <a:pt x="27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4" name="íSľiḑé">
                <a:extLst>
                  <a:ext uri="{FF2B5EF4-FFF2-40B4-BE49-F238E27FC236}">
                    <a16:creationId xmlns:a16="http://schemas.microsoft.com/office/drawing/2014/main" id="{53B8CE64-4ABB-45A0-AB4E-112C5C65BD8F}"/>
                  </a:ext>
                </a:extLst>
              </p:cNvPr>
              <p:cNvSpPr/>
              <p:nvPr/>
            </p:nvSpPr>
            <p:spPr bwMode="auto">
              <a:xfrm>
                <a:off x="7389473" y="2439884"/>
                <a:ext cx="120350" cy="74061"/>
              </a:xfrm>
              <a:custGeom>
                <a:avLst/>
                <a:gdLst>
                  <a:gd name="T0" fmla="*/ 31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1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2" y="16"/>
                      <a:pt x="10" y="20"/>
                      <a:pt x="19" y="20"/>
                    </a:cubicBezTo>
                    <a:cubicBezTo>
                      <a:pt x="27" y="20"/>
                      <a:pt x="33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5" name="îṡ1iďe">
                <a:extLst>
                  <a:ext uri="{FF2B5EF4-FFF2-40B4-BE49-F238E27FC236}">
                    <a16:creationId xmlns:a16="http://schemas.microsoft.com/office/drawing/2014/main" id="{380ECE70-0239-40B9-B653-DFEAA0DAE3B1}"/>
                  </a:ext>
                </a:extLst>
              </p:cNvPr>
              <p:cNvSpPr/>
              <p:nvPr/>
            </p:nvSpPr>
            <p:spPr bwMode="auto">
              <a:xfrm>
                <a:off x="7525252" y="2439884"/>
                <a:ext cx="120350" cy="74061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3" y="16"/>
                      <a:pt x="10" y="20"/>
                      <a:pt x="19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6" name="išḷîďé">
                <a:extLst>
                  <a:ext uri="{FF2B5EF4-FFF2-40B4-BE49-F238E27FC236}">
                    <a16:creationId xmlns:a16="http://schemas.microsoft.com/office/drawing/2014/main" id="{F00A3161-9E2E-4D65-A9D8-930DE79EE2D2}"/>
                  </a:ext>
                </a:extLst>
              </p:cNvPr>
              <p:cNvSpPr/>
              <p:nvPr/>
            </p:nvSpPr>
            <p:spPr bwMode="auto">
              <a:xfrm>
                <a:off x="7659489" y="2439884"/>
                <a:ext cx="120350" cy="74061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3" y="16"/>
                      <a:pt x="11" y="20"/>
                      <a:pt x="19" y="20"/>
                    </a:cubicBezTo>
                    <a:cubicBezTo>
                      <a:pt x="28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7" name="íŝľídé">
                <a:extLst>
                  <a:ext uri="{FF2B5EF4-FFF2-40B4-BE49-F238E27FC236}">
                    <a16:creationId xmlns:a16="http://schemas.microsoft.com/office/drawing/2014/main" id="{1F31104E-9AF5-43FB-8E97-79C9A75BE63B}"/>
                  </a:ext>
                </a:extLst>
              </p:cNvPr>
              <p:cNvSpPr/>
              <p:nvPr/>
            </p:nvSpPr>
            <p:spPr bwMode="auto">
              <a:xfrm>
                <a:off x="7795269" y="2439884"/>
                <a:ext cx="123436" cy="74061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3" y="16"/>
                      <a:pt x="11" y="20"/>
                      <a:pt x="20" y="20"/>
                    </a:cubicBezTo>
                    <a:cubicBezTo>
                      <a:pt x="28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8" name="ïSḷiḑé">
                <a:extLst>
                  <a:ext uri="{FF2B5EF4-FFF2-40B4-BE49-F238E27FC236}">
                    <a16:creationId xmlns:a16="http://schemas.microsoft.com/office/drawing/2014/main" id="{A262BE39-823B-4302-83E6-7690A016D599}"/>
                  </a:ext>
                </a:extLst>
              </p:cNvPr>
              <p:cNvSpPr/>
              <p:nvPr/>
            </p:nvSpPr>
            <p:spPr bwMode="auto">
              <a:xfrm>
                <a:off x="7929504" y="2439884"/>
                <a:ext cx="124979" cy="74061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3" y="16"/>
                      <a:pt x="12" y="20"/>
                      <a:pt x="20" y="20"/>
                    </a:cubicBezTo>
                    <a:cubicBezTo>
                      <a:pt x="28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9" name="işļíďè">
                <a:extLst>
                  <a:ext uri="{FF2B5EF4-FFF2-40B4-BE49-F238E27FC236}">
                    <a16:creationId xmlns:a16="http://schemas.microsoft.com/office/drawing/2014/main" id="{F523188C-B047-4607-9EB4-B0AF1D7FCFBC}"/>
                  </a:ext>
                </a:extLst>
              </p:cNvPr>
              <p:cNvSpPr/>
              <p:nvPr/>
            </p:nvSpPr>
            <p:spPr bwMode="auto">
              <a:xfrm>
                <a:off x="8065284" y="2439884"/>
                <a:ext cx="123436" cy="74061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4" y="16"/>
                      <a:pt x="12" y="20"/>
                      <a:pt x="20" y="20"/>
                    </a:cubicBezTo>
                    <a:cubicBezTo>
                      <a:pt x="29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0" name="iṥlîde">
                <a:extLst>
                  <a:ext uri="{FF2B5EF4-FFF2-40B4-BE49-F238E27FC236}">
                    <a16:creationId xmlns:a16="http://schemas.microsoft.com/office/drawing/2014/main" id="{B078247B-601C-40D6-B0F5-2541CD5922A1}"/>
                  </a:ext>
                </a:extLst>
              </p:cNvPr>
              <p:cNvSpPr/>
              <p:nvPr/>
            </p:nvSpPr>
            <p:spPr bwMode="auto">
              <a:xfrm>
                <a:off x="8199520" y="2439884"/>
                <a:ext cx="124979" cy="74061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1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4" y="16"/>
                      <a:pt x="12" y="20"/>
                      <a:pt x="21" y="20"/>
                    </a:cubicBezTo>
                    <a:cubicBezTo>
                      <a:pt x="29" y="20"/>
                      <a:pt x="34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1" name="iṩḻïḑê">
                <a:extLst>
                  <a:ext uri="{FF2B5EF4-FFF2-40B4-BE49-F238E27FC236}">
                    <a16:creationId xmlns:a16="http://schemas.microsoft.com/office/drawing/2014/main" id="{37EE3095-D7E2-489C-883A-6283880E8949}"/>
                  </a:ext>
                </a:extLst>
              </p:cNvPr>
              <p:cNvSpPr/>
              <p:nvPr/>
            </p:nvSpPr>
            <p:spPr bwMode="auto">
              <a:xfrm>
                <a:off x="8335300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2" name="íṣḻïḍè">
                <a:extLst>
                  <a:ext uri="{FF2B5EF4-FFF2-40B4-BE49-F238E27FC236}">
                    <a16:creationId xmlns:a16="http://schemas.microsoft.com/office/drawing/2014/main" id="{5045ADAD-B303-490B-AAD2-4120D0A9D271}"/>
                  </a:ext>
                </a:extLst>
              </p:cNvPr>
              <p:cNvSpPr/>
              <p:nvPr/>
            </p:nvSpPr>
            <p:spPr bwMode="auto">
              <a:xfrm>
                <a:off x="8469536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3 w 35"/>
                  <a:gd name="T5" fmla="*/ 10 h 20"/>
                  <a:gd name="T6" fmla="*/ 22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3" y="10"/>
                    </a:cubicBezTo>
                    <a:cubicBezTo>
                      <a:pt x="5" y="16"/>
                      <a:pt x="13" y="20"/>
                      <a:pt x="22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3" name="îş1ïḋé">
                <a:extLst>
                  <a:ext uri="{FF2B5EF4-FFF2-40B4-BE49-F238E27FC236}">
                    <a16:creationId xmlns:a16="http://schemas.microsoft.com/office/drawing/2014/main" id="{09669091-3CF6-4936-BD3B-814594D46811}"/>
                  </a:ext>
                </a:extLst>
              </p:cNvPr>
              <p:cNvSpPr/>
              <p:nvPr/>
            </p:nvSpPr>
            <p:spPr bwMode="auto">
              <a:xfrm>
                <a:off x="8608401" y="2439884"/>
                <a:ext cx="124979" cy="74061"/>
              </a:xfrm>
              <a:custGeom>
                <a:avLst/>
                <a:gdLst>
                  <a:gd name="T0" fmla="*/ 32 w 34"/>
                  <a:gd name="T1" fmla="*/ 10 h 20"/>
                  <a:gd name="T2" fmla="*/ 13 w 34"/>
                  <a:gd name="T3" fmla="*/ 0 h 20"/>
                  <a:gd name="T4" fmla="*/ 2 w 34"/>
                  <a:gd name="T5" fmla="*/ 10 h 20"/>
                  <a:gd name="T6" fmla="*/ 21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29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4" name="ïṣḷíde">
                <a:extLst>
                  <a:ext uri="{FF2B5EF4-FFF2-40B4-BE49-F238E27FC236}">
                    <a16:creationId xmlns:a16="http://schemas.microsoft.com/office/drawing/2014/main" id="{95FD11F1-B250-4D98-BB20-49B26D4F2F18}"/>
                  </a:ext>
                </a:extLst>
              </p:cNvPr>
              <p:cNvSpPr/>
              <p:nvPr/>
            </p:nvSpPr>
            <p:spPr bwMode="auto">
              <a:xfrm>
                <a:off x="8744180" y="2439884"/>
                <a:ext cx="126522" cy="74061"/>
              </a:xfrm>
              <a:custGeom>
                <a:avLst/>
                <a:gdLst>
                  <a:gd name="T0" fmla="*/ 32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2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2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30" y="20"/>
                      <a:pt x="35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5" name="îṧḻíḑè">
                <a:extLst>
                  <a:ext uri="{FF2B5EF4-FFF2-40B4-BE49-F238E27FC236}">
                    <a16:creationId xmlns:a16="http://schemas.microsoft.com/office/drawing/2014/main" id="{E4BA5A3D-A6A9-47C5-AA0A-552E35D56C92}"/>
                  </a:ext>
                </a:extLst>
              </p:cNvPr>
              <p:cNvSpPr/>
              <p:nvPr/>
            </p:nvSpPr>
            <p:spPr bwMode="auto">
              <a:xfrm>
                <a:off x="8878417" y="2439884"/>
                <a:ext cx="128065" cy="74061"/>
              </a:xfrm>
              <a:custGeom>
                <a:avLst/>
                <a:gdLst>
                  <a:gd name="T0" fmla="*/ 32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2 w 35"/>
                  <a:gd name="T7" fmla="*/ 20 h 20"/>
                  <a:gd name="T8" fmla="*/ 32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2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5" y="16"/>
                      <a:pt x="13" y="20"/>
                      <a:pt x="22" y="20"/>
                    </a:cubicBezTo>
                    <a:cubicBezTo>
                      <a:pt x="30" y="20"/>
                      <a:pt x="35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6" name="íŝḷídé">
                <a:extLst>
                  <a:ext uri="{FF2B5EF4-FFF2-40B4-BE49-F238E27FC236}">
                    <a16:creationId xmlns:a16="http://schemas.microsoft.com/office/drawing/2014/main" id="{C50DBAEB-AE56-41CC-84A8-A348CA5D9D5F}"/>
                  </a:ext>
                </a:extLst>
              </p:cNvPr>
              <p:cNvSpPr/>
              <p:nvPr/>
            </p:nvSpPr>
            <p:spPr bwMode="auto">
              <a:xfrm>
                <a:off x="9014196" y="2439884"/>
                <a:ext cx="126522" cy="74061"/>
              </a:xfrm>
              <a:custGeom>
                <a:avLst/>
                <a:gdLst>
                  <a:gd name="T0" fmla="*/ 33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2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5" y="16"/>
                      <a:pt x="14" y="20"/>
                      <a:pt x="22" y="20"/>
                    </a:cubicBezTo>
                    <a:cubicBezTo>
                      <a:pt x="31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7" name="ïšľïḑê">
                <a:extLst>
                  <a:ext uri="{FF2B5EF4-FFF2-40B4-BE49-F238E27FC236}">
                    <a16:creationId xmlns:a16="http://schemas.microsoft.com/office/drawing/2014/main" id="{2109F873-54E9-4E94-A4B5-B21380ECFBEA}"/>
                  </a:ext>
                </a:extLst>
              </p:cNvPr>
              <p:cNvSpPr/>
              <p:nvPr/>
            </p:nvSpPr>
            <p:spPr bwMode="auto">
              <a:xfrm>
                <a:off x="9148432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1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8" name="ïSļiḓê">
                <a:extLst>
                  <a:ext uri="{FF2B5EF4-FFF2-40B4-BE49-F238E27FC236}">
                    <a16:creationId xmlns:a16="http://schemas.microsoft.com/office/drawing/2014/main" id="{1202131A-8CC2-444A-B74F-0E2A5FD824F0}"/>
                  </a:ext>
                </a:extLst>
              </p:cNvPr>
              <p:cNvSpPr/>
              <p:nvPr/>
            </p:nvSpPr>
            <p:spPr bwMode="auto">
              <a:xfrm>
                <a:off x="9284211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1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9" name="íślîďè">
                <a:extLst>
                  <a:ext uri="{FF2B5EF4-FFF2-40B4-BE49-F238E27FC236}">
                    <a16:creationId xmlns:a16="http://schemas.microsoft.com/office/drawing/2014/main" id="{D998637D-1CD2-4F22-BA0F-D9B062C8D3BC}"/>
                  </a:ext>
                </a:extLst>
              </p:cNvPr>
              <p:cNvSpPr/>
              <p:nvPr/>
            </p:nvSpPr>
            <p:spPr bwMode="auto">
              <a:xfrm>
                <a:off x="8779668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2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5" y="15"/>
                      <a:pt x="13" y="20"/>
                      <a:pt x="22" y="20"/>
                    </a:cubicBezTo>
                    <a:cubicBezTo>
                      <a:pt x="31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0" name="iṧľïḋê">
                <a:extLst>
                  <a:ext uri="{FF2B5EF4-FFF2-40B4-BE49-F238E27FC236}">
                    <a16:creationId xmlns:a16="http://schemas.microsoft.com/office/drawing/2014/main" id="{029EA40B-DB62-421F-A318-2EA33FBFD72A}"/>
                  </a:ext>
                </a:extLst>
              </p:cNvPr>
              <p:cNvSpPr/>
              <p:nvPr/>
            </p:nvSpPr>
            <p:spPr bwMode="auto">
              <a:xfrm>
                <a:off x="8915448" y="2532461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5"/>
                      <a:pt x="14" y="20"/>
                      <a:pt x="23" y="20"/>
                    </a:cubicBezTo>
                    <a:cubicBezTo>
                      <a:pt x="31" y="20"/>
                      <a:pt x="36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1" name="ïs1îḑé">
                <a:extLst>
                  <a:ext uri="{FF2B5EF4-FFF2-40B4-BE49-F238E27FC236}">
                    <a16:creationId xmlns:a16="http://schemas.microsoft.com/office/drawing/2014/main" id="{08692469-CEA6-49B1-89D3-84322342E4EB}"/>
                  </a:ext>
                </a:extLst>
              </p:cNvPr>
              <p:cNvSpPr/>
              <p:nvPr/>
            </p:nvSpPr>
            <p:spPr bwMode="auto">
              <a:xfrm>
                <a:off x="9193178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2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10"/>
                    </a:cubicBezTo>
                    <a:cubicBezTo>
                      <a:pt x="5" y="15"/>
                      <a:pt x="14" y="20"/>
                      <a:pt x="23" y="20"/>
                    </a:cubicBezTo>
                    <a:cubicBezTo>
                      <a:pt x="31" y="20"/>
                      <a:pt x="36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2" name="îsḻídè">
                <a:extLst>
                  <a:ext uri="{FF2B5EF4-FFF2-40B4-BE49-F238E27FC236}">
                    <a16:creationId xmlns:a16="http://schemas.microsoft.com/office/drawing/2014/main" id="{326D637D-9E17-44B2-8824-DCDFAE67C167}"/>
                  </a:ext>
                </a:extLst>
              </p:cNvPr>
              <p:cNvSpPr/>
              <p:nvPr/>
            </p:nvSpPr>
            <p:spPr bwMode="auto">
              <a:xfrm>
                <a:off x="8816699" y="2623495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2" y="20"/>
                      <a:pt x="36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3" name="iṧ1ïḓê">
                <a:extLst>
                  <a:ext uri="{FF2B5EF4-FFF2-40B4-BE49-F238E27FC236}">
                    <a16:creationId xmlns:a16="http://schemas.microsoft.com/office/drawing/2014/main" id="{7FEE8698-355B-412F-A962-E0411882276E}"/>
                  </a:ext>
                </a:extLst>
              </p:cNvPr>
              <p:cNvSpPr/>
              <p:nvPr/>
            </p:nvSpPr>
            <p:spPr bwMode="auto">
              <a:xfrm>
                <a:off x="8955564" y="2623495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14 w 37"/>
                  <a:gd name="T3" fmla="*/ 0 h 20"/>
                  <a:gd name="T4" fmla="*/ 3 w 37"/>
                  <a:gd name="T5" fmla="*/ 10 h 20"/>
                  <a:gd name="T6" fmla="*/ 2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2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6" y="16"/>
                      <a:pt x="15" y="20"/>
                      <a:pt x="23" y="20"/>
                    </a:cubicBezTo>
                    <a:cubicBezTo>
                      <a:pt x="32" y="20"/>
                      <a:pt x="37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4" name="íṣ1iďe">
                <a:extLst>
                  <a:ext uri="{FF2B5EF4-FFF2-40B4-BE49-F238E27FC236}">
                    <a16:creationId xmlns:a16="http://schemas.microsoft.com/office/drawing/2014/main" id="{64416668-87BF-4875-A22C-35CC2E4829C9}"/>
                  </a:ext>
                </a:extLst>
              </p:cNvPr>
              <p:cNvSpPr/>
              <p:nvPr/>
            </p:nvSpPr>
            <p:spPr bwMode="auto">
              <a:xfrm>
                <a:off x="9236381" y="2623495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2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1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2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5" name="ïŝḷíḋè">
                <a:extLst>
                  <a:ext uri="{FF2B5EF4-FFF2-40B4-BE49-F238E27FC236}">
                    <a16:creationId xmlns:a16="http://schemas.microsoft.com/office/drawing/2014/main" id="{9EF41AEA-E7D3-45C3-A111-8B8019EA331B}"/>
                  </a:ext>
                </a:extLst>
              </p:cNvPr>
              <p:cNvSpPr/>
              <p:nvPr/>
            </p:nvSpPr>
            <p:spPr bwMode="auto">
              <a:xfrm>
                <a:off x="8856816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14 w 37"/>
                  <a:gd name="T3" fmla="*/ 0 h 22"/>
                  <a:gd name="T4" fmla="*/ 3 w 37"/>
                  <a:gd name="T5" fmla="*/ 11 h 22"/>
                  <a:gd name="T6" fmla="*/ 2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6" name="işḷîdè">
                <a:extLst>
                  <a:ext uri="{FF2B5EF4-FFF2-40B4-BE49-F238E27FC236}">
                    <a16:creationId xmlns:a16="http://schemas.microsoft.com/office/drawing/2014/main" id="{F40BB4C3-D3E4-4546-845C-33293A6C800F}"/>
                  </a:ext>
                </a:extLst>
              </p:cNvPr>
              <p:cNvSpPr/>
              <p:nvPr/>
            </p:nvSpPr>
            <p:spPr bwMode="auto">
              <a:xfrm>
                <a:off x="8998767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13 w 37"/>
                  <a:gd name="T3" fmla="*/ 0 h 22"/>
                  <a:gd name="T4" fmla="*/ 2 w 37"/>
                  <a:gd name="T5" fmla="*/ 11 h 22"/>
                  <a:gd name="T6" fmla="*/ 2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1" y="5"/>
                      <a:pt x="22" y="0"/>
                      <a:pt x="13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7" name="ïsľïḍé">
                <a:extLst>
                  <a:ext uri="{FF2B5EF4-FFF2-40B4-BE49-F238E27FC236}">
                    <a16:creationId xmlns:a16="http://schemas.microsoft.com/office/drawing/2014/main" id="{904D9D35-3507-4628-8758-60C849F60EB4}"/>
                  </a:ext>
                </a:extLst>
              </p:cNvPr>
              <p:cNvSpPr/>
              <p:nvPr/>
            </p:nvSpPr>
            <p:spPr bwMode="auto">
              <a:xfrm>
                <a:off x="8896932" y="2810191"/>
                <a:ext cx="135779" cy="80233"/>
              </a:xfrm>
              <a:custGeom>
                <a:avLst/>
                <a:gdLst>
                  <a:gd name="T0" fmla="*/ 35 w 37"/>
                  <a:gd name="T1" fmla="*/ 11 h 22"/>
                  <a:gd name="T2" fmla="*/ 14 w 37"/>
                  <a:gd name="T3" fmla="*/ 0 h 22"/>
                  <a:gd name="T4" fmla="*/ 3 w 37"/>
                  <a:gd name="T5" fmla="*/ 11 h 22"/>
                  <a:gd name="T6" fmla="*/ 24 w 37"/>
                  <a:gd name="T7" fmla="*/ 22 h 22"/>
                  <a:gd name="T8" fmla="*/ 35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7"/>
                      <a:pt x="15" y="22"/>
                      <a:pt x="24" y="22"/>
                    </a:cubicBezTo>
                    <a:cubicBezTo>
                      <a:pt x="32" y="22"/>
                      <a:pt x="37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8" name="işlïḑe">
                <a:extLst>
                  <a:ext uri="{FF2B5EF4-FFF2-40B4-BE49-F238E27FC236}">
                    <a16:creationId xmlns:a16="http://schemas.microsoft.com/office/drawing/2014/main" id="{91F5D3C4-D85F-411A-8A24-E35D1B69AC56}"/>
                  </a:ext>
                </a:extLst>
              </p:cNvPr>
              <p:cNvSpPr/>
              <p:nvPr/>
            </p:nvSpPr>
            <p:spPr bwMode="auto">
              <a:xfrm>
                <a:off x="9038883" y="2810191"/>
                <a:ext cx="138865" cy="80233"/>
              </a:xfrm>
              <a:custGeom>
                <a:avLst/>
                <a:gdLst>
                  <a:gd name="T0" fmla="*/ 35 w 38"/>
                  <a:gd name="T1" fmla="*/ 11 h 22"/>
                  <a:gd name="T2" fmla="*/ 14 w 38"/>
                  <a:gd name="T3" fmla="*/ 0 h 22"/>
                  <a:gd name="T4" fmla="*/ 3 w 38"/>
                  <a:gd name="T5" fmla="*/ 11 h 22"/>
                  <a:gd name="T6" fmla="*/ 2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6" y="17"/>
                      <a:pt x="15" y="22"/>
                      <a:pt x="24" y="22"/>
                    </a:cubicBezTo>
                    <a:cubicBezTo>
                      <a:pt x="33" y="22"/>
                      <a:pt x="38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9" name="íś1íḍé">
                <a:extLst>
                  <a:ext uri="{FF2B5EF4-FFF2-40B4-BE49-F238E27FC236}">
                    <a16:creationId xmlns:a16="http://schemas.microsoft.com/office/drawing/2014/main" id="{53162B38-B2CF-44B2-A230-BDA662952564}"/>
                  </a:ext>
                </a:extLst>
              </p:cNvPr>
              <p:cNvSpPr/>
              <p:nvPr/>
            </p:nvSpPr>
            <p:spPr bwMode="auto">
              <a:xfrm>
                <a:off x="8940135" y="2907397"/>
                <a:ext cx="135779" cy="84863"/>
              </a:xfrm>
              <a:custGeom>
                <a:avLst/>
                <a:gdLst>
                  <a:gd name="T0" fmla="*/ 35 w 37"/>
                  <a:gd name="T1" fmla="*/ 11 h 23"/>
                  <a:gd name="T2" fmla="*/ 14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0" name="îṧlïḓê">
                <a:extLst>
                  <a:ext uri="{FF2B5EF4-FFF2-40B4-BE49-F238E27FC236}">
                    <a16:creationId xmlns:a16="http://schemas.microsoft.com/office/drawing/2014/main" id="{6D8A4520-FE8C-4AC9-A3C2-81D761878977}"/>
                  </a:ext>
                </a:extLst>
              </p:cNvPr>
              <p:cNvSpPr/>
              <p:nvPr/>
            </p:nvSpPr>
            <p:spPr bwMode="auto">
              <a:xfrm>
                <a:off x="7809155" y="3010774"/>
                <a:ext cx="135779" cy="83319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2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2" y="23"/>
                      <a:pt x="22" y="23"/>
                    </a:cubicBezTo>
                    <a:cubicBezTo>
                      <a:pt x="31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1" name="ïṩḷîḋe">
                <a:extLst>
                  <a:ext uri="{FF2B5EF4-FFF2-40B4-BE49-F238E27FC236}">
                    <a16:creationId xmlns:a16="http://schemas.microsoft.com/office/drawing/2014/main" id="{2EC9734E-D1CE-4EC6-9EF5-2ADB08642532}"/>
                  </a:ext>
                </a:extLst>
              </p:cNvPr>
              <p:cNvSpPr/>
              <p:nvPr/>
            </p:nvSpPr>
            <p:spPr bwMode="auto">
              <a:xfrm>
                <a:off x="7955735" y="3010774"/>
                <a:ext cx="134237" cy="83319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2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2" name="îṩḷîdé">
                <a:extLst>
                  <a:ext uri="{FF2B5EF4-FFF2-40B4-BE49-F238E27FC236}">
                    <a16:creationId xmlns:a16="http://schemas.microsoft.com/office/drawing/2014/main" id="{11B12AF6-EEAC-4588-8D3D-25EA88576AC1}"/>
                  </a:ext>
                </a:extLst>
              </p:cNvPr>
              <p:cNvSpPr/>
              <p:nvPr/>
            </p:nvSpPr>
            <p:spPr bwMode="auto">
              <a:xfrm>
                <a:off x="8105400" y="3010774"/>
                <a:ext cx="131151" cy="83319"/>
              </a:xfrm>
              <a:custGeom>
                <a:avLst/>
                <a:gdLst>
                  <a:gd name="T0" fmla="*/ 34 w 36"/>
                  <a:gd name="T1" fmla="*/ 11 h 23"/>
                  <a:gd name="T2" fmla="*/ 14 w 36"/>
                  <a:gd name="T3" fmla="*/ 0 h 23"/>
                  <a:gd name="T4" fmla="*/ 1 w 36"/>
                  <a:gd name="T5" fmla="*/ 11 h 23"/>
                  <a:gd name="T6" fmla="*/ 22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1" y="11"/>
                    </a:cubicBezTo>
                    <a:cubicBezTo>
                      <a:pt x="3" y="18"/>
                      <a:pt x="12" y="23"/>
                      <a:pt x="22" y="23"/>
                    </a:cubicBezTo>
                    <a:cubicBezTo>
                      <a:pt x="31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3" name="îŝlíďê">
                <a:extLst>
                  <a:ext uri="{FF2B5EF4-FFF2-40B4-BE49-F238E27FC236}">
                    <a16:creationId xmlns:a16="http://schemas.microsoft.com/office/drawing/2014/main" id="{225D7E74-2BC7-4B06-A5BB-6023CB54EE82}"/>
                  </a:ext>
                </a:extLst>
              </p:cNvPr>
              <p:cNvSpPr/>
              <p:nvPr/>
            </p:nvSpPr>
            <p:spPr bwMode="auto">
              <a:xfrm>
                <a:off x="8397018" y="3010774"/>
                <a:ext cx="135779" cy="83319"/>
              </a:xfrm>
              <a:custGeom>
                <a:avLst/>
                <a:gdLst>
                  <a:gd name="T0" fmla="*/ 35 w 37"/>
                  <a:gd name="T1" fmla="*/ 11 h 23"/>
                  <a:gd name="T2" fmla="*/ 14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4" name="ïSlîďe">
                <a:extLst>
                  <a:ext uri="{FF2B5EF4-FFF2-40B4-BE49-F238E27FC236}">
                    <a16:creationId xmlns:a16="http://schemas.microsoft.com/office/drawing/2014/main" id="{68DF44F2-08CB-4408-BE4E-ABE9C2DCD844}"/>
                  </a:ext>
                </a:extLst>
              </p:cNvPr>
              <p:cNvSpPr/>
              <p:nvPr/>
            </p:nvSpPr>
            <p:spPr bwMode="auto">
              <a:xfrm>
                <a:off x="8543597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2 w 38"/>
                  <a:gd name="T5" fmla="*/ 11 h 23"/>
                  <a:gd name="T6" fmla="*/ 23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5" name="iṧļiďè">
                <a:extLst>
                  <a:ext uri="{FF2B5EF4-FFF2-40B4-BE49-F238E27FC236}">
                    <a16:creationId xmlns:a16="http://schemas.microsoft.com/office/drawing/2014/main" id="{FF18F8BA-889E-4C1F-B503-AC7486812A6B}"/>
                  </a:ext>
                </a:extLst>
              </p:cNvPr>
              <p:cNvSpPr/>
              <p:nvPr/>
            </p:nvSpPr>
            <p:spPr bwMode="auto">
              <a:xfrm>
                <a:off x="8688634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3 w 38"/>
                  <a:gd name="T5" fmla="*/ 11 h 23"/>
                  <a:gd name="T6" fmla="*/ 24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8"/>
                      <a:pt x="14" y="23"/>
                      <a:pt x="24" y="23"/>
                    </a:cubicBezTo>
                    <a:cubicBezTo>
                      <a:pt x="33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6" name="işľîďê">
                <a:extLst>
                  <a:ext uri="{FF2B5EF4-FFF2-40B4-BE49-F238E27FC236}">
                    <a16:creationId xmlns:a16="http://schemas.microsoft.com/office/drawing/2014/main" id="{3F3E184B-4264-478F-A031-41BA0F5234EE}"/>
                  </a:ext>
                </a:extLst>
              </p:cNvPr>
              <p:cNvSpPr/>
              <p:nvPr/>
            </p:nvSpPr>
            <p:spPr bwMode="auto">
              <a:xfrm>
                <a:off x="7838471" y="3112609"/>
                <a:ext cx="135779" cy="87948"/>
              </a:xfrm>
              <a:custGeom>
                <a:avLst/>
                <a:gdLst>
                  <a:gd name="T0" fmla="*/ 35 w 37"/>
                  <a:gd name="T1" fmla="*/ 12 h 24"/>
                  <a:gd name="T2" fmla="*/ 15 w 37"/>
                  <a:gd name="T3" fmla="*/ 0 h 24"/>
                  <a:gd name="T4" fmla="*/ 2 w 37"/>
                  <a:gd name="T5" fmla="*/ 12 h 24"/>
                  <a:gd name="T6" fmla="*/ 21 w 37"/>
                  <a:gd name="T7" fmla="*/ 24 h 24"/>
                  <a:gd name="T8" fmla="*/ 35 w 37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4">
                    <a:moveTo>
                      <a:pt x="35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6" y="0"/>
                      <a:pt x="0" y="6"/>
                      <a:pt x="2" y="12"/>
                    </a:cubicBezTo>
                    <a:cubicBezTo>
                      <a:pt x="3" y="19"/>
                      <a:pt x="12" y="24"/>
                      <a:pt x="21" y="24"/>
                    </a:cubicBezTo>
                    <a:cubicBezTo>
                      <a:pt x="31" y="24"/>
                      <a:pt x="37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7" name="ïṩḷiḋe">
                <a:extLst>
                  <a:ext uri="{FF2B5EF4-FFF2-40B4-BE49-F238E27FC236}">
                    <a16:creationId xmlns:a16="http://schemas.microsoft.com/office/drawing/2014/main" id="{9C70579A-C7BB-4C66-AC50-EFE1C0BBFE13}"/>
                  </a:ext>
                </a:extLst>
              </p:cNvPr>
              <p:cNvSpPr/>
              <p:nvPr/>
            </p:nvSpPr>
            <p:spPr bwMode="auto">
              <a:xfrm>
                <a:off x="7988136" y="3112609"/>
                <a:ext cx="135779" cy="87948"/>
              </a:xfrm>
              <a:custGeom>
                <a:avLst/>
                <a:gdLst>
                  <a:gd name="T0" fmla="*/ 35 w 37"/>
                  <a:gd name="T1" fmla="*/ 12 h 24"/>
                  <a:gd name="T2" fmla="*/ 15 w 37"/>
                  <a:gd name="T3" fmla="*/ 0 h 24"/>
                  <a:gd name="T4" fmla="*/ 1 w 37"/>
                  <a:gd name="T5" fmla="*/ 12 h 24"/>
                  <a:gd name="T6" fmla="*/ 22 w 37"/>
                  <a:gd name="T7" fmla="*/ 24 h 24"/>
                  <a:gd name="T8" fmla="*/ 35 w 37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4">
                    <a:moveTo>
                      <a:pt x="35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5" y="0"/>
                      <a:pt x="0" y="6"/>
                      <a:pt x="1" y="12"/>
                    </a:cubicBezTo>
                    <a:cubicBezTo>
                      <a:pt x="3" y="19"/>
                      <a:pt x="12" y="24"/>
                      <a:pt x="22" y="24"/>
                    </a:cubicBezTo>
                    <a:cubicBezTo>
                      <a:pt x="31" y="24"/>
                      <a:pt x="37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8" name="íŝ1îďé">
                <a:extLst>
                  <a:ext uri="{FF2B5EF4-FFF2-40B4-BE49-F238E27FC236}">
                    <a16:creationId xmlns:a16="http://schemas.microsoft.com/office/drawing/2014/main" id="{FF9CF858-D373-4665-A0F3-29E056D240D6}"/>
                  </a:ext>
                </a:extLst>
              </p:cNvPr>
              <p:cNvSpPr/>
              <p:nvPr/>
            </p:nvSpPr>
            <p:spPr bwMode="auto">
              <a:xfrm>
                <a:off x="8434048" y="3112609"/>
                <a:ext cx="138865" cy="87948"/>
              </a:xfrm>
              <a:custGeom>
                <a:avLst/>
                <a:gdLst>
                  <a:gd name="T0" fmla="*/ 35 w 38"/>
                  <a:gd name="T1" fmla="*/ 12 h 24"/>
                  <a:gd name="T2" fmla="*/ 14 w 38"/>
                  <a:gd name="T3" fmla="*/ 0 h 24"/>
                  <a:gd name="T4" fmla="*/ 2 w 38"/>
                  <a:gd name="T5" fmla="*/ 12 h 24"/>
                  <a:gd name="T6" fmla="*/ 23 w 38"/>
                  <a:gd name="T7" fmla="*/ 24 h 24"/>
                  <a:gd name="T8" fmla="*/ 35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5" y="12"/>
                    </a:moveTo>
                    <a:cubicBezTo>
                      <a:pt x="33" y="6"/>
                      <a:pt x="23" y="0"/>
                      <a:pt x="14" y="0"/>
                    </a:cubicBezTo>
                    <a:cubicBezTo>
                      <a:pt x="5" y="0"/>
                      <a:pt x="0" y="6"/>
                      <a:pt x="2" y="12"/>
                    </a:cubicBezTo>
                    <a:cubicBezTo>
                      <a:pt x="4" y="19"/>
                      <a:pt x="13" y="24"/>
                      <a:pt x="23" y="24"/>
                    </a:cubicBezTo>
                    <a:cubicBezTo>
                      <a:pt x="32" y="24"/>
                      <a:pt x="38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9" name="íśḷíďé">
                <a:extLst>
                  <a:ext uri="{FF2B5EF4-FFF2-40B4-BE49-F238E27FC236}">
                    <a16:creationId xmlns:a16="http://schemas.microsoft.com/office/drawing/2014/main" id="{67C3BD4E-09B3-4F2D-BF8F-2A81629D5570}"/>
                  </a:ext>
                </a:extLst>
              </p:cNvPr>
              <p:cNvSpPr/>
              <p:nvPr/>
            </p:nvSpPr>
            <p:spPr bwMode="auto">
              <a:xfrm>
                <a:off x="8579085" y="3112609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5 w 38"/>
                  <a:gd name="T3" fmla="*/ 0 h 24"/>
                  <a:gd name="T4" fmla="*/ 3 w 38"/>
                  <a:gd name="T5" fmla="*/ 12 h 24"/>
                  <a:gd name="T6" fmla="*/ 24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6" y="0"/>
                      <a:pt x="0" y="6"/>
                      <a:pt x="3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3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0" name="îsľïḍè">
                <a:extLst>
                  <a:ext uri="{FF2B5EF4-FFF2-40B4-BE49-F238E27FC236}">
                    <a16:creationId xmlns:a16="http://schemas.microsoft.com/office/drawing/2014/main" id="{02AB337C-60C3-47C5-8BFF-21302DEAADFE}"/>
                  </a:ext>
                </a:extLst>
              </p:cNvPr>
              <p:cNvSpPr/>
              <p:nvPr/>
            </p:nvSpPr>
            <p:spPr bwMode="auto">
              <a:xfrm>
                <a:off x="8728751" y="3112609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5 w 38"/>
                  <a:gd name="T3" fmla="*/ 0 h 24"/>
                  <a:gd name="T4" fmla="*/ 3 w 38"/>
                  <a:gd name="T5" fmla="*/ 12 h 24"/>
                  <a:gd name="T6" fmla="*/ 24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5" y="0"/>
                      <a:pt x="0" y="6"/>
                      <a:pt x="3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3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1" name="íṣļíḍe">
                <a:extLst>
                  <a:ext uri="{FF2B5EF4-FFF2-40B4-BE49-F238E27FC236}">
                    <a16:creationId xmlns:a16="http://schemas.microsoft.com/office/drawing/2014/main" id="{D2081182-EA19-4685-8F2F-5682EB4C8B60}"/>
                  </a:ext>
                </a:extLst>
              </p:cNvPr>
              <p:cNvSpPr/>
              <p:nvPr/>
            </p:nvSpPr>
            <p:spPr bwMode="auto">
              <a:xfrm>
                <a:off x="8878417" y="3112609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4 w 38"/>
                  <a:gd name="T3" fmla="*/ 0 h 24"/>
                  <a:gd name="T4" fmla="*/ 2 w 38"/>
                  <a:gd name="T5" fmla="*/ 12 h 24"/>
                  <a:gd name="T6" fmla="*/ 24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3" y="6"/>
                      <a:pt x="23" y="0"/>
                      <a:pt x="14" y="0"/>
                    </a:cubicBezTo>
                    <a:cubicBezTo>
                      <a:pt x="5" y="0"/>
                      <a:pt x="0" y="6"/>
                      <a:pt x="2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3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2" name="iSḷíḑé">
                <a:extLst>
                  <a:ext uri="{FF2B5EF4-FFF2-40B4-BE49-F238E27FC236}">
                    <a16:creationId xmlns:a16="http://schemas.microsoft.com/office/drawing/2014/main" id="{4B63D1B3-3F73-42FD-8C33-A3FDB8A873D2}"/>
                  </a:ext>
                </a:extLst>
              </p:cNvPr>
              <p:cNvSpPr/>
              <p:nvPr/>
            </p:nvSpPr>
            <p:spPr bwMode="auto">
              <a:xfrm>
                <a:off x="7867787" y="3222158"/>
                <a:ext cx="135779" cy="87948"/>
              </a:xfrm>
              <a:custGeom>
                <a:avLst/>
                <a:gdLst>
                  <a:gd name="T0" fmla="*/ 35 w 37"/>
                  <a:gd name="T1" fmla="*/ 12 h 24"/>
                  <a:gd name="T2" fmla="*/ 15 w 37"/>
                  <a:gd name="T3" fmla="*/ 0 h 24"/>
                  <a:gd name="T4" fmla="*/ 1 w 37"/>
                  <a:gd name="T5" fmla="*/ 12 h 24"/>
                  <a:gd name="T6" fmla="*/ 22 w 37"/>
                  <a:gd name="T7" fmla="*/ 24 h 24"/>
                  <a:gd name="T8" fmla="*/ 35 w 37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4">
                    <a:moveTo>
                      <a:pt x="35" y="12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2"/>
                    </a:cubicBezTo>
                    <a:cubicBezTo>
                      <a:pt x="3" y="19"/>
                      <a:pt x="12" y="24"/>
                      <a:pt x="22" y="24"/>
                    </a:cubicBezTo>
                    <a:cubicBezTo>
                      <a:pt x="31" y="24"/>
                      <a:pt x="37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3" name="iṧḷiḋè">
                <a:extLst>
                  <a:ext uri="{FF2B5EF4-FFF2-40B4-BE49-F238E27FC236}">
                    <a16:creationId xmlns:a16="http://schemas.microsoft.com/office/drawing/2014/main" id="{ABB4385A-E54C-4115-B9FF-4A6DDA22FB97}"/>
                  </a:ext>
                </a:extLst>
              </p:cNvPr>
              <p:cNvSpPr/>
              <p:nvPr/>
            </p:nvSpPr>
            <p:spPr bwMode="auto">
              <a:xfrm>
                <a:off x="8017453" y="3222158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5 w 38"/>
                  <a:gd name="T3" fmla="*/ 0 h 24"/>
                  <a:gd name="T4" fmla="*/ 2 w 38"/>
                  <a:gd name="T5" fmla="*/ 12 h 24"/>
                  <a:gd name="T6" fmla="*/ 22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2"/>
                    </a:cubicBezTo>
                    <a:cubicBezTo>
                      <a:pt x="4" y="19"/>
                      <a:pt x="13" y="24"/>
                      <a:pt x="22" y="24"/>
                    </a:cubicBezTo>
                    <a:cubicBezTo>
                      <a:pt x="32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4" name="ïṣḻïḓé">
                <a:extLst>
                  <a:ext uri="{FF2B5EF4-FFF2-40B4-BE49-F238E27FC236}">
                    <a16:creationId xmlns:a16="http://schemas.microsoft.com/office/drawing/2014/main" id="{2426ADEF-D84A-4787-93F0-915AFD7DFE4A}"/>
                  </a:ext>
                </a:extLst>
              </p:cNvPr>
              <p:cNvSpPr/>
              <p:nvPr/>
            </p:nvSpPr>
            <p:spPr bwMode="auto">
              <a:xfrm>
                <a:off x="8619202" y="3222158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15 w 39"/>
                  <a:gd name="T3" fmla="*/ 0 h 24"/>
                  <a:gd name="T4" fmla="*/ 2 w 39"/>
                  <a:gd name="T5" fmla="*/ 12 h 24"/>
                  <a:gd name="T6" fmla="*/ 2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19"/>
                      <a:pt x="14" y="24"/>
                      <a:pt x="24" y="24"/>
                    </a:cubicBezTo>
                    <a:cubicBezTo>
                      <a:pt x="33" y="24"/>
                      <a:pt x="39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5" name="íṧ1ïḓê">
                <a:extLst>
                  <a:ext uri="{FF2B5EF4-FFF2-40B4-BE49-F238E27FC236}">
                    <a16:creationId xmlns:a16="http://schemas.microsoft.com/office/drawing/2014/main" id="{9B3B4131-4B1C-46AD-98B9-53AC61CC0EB9}"/>
                  </a:ext>
                </a:extLst>
              </p:cNvPr>
              <p:cNvSpPr/>
              <p:nvPr/>
            </p:nvSpPr>
            <p:spPr bwMode="auto">
              <a:xfrm>
                <a:off x="8768867" y="3222158"/>
                <a:ext cx="143495" cy="87948"/>
              </a:xfrm>
              <a:custGeom>
                <a:avLst/>
                <a:gdLst>
                  <a:gd name="T0" fmla="*/ 37 w 39"/>
                  <a:gd name="T1" fmla="*/ 12 h 24"/>
                  <a:gd name="T2" fmla="*/ 15 w 39"/>
                  <a:gd name="T3" fmla="*/ 0 h 24"/>
                  <a:gd name="T4" fmla="*/ 3 w 39"/>
                  <a:gd name="T5" fmla="*/ 12 h 24"/>
                  <a:gd name="T6" fmla="*/ 24 w 39"/>
                  <a:gd name="T7" fmla="*/ 24 h 24"/>
                  <a:gd name="T8" fmla="*/ 37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3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4" y="24"/>
                      <a:pt x="39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6" name="íS1íḓé">
                <a:extLst>
                  <a:ext uri="{FF2B5EF4-FFF2-40B4-BE49-F238E27FC236}">
                    <a16:creationId xmlns:a16="http://schemas.microsoft.com/office/drawing/2014/main" id="{1ED6AE3A-26AF-41C5-9583-38B6BA536561}"/>
                  </a:ext>
                </a:extLst>
              </p:cNvPr>
              <p:cNvSpPr/>
              <p:nvPr/>
            </p:nvSpPr>
            <p:spPr bwMode="auto">
              <a:xfrm>
                <a:off x="8918534" y="3222158"/>
                <a:ext cx="146580" cy="87948"/>
              </a:xfrm>
              <a:custGeom>
                <a:avLst/>
                <a:gdLst>
                  <a:gd name="T0" fmla="*/ 37 w 40"/>
                  <a:gd name="T1" fmla="*/ 12 h 24"/>
                  <a:gd name="T2" fmla="*/ 15 w 40"/>
                  <a:gd name="T3" fmla="*/ 0 h 24"/>
                  <a:gd name="T4" fmla="*/ 3 w 40"/>
                  <a:gd name="T5" fmla="*/ 12 h 24"/>
                  <a:gd name="T6" fmla="*/ 25 w 40"/>
                  <a:gd name="T7" fmla="*/ 24 h 24"/>
                  <a:gd name="T8" fmla="*/ 37 w 40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4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3" y="12"/>
                    </a:cubicBezTo>
                    <a:cubicBezTo>
                      <a:pt x="6" y="19"/>
                      <a:pt x="16" y="24"/>
                      <a:pt x="25" y="24"/>
                    </a:cubicBezTo>
                    <a:cubicBezTo>
                      <a:pt x="35" y="24"/>
                      <a:pt x="40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7" name="îSlïḍê">
                <a:extLst>
                  <a:ext uri="{FF2B5EF4-FFF2-40B4-BE49-F238E27FC236}">
                    <a16:creationId xmlns:a16="http://schemas.microsoft.com/office/drawing/2014/main" id="{1B9B9DA3-DB50-4F0A-A643-EFD1893D9CD7}"/>
                  </a:ext>
                </a:extLst>
              </p:cNvPr>
              <p:cNvSpPr/>
              <p:nvPr/>
            </p:nvSpPr>
            <p:spPr bwMode="auto">
              <a:xfrm>
                <a:off x="7897103" y="3331707"/>
                <a:ext cx="138865" cy="91034"/>
              </a:xfrm>
              <a:custGeom>
                <a:avLst/>
                <a:gdLst>
                  <a:gd name="T0" fmla="*/ 36 w 38"/>
                  <a:gd name="T1" fmla="*/ 12 h 25"/>
                  <a:gd name="T2" fmla="*/ 15 w 38"/>
                  <a:gd name="T3" fmla="*/ 0 h 25"/>
                  <a:gd name="T4" fmla="*/ 1 w 38"/>
                  <a:gd name="T5" fmla="*/ 12 h 25"/>
                  <a:gd name="T6" fmla="*/ 22 w 38"/>
                  <a:gd name="T7" fmla="*/ 25 h 25"/>
                  <a:gd name="T8" fmla="*/ 36 w 38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5">
                    <a:moveTo>
                      <a:pt x="36" y="12"/>
                    </a:moveTo>
                    <a:cubicBezTo>
                      <a:pt x="34" y="5"/>
                      <a:pt x="25" y="0"/>
                      <a:pt x="15" y="0"/>
                    </a:cubicBezTo>
                    <a:cubicBezTo>
                      <a:pt x="6" y="0"/>
                      <a:pt x="0" y="5"/>
                      <a:pt x="1" y="12"/>
                    </a:cubicBezTo>
                    <a:cubicBezTo>
                      <a:pt x="3" y="19"/>
                      <a:pt x="12" y="25"/>
                      <a:pt x="22" y="25"/>
                    </a:cubicBezTo>
                    <a:cubicBezTo>
                      <a:pt x="32" y="25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8" name="ïSļíḋe">
                <a:extLst>
                  <a:ext uri="{FF2B5EF4-FFF2-40B4-BE49-F238E27FC236}">
                    <a16:creationId xmlns:a16="http://schemas.microsoft.com/office/drawing/2014/main" id="{87275F07-DCC0-4F24-A851-5DA2D7F43A62}"/>
                  </a:ext>
                </a:extLst>
              </p:cNvPr>
              <p:cNvSpPr/>
              <p:nvPr/>
            </p:nvSpPr>
            <p:spPr bwMode="auto">
              <a:xfrm>
                <a:off x="8659319" y="3331707"/>
                <a:ext cx="143495" cy="91034"/>
              </a:xfrm>
              <a:custGeom>
                <a:avLst/>
                <a:gdLst>
                  <a:gd name="T0" fmla="*/ 37 w 39"/>
                  <a:gd name="T1" fmla="*/ 12 h 25"/>
                  <a:gd name="T2" fmla="*/ 15 w 39"/>
                  <a:gd name="T3" fmla="*/ 0 h 25"/>
                  <a:gd name="T4" fmla="*/ 2 w 39"/>
                  <a:gd name="T5" fmla="*/ 12 h 25"/>
                  <a:gd name="T6" fmla="*/ 24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19"/>
                      <a:pt x="15" y="25"/>
                      <a:pt x="24" y="25"/>
                    </a:cubicBezTo>
                    <a:cubicBezTo>
                      <a:pt x="34" y="25"/>
                      <a:pt x="39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9" name="ïṣḻiďê">
                <a:extLst>
                  <a:ext uri="{FF2B5EF4-FFF2-40B4-BE49-F238E27FC236}">
                    <a16:creationId xmlns:a16="http://schemas.microsoft.com/office/drawing/2014/main" id="{AF29E1FA-1FFA-43CA-8843-99E95B178604}"/>
                  </a:ext>
                </a:extLst>
              </p:cNvPr>
              <p:cNvSpPr/>
              <p:nvPr/>
            </p:nvSpPr>
            <p:spPr bwMode="auto">
              <a:xfrm>
                <a:off x="8856816" y="3445885"/>
                <a:ext cx="146580" cy="94120"/>
              </a:xfrm>
              <a:custGeom>
                <a:avLst/>
                <a:gdLst>
                  <a:gd name="T0" fmla="*/ 37 w 40"/>
                  <a:gd name="T1" fmla="*/ 12 h 26"/>
                  <a:gd name="T2" fmla="*/ 15 w 40"/>
                  <a:gd name="T3" fmla="*/ 0 h 26"/>
                  <a:gd name="T4" fmla="*/ 2 w 40"/>
                  <a:gd name="T5" fmla="*/ 12 h 26"/>
                  <a:gd name="T6" fmla="*/ 25 w 40"/>
                  <a:gd name="T7" fmla="*/ 26 h 26"/>
                  <a:gd name="T8" fmla="*/ 37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20"/>
                      <a:pt x="15" y="26"/>
                      <a:pt x="25" y="26"/>
                    </a:cubicBezTo>
                    <a:cubicBezTo>
                      <a:pt x="34" y="26"/>
                      <a:pt x="40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0" name="îṥḻïďé">
                <a:extLst>
                  <a:ext uri="{FF2B5EF4-FFF2-40B4-BE49-F238E27FC236}">
                    <a16:creationId xmlns:a16="http://schemas.microsoft.com/office/drawing/2014/main" id="{0059317A-3B8D-456B-815A-828E92114804}"/>
                  </a:ext>
                </a:extLst>
              </p:cNvPr>
              <p:cNvSpPr/>
              <p:nvPr/>
            </p:nvSpPr>
            <p:spPr bwMode="auto">
              <a:xfrm>
                <a:off x="5905159" y="2714528"/>
                <a:ext cx="112636" cy="80233"/>
              </a:xfrm>
              <a:custGeom>
                <a:avLst/>
                <a:gdLst>
                  <a:gd name="T0" fmla="*/ 31 w 31"/>
                  <a:gd name="T1" fmla="*/ 11 h 22"/>
                  <a:gd name="T2" fmla="*/ 15 w 31"/>
                  <a:gd name="T3" fmla="*/ 0 h 22"/>
                  <a:gd name="T4" fmla="*/ 0 w 31"/>
                  <a:gd name="T5" fmla="*/ 11 h 22"/>
                  <a:gd name="T6" fmla="*/ 16 w 31"/>
                  <a:gd name="T7" fmla="*/ 22 h 22"/>
                  <a:gd name="T8" fmla="*/ 31 w 31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31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4" y="22"/>
                      <a:pt x="31" y="17"/>
                      <a:pt x="31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1" name="iślïďé">
                <a:extLst>
                  <a:ext uri="{FF2B5EF4-FFF2-40B4-BE49-F238E27FC236}">
                    <a16:creationId xmlns:a16="http://schemas.microsoft.com/office/drawing/2014/main" id="{6B033287-E4A1-4CE6-83C5-D3311910DF0E}"/>
                  </a:ext>
                </a:extLst>
              </p:cNvPr>
              <p:cNvSpPr/>
              <p:nvPr/>
            </p:nvSpPr>
            <p:spPr bwMode="auto">
              <a:xfrm>
                <a:off x="6044024" y="2714528"/>
                <a:ext cx="115721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7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2" name="îṧ1iḑè">
                <a:extLst>
                  <a:ext uri="{FF2B5EF4-FFF2-40B4-BE49-F238E27FC236}">
                    <a16:creationId xmlns:a16="http://schemas.microsoft.com/office/drawing/2014/main" id="{88436960-C31E-4DF0-BB6B-C785D60BAAD7}"/>
                  </a:ext>
                </a:extLst>
              </p:cNvPr>
              <p:cNvSpPr/>
              <p:nvPr/>
            </p:nvSpPr>
            <p:spPr bwMode="auto">
              <a:xfrm>
                <a:off x="6185975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5 w 32"/>
                  <a:gd name="T3" fmla="*/ 0 h 22"/>
                  <a:gd name="T4" fmla="*/ 0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8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3" name="işlidé">
                <a:extLst>
                  <a:ext uri="{FF2B5EF4-FFF2-40B4-BE49-F238E27FC236}">
                    <a16:creationId xmlns:a16="http://schemas.microsoft.com/office/drawing/2014/main" id="{5D525199-5EF3-424A-8BC3-5B2E5CAB5F73}"/>
                  </a:ext>
                </a:extLst>
              </p:cNvPr>
              <p:cNvSpPr/>
              <p:nvPr/>
            </p:nvSpPr>
            <p:spPr bwMode="auto">
              <a:xfrm>
                <a:off x="6324840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6 w 33"/>
                  <a:gd name="T3" fmla="*/ 0 h 22"/>
                  <a:gd name="T4" fmla="*/ 1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7"/>
                      <a:pt x="9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4" name="i$ľïďe">
                <a:extLst>
                  <a:ext uri="{FF2B5EF4-FFF2-40B4-BE49-F238E27FC236}">
                    <a16:creationId xmlns:a16="http://schemas.microsoft.com/office/drawing/2014/main" id="{2AF5DF1D-A4FB-44EC-BD7E-8854DFFEE195}"/>
                  </a:ext>
                </a:extLst>
              </p:cNvPr>
              <p:cNvSpPr/>
              <p:nvPr/>
            </p:nvSpPr>
            <p:spPr bwMode="auto">
              <a:xfrm>
                <a:off x="7087056" y="4063064"/>
                <a:ext cx="146580" cy="109550"/>
              </a:xfrm>
              <a:custGeom>
                <a:avLst/>
                <a:gdLst>
                  <a:gd name="T0" fmla="*/ 39 w 40"/>
                  <a:gd name="T1" fmla="*/ 15 h 30"/>
                  <a:gd name="T2" fmla="*/ 18 w 40"/>
                  <a:gd name="T3" fmla="*/ 0 h 30"/>
                  <a:gd name="T4" fmla="*/ 1 w 40"/>
                  <a:gd name="T5" fmla="*/ 15 h 30"/>
                  <a:gd name="T6" fmla="*/ 22 w 40"/>
                  <a:gd name="T7" fmla="*/ 30 h 30"/>
                  <a:gd name="T8" fmla="*/ 39 w 40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0">
                    <a:moveTo>
                      <a:pt x="39" y="15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7" y="0"/>
                      <a:pt x="0" y="6"/>
                      <a:pt x="1" y="15"/>
                    </a:cubicBezTo>
                    <a:cubicBezTo>
                      <a:pt x="2" y="23"/>
                      <a:pt x="12" y="30"/>
                      <a:pt x="22" y="30"/>
                    </a:cubicBezTo>
                    <a:cubicBezTo>
                      <a:pt x="33" y="30"/>
                      <a:pt x="40" y="23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5" name="ïśliḓe">
                <a:extLst>
                  <a:ext uri="{FF2B5EF4-FFF2-40B4-BE49-F238E27FC236}">
                    <a16:creationId xmlns:a16="http://schemas.microsoft.com/office/drawing/2014/main" id="{353D3475-6782-4E2A-A8FA-F194AC897D87}"/>
                  </a:ext>
                </a:extLst>
              </p:cNvPr>
              <p:cNvSpPr/>
              <p:nvPr/>
            </p:nvSpPr>
            <p:spPr bwMode="auto">
              <a:xfrm>
                <a:off x="6937390" y="4198843"/>
                <a:ext cx="146580" cy="112636"/>
              </a:xfrm>
              <a:custGeom>
                <a:avLst/>
                <a:gdLst>
                  <a:gd name="T0" fmla="*/ 39 w 40"/>
                  <a:gd name="T1" fmla="*/ 15 h 31"/>
                  <a:gd name="T2" fmla="*/ 18 w 40"/>
                  <a:gd name="T3" fmla="*/ 0 h 31"/>
                  <a:gd name="T4" fmla="*/ 1 w 40"/>
                  <a:gd name="T5" fmla="*/ 15 h 31"/>
                  <a:gd name="T6" fmla="*/ 22 w 40"/>
                  <a:gd name="T7" fmla="*/ 31 h 31"/>
                  <a:gd name="T8" fmla="*/ 39 w 4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39" y="15"/>
                    </a:moveTo>
                    <a:cubicBezTo>
                      <a:pt x="38" y="7"/>
                      <a:pt x="28" y="0"/>
                      <a:pt x="18" y="0"/>
                    </a:cubicBezTo>
                    <a:cubicBezTo>
                      <a:pt x="8" y="0"/>
                      <a:pt x="0" y="7"/>
                      <a:pt x="1" y="15"/>
                    </a:cubicBezTo>
                    <a:cubicBezTo>
                      <a:pt x="2" y="24"/>
                      <a:pt x="12" y="31"/>
                      <a:pt x="22" y="31"/>
                    </a:cubicBezTo>
                    <a:cubicBezTo>
                      <a:pt x="33" y="31"/>
                      <a:pt x="40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6" name="îṣ1íḓe">
                <a:extLst>
                  <a:ext uri="{FF2B5EF4-FFF2-40B4-BE49-F238E27FC236}">
                    <a16:creationId xmlns:a16="http://schemas.microsoft.com/office/drawing/2014/main" id="{F4B86176-FEF5-414C-B886-C17D5E9FAD55}"/>
                  </a:ext>
                </a:extLst>
              </p:cNvPr>
              <p:cNvSpPr/>
              <p:nvPr/>
            </p:nvSpPr>
            <p:spPr bwMode="auto">
              <a:xfrm>
                <a:off x="7105571" y="4198843"/>
                <a:ext cx="149666" cy="112636"/>
              </a:xfrm>
              <a:custGeom>
                <a:avLst/>
                <a:gdLst>
                  <a:gd name="T0" fmla="*/ 40 w 41"/>
                  <a:gd name="T1" fmla="*/ 15 h 31"/>
                  <a:gd name="T2" fmla="*/ 18 w 41"/>
                  <a:gd name="T3" fmla="*/ 0 h 31"/>
                  <a:gd name="T4" fmla="*/ 2 w 41"/>
                  <a:gd name="T5" fmla="*/ 15 h 31"/>
                  <a:gd name="T6" fmla="*/ 23 w 41"/>
                  <a:gd name="T7" fmla="*/ 31 h 31"/>
                  <a:gd name="T8" fmla="*/ 40 w 41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1">
                    <a:moveTo>
                      <a:pt x="40" y="15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2" y="15"/>
                    </a:cubicBezTo>
                    <a:cubicBezTo>
                      <a:pt x="3" y="24"/>
                      <a:pt x="13" y="31"/>
                      <a:pt x="23" y="31"/>
                    </a:cubicBezTo>
                    <a:cubicBezTo>
                      <a:pt x="34" y="31"/>
                      <a:pt x="41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7" name="íş1iḓè">
                <a:extLst>
                  <a:ext uri="{FF2B5EF4-FFF2-40B4-BE49-F238E27FC236}">
                    <a16:creationId xmlns:a16="http://schemas.microsoft.com/office/drawing/2014/main" id="{93004A99-9217-4916-B946-1C846B0EE4AB}"/>
                  </a:ext>
                </a:extLst>
              </p:cNvPr>
              <p:cNvSpPr/>
              <p:nvPr/>
            </p:nvSpPr>
            <p:spPr bwMode="auto">
              <a:xfrm>
                <a:off x="6955906" y="4337708"/>
                <a:ext cx="149666" cy="115721"/>
              </a:xfrm>
              <a:custGeom>
                <a:avLst/>
                <a:gdLst>
                  <a:gd name="T0" fmla="*/ 40 w 41"/>
                  <a:gd name="T1" fmla="*/ 16 h 32"/>
                  <a:gd name="T2" fmla="*/ 18 w 41"/>
                  <a:gd name="T3" fmla="*/ 0 h 32"/>
                  <a:gd name="T4" fmla="*/ 1 w 41"/>
                  <a:gd name="T5" fmla="*/ 16 h 32"/>
                  <a:gd name="T6" fmla="*/ 23 w 41"/>
                  <a:gd name="T7" fmla="*/ 32 h 32"/>
                  <a:gd name="T8" fmla="*/ 40 w 41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2">
                    <a:moveTo>
                      <a:pt x="40" y="16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1" y="16"/>
                    </a:cubicBezTo>
                    <a:cubicBezTo>
                      <a:pt x="2" y="25"/>
                      <a:pt x="12" y="32"/>
                      <a:pt x="23" y="32"/>
                    </a:cubicBezTo>
                    <a:cubicBezTo>
                      <a:pt x="33" y="32"/>
                      <a:pt x="41" y="25"/>
                      <a:pt x="40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8" name="iŝ1îdê">
                <a:extLst>
                  <a:ext uri="{FF2B5EF4-FFF2-40B4-BE49-F238E27FC236}">
                    <a16:creationId xmlns:a16="http://schemas.microsoft.com/office/drawing/2014/main" id="{401E9509-761A-4B14-A0AF-05A1FB2E2356}"/>
                  </a:ext>
                </a:extLst>
              </p:cNvPr>
              <p:cNvSpPr/>
              <p:nvPr/>
            </p:nvSpPr>
            <p:spPr bwMode="auto">
              <a:xfrm>
                <a:off x="6963620" y="3222158"/>
                <a:ext cx="131151" cy="87948"/>
              </a:xfrm>
              <a:custGeom>
                <a:avLst/>
                <a:gdLst>
                  <a:gd name="T0" fmla="*/ 35 w 36"/>
                  <a:gd name="T1" fmla="*/ 12 h 24"/>
                  <a:gd name="T2" fmla="*/ 16 w 36"/>
                  <a:gd name="T3" fmla="*/ 0 h 24"/>
                  <a:gd name="T4" fmla="*/ 1 w 36"/>
                  <a:gd name="T5" fmla="*/ 12 h 24"/>
                  <a:gd name="T6" fmla="*/ 20 w 36"/>
                  <a:gd name="T7" fmla="*/ 24 h 24"/>
                  <a:gd name="T8" fmla="*/ 35 w 36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">
                    <a:moveTo>
                      <a:pt x="35" y="12"/>
                    </a:moveTo>
                    <a:cubicBezTo>
                      <a:pt x="34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19"/>
                      <a:pt x="10" y="24"/>
                      <a:pt x="20" y="24"/>
                    </a:cubicBezTo>
                    <a:cubicBezTo>
                      <a:pt x="29" y="24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9" name="îṡļíďé">
                <a:extLst>
                  <a:ext uri="{FF2B5EF4-FFF2-40B4-BE49-F238E27FC236}">
                    <a16:creationId xmlns:a16="http://schemas.microsoft.com/office/drawing/2014/main" id="{D4746D38-629D-48C5-95BE-BF3DD17E11D7}"/>
                  </a:ext>
                </a:extLst>
              </p:cNvPr>
              <p:cNvSpPr/>
              <p:nvPr/>
            </p:nvSpPr>
            <p:spPr bwMode="auto">
              <a:xfrm>
                <a:off x="5343526" y="2623495"/>
                <a:ext cx="115721" cy="72519"/>
              </a:xfrm>
              <a:custGeom>
                <a:avLst/>
                <a:gdLst>
                  <a:gd name="T0" fmla="*/ 32 w 32"/>
                  <a:gd name="T1" fmla="*/ 10 h 20"/>
                  <a:gd name="T2" fmla="*/ 17 w 32"/>
                  <a:gd name="T3" fmla="*/ 0 h 20"/>
                  <a:gd name="T4" fmla="*/ 1 w 32"/>
                  <a:gd name="T5" fmla="*/ 10 h 20"/>
                  <a:gd name="T6" fmla="*/ 16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2" y="4"/>
                      <a:pt x="26" y="0"/>
                      <a:pt x="17" y="0"/>
                    </a:cubicBezTo>
                    <a:cubicBezTo>
                      <a:pt x="8" y="0"/>
                      <a:pt x="1" y="4"/>
                      <a:pt x="1" y="10"/>
                    </a:cubicBezTo>
                    <a:cubicBezTo>
                      <a:pt x="0" y="16"/>
                      <a:pt x="7" y="20"/>
                      <a:pt x="16" y="20"/>
                    </a:cubicBezTo>
                    <a:cubicBezTo>
                      <a:pt x="24" y="20"/>
                      <a:pt x="32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0" name="i$ľidé">
                <a:extLst>
                  <a:ext uri="{FF2B5EF4-FFF2-40B4-BE49-F238E27FC236}">
                    <a16:creationId xmlns:a16="http://schemas.microsoft.com/office/drawing/2014/main" id="{FE8EA20F-AF82-413E-A767-EE030846C9D6}"/>
                  </a:ext>
                </a:extLst>
              </p:cNvPr>
              <p:cNvSpPr/>
              <p:nvPr/>
            </p:nvSpPr>
            <p:spPr bwMode="auto">
              <a:xfrm>
                <a:off x="5485477" y="2623495"/>
                <a:ext cx="112636" cy="72519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4"/>
                      <a:pt x="24" y="0"/>
                      <a:pt x="16" y="0"/>
                    </a:cubicBezTo>
                    <a:cubicBezTo>
                      <a:pt x="7" y="0"/>
                      <a:pt x="0" y="4"/>
                      <a:pt x="0" y="10"/>
                    </a:cubicBezTo>
                    <a:cubicBezTo>
                      <a:pt x="0" y="16"/>
                      <a:pt x="6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1" name="íś1ïḍê">
                <a:extLst>
                  <a:ext uri="{FF2B5EF4-FFF2-40B4-BE49-F238E27FC236}">
                    <a16:creationId xmlns:a16="http://schemas.microsoft.com/office/drawing/2014/main" id="{AC58B538-2190-4537-B3B7-495E05878482}"/>
                  </a:ext>
                </a:extLst>
              </p:cNvPr>
              <p:cNvSpPr/>
              <p:nvPr/>
            </p:nvSpPr>
            <p:spPr bwMode="auto">
              <a:xfrm>
                <a:off x="5624342" y="2623495"/>
                <a:ext cx="112636" cy="72519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4"/>
                      <a:pt x="24" y="0"/>
                      <a:pt x="16" y="0"/>
                    </a:cubicBezTo>
                    <a:cubicBezTo>
                      <a:pt x="7" y="0"/>
                      <a:pt x="0" y="4"/>
                      <a:pt x="0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2" name="iŝliḑe">
                <a:extLst>
                  <a:ext uri="{FF2B5EF4-FFF2-40B4-BE49-F238E27FC236}">
                    <a16:creationId xmlns:a16="http://schemas.microsoft.com/office/drawing/2014/main" id="{A6EA3706-3B0B-4427-BF1E-79A78FC3EACB}"/>
                  </a:ext>
                </a:extLst>
              </p:cNvPr>
              <p:cNvSpPr/>
              <p:nvPr/>
            </p:nvSpPr>
            <p:spPr bwMode="auto">
              <a:xfrm>
                <a:off x="5196947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7 w 32"/>
                  <a:gd name="T3" fmla="*/ 0 h 22"/>
                  <a:gd name="T4" fmla="*/ 0 w 32"/>
                  <a:gd name="T5" fmla="*/ 11 h 22"/>
                  <a:gd name="T6" fmla="*/ 15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6" y="22"/>
                      <a:pt x="15" y="22"/>
                    </a:cubicBezTo>
                    <a:cubicBezTo>
                      <a:pt x="24" y="22"/>
                      <a:pt x="31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3" name="îşľiďè">
                <a:extLst>
                  <a:ext uri="{FF2B5EF4-FFF2-40B4-BE49-F238E27FC236}">
                    <a16:creationId xmlns:a16="http://schemas.microsoft.com/office/drawing/2014/main" id="{04D3E3E2-6C28-42E0-9032-4C6907826347}"/>
                  </a:ext>
                </a:extLst>
              </p:cNvPr>
              <p:cNvSpPr/>
              <p:nvPr/>
            </p:nvSpPr>
            <p:spPr bwMode="auto">
              <a:xfrm>
                <a:off x="5338898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5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8" y="0"/>
                      <a:pt x="0" y="5"/>
                      <a:pt x="0" y="11"/>
                    </a:cubicBezTo>
                    <a:cubicBezTo>
                      <a:pt x="0" y="17"/>
                      <a:pt x="6" y="22"/>
                      <a:pt x="15" y="22"/>
                    </a:cubicBezTo>
                    <a:cubicBezTo>
                      <a:pt x="24" y="22"/>
                      <a:pt x="31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4" name="iṡlíḑè">
                <a:extLst>
                  <a:ext uri="{FF2B5EF4-FFF2-40B4-BE49-F238E27FC236}">
                    <a16:creationId xmlns:a16="http://schemas.microsoft.com/office/drawing/2014/main" id="{6AE82365-F264-4D13-9266-D77975A171D8}"/>
                  </a:ext>
                </a:extLst>
              </p:cNvPr>
              <p:cNvSpPr/>
              <p:nvPr/>
            </p:nvSpPr>
            <p:spPr bwMode="auto">
              <a:xfrm>
                <a:off x="5477763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7 w 32"/>
                  <a:gd name="T3" fmla="*/ 0 h 22"/>
                  <a:gd name="T4" fmla="*/ 1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5" name="îṡḷíḋé">
                <a:extLst>
                  <a:ext uri="{FF2B5EF4-FFF2-40B4-BE49-F238E27FC236}">
                    <a16:creationId xmlns:a16="http://schemas.microsoft.com/office/drawing/2014/main" id="{99A1500B-1B3B-4ED8-9352-DCBE30761F4E}"/>
                  </a:ext>
                </a:extLst>
              </p:cNvPr>
              <p:cNvSpPr/>
              <p:nvPr/>
            </p:nvSpPr>
            <p:spPr bwMode="auto">
              <a:xfrm>
                <a:off x="5619714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6" name="îśḻíḓè">
                <a:extLst>
                  <a:ext uri="{FF2B5EF4-FFF2-40B4-BE49-F238E27FC236}">
                    <a16:creationId xmlns:a16="http://schemas.microsoft.com/office/drawing/2014/main" id="{F3EF2181-20E1-4D2B-936F-8A09A39315C6}"/>
                  </a:ext>
                </a:extLst>
              </p:cNvPr>
              <p:cNvSpPr/>
              <p:nvPr/>
            </p:nvSpPr>
            <p:spPr bwMode="auto">
              <a:xfrm>
                <a:off x="5763207" y="2714528"/>
                <a:ext cx="115721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7" name="ísliḋè">
                <a:extLst>
                  <a:ext uri="{FF2B5EF4-FFF2-40B4-BE49-F238E27FC236}">
                    <a16:creationId xmlns:a16="http://schemas.microsoft.com/office/drawing/2014/main" id="{724597EA-3F94-4CCA-9A09-E79558DBB520}"/>
                  </a:ext>
                </a:extLst>
              </p:cNvPr>
              <p:cNvSpPr/>
              <p:nvPr/>
            </p:nvSpPr>
            <p:spPr bwMode="auto">
              <a:xfrm>
                <a:off x="5044194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8 w 33"/>
                  <a:gd name="T3" fmla="*/ 0 h 22"/>
                  <a:gd name="T4" fmla="*/ 1 w 33"/>
                  <a:gd name="T5" fmla="*/ 11 h 22"/>
                  <a:gd name="T6" fmla="*/ 16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3" y="5"/>
                      <a:pt x="27" y="0"/>
                      <a:pt x="18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8" name="îṩḷíḓê">
                <a:extLst>
                  <a:ext uri="{FF2B5EF4-FFF2-40B4-BE49-F238E27FC236}">
                    <a16:creationId xmlns:a16="http://schemas.microsoft.com/office/drawing/2014/main" id="{C322754F-DAFC-4BE0-AC6D-55EAE2FAF513}"/>
                  </a:ext>
                </a:extLst>
              </p:cNvPr>
              <p:cNvSpPr/>
              <p:nvPr/>
            </p:nvSpPr>
            <p:spPr bwMode="auto">
              <a:xfrm>
                <a:off x="5186145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8 w 33"/>
                  <a:gd name="T3" fmla="*/ 0 h 22"/>
                  <a:gd name="T4" fmla="*/ 1 w 33"/>
                  <a:gd name="T5" fmla="*/ 11 h 22"/>
                  <a:gd name="T6" fmla="*/ 16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3" y="5"/>
                      <a:pt x="27" y="0"/>
                      <a:pt x="18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3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9" name="í$lidé">
                <a:extLst>
                  <a:ext uri="{FF2B5EF4-FFF2-40B4-BE49-F238E27FC236}">
                    <a16:creationId xmlns:a16="http://schemas.microsoft.com/office/drawing/2014/main" id="{FE73EAF4-C935-4889-BDC7-AA279E7180D5}"/>
                  </a:ext>
                </a:extLst>
              </p:cNvPr>
              <p:cNvSpPr/>
              <p:nvPr/>
            </p:nvSpPr>
            <p:spPr bwMode="auto">
              <a:xfrm>
                <a:off x="5332726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7 w 33"/>
                  <a:gd name="T3" fmla="*/ 0 h 22"/>
                  <a:gd name="T4" fmla="*/ 0 w 33"/>
                  <a:gd name="T5" fmla="*/ 11 h 22"/>
                  <a:gd name="T6" fmla="*/ 16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4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0" name="íSļîḋe">
                <a:extLst>
                  <a:ext uri="{FF2B5EF4-FFF2-40B4-BE49-F238E27FC236}">
                    <a16:creationId xmlns:a16="http://schemas.microsoft.com/office/drawing/2014/main" id="{E75F169C-EE14-45E3-9294-0D19F59801E6}"/>
                  </a:ext>
                </a:extLst>
              </p:cNvPr>
              <p:cNvSpPr/>
              <p:nvPr/>
            </p:nvSpPr>
            <p:spPr bwMode="auto">
              <a:xfrm>
                <a:off x="5474677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7 w 33"/>
                  <a:gd name="T3" fmla="*/ 0 h 22"/>
                  <a:gd name="T4" fmla="*/ 0 w 33"/>
                  <a:gd name="T5" fmla="*/ 11 h 22"/>
                  <a:gd name="T6" fmla="*/ 16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1" name="išľîḍè">
                <a:extLst>
                  <a:ext uri="{FF2B5EF4-FFF2-40B4-BE49-F238E27FC236}">
                    <a16:creationId xmlns:a16="http://schemas.microsoft.com/office/drawing/2014/main" id="{266D2AF2-18AA-4A9D-AEDE-2260187DAF76}"/>
                  </a:ext>
                </a:extLst>
              </p:cNvPr>
              <p:cNvSpPr/>
              <p:nvPr/>
            </p:nvSpPr>
            <p:spPr bwMode="auto">
              <a:xfrm>
                <a:off x="5616628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7 w 33"/>
                  <a:gd name="T3" fmla="*/ 0 h 22"/>
                  <a:gd name="T4" fmla="*/ 1 w 33"/>
                  <a:gd name="T5" fmla="*/ 11 h 22"/>
                  <a:gd name="T6" fmla="*/ 16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2" name="iSlïḓê">
                <a:extLst>
                  <a:ext uri="{FF2B5EF4-FFF2-40B4-BE49-F238E27FC236}">
                    <a16:creationId xmlns:a16="http://schemas.microsoft.com/office/drawing/2014/main" id="{EB43AF60-791B-429F-8958-22BAF586BD13}"/>
                  </a:ext>
                </a:extLst>
              </p:cNvPr>
              <p:cNvSpPr/>
              <p:nvPr/>
            </p:nvSpPr>
            <p:spPr bwMode="auto">
              <a:xfrm>
                <a:off x="5763207" y="2810191"/>
                <a:ext cx="115721" cy="802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3" name="iş1ïḓe">
                <a:extLst>
                  <a:ext uri="{FF2B5EF4-FFF2-40B4-BE49-F238E27FC236}">
                    <a16:creationId xmlns:a16="http://schemas.microsoft.com/office/drawing/2014/main" id="{D2E21CB8-F712-4CA5-BA7B-3A3217324E43}"/>
                  </a:ext>
                </a:extLst>
              </p:cNvPr>
              <p:cNvSpPr/>
              <p:nvPr/>
            </p:nvSpPr>
            <p:spPr bwMode="auto">
              <a:xfrm>
                <a:off x="5905159" y="2810191"/>
                <a:ext cx="115721" cy="802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4" name="î$ļïdê">
                <a:extLst>
                  <a:ext uri="{FF2B5EF4-FFF2-40B4-BE49-F238E27FC236}">
                    <a16:creationId xmlns:a16="http://schemas.microsoft.com/office/drawing/2014/main" id="{79150939-475F-41C3-813D-AFC38099D53D}"/>
                  </a:ext>
                </a:extLst>
              </p:cNvPr>
              <p:cNvSpPr/>
              <p:nvPr/>
            </p:nvSpPr>
            <p:spPr bwMode="auto">
              <a:xfrm>
                <a:off x="6047110" y="2810191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7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8" y="22"/>
                      <a:pt x="17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5" name="íṣlidé">
                <a:extLst>
                  <a:ext uri="{FF2B5EF4-FFF2-40B4-BE49-F238E27FC236}">
                    <a16:creationId xmlns:a16="http://schemas.microsoft.com/office/drawing/2014/main" id="{9930DEB6-DED7-4846-99D2-8248C58C4860}"/>
                  </a:ext>
                </a:extLst>
              </p:cNvPr>
              <p:cNvSpPr/>
              <p:nvPr/>
            </p:nvSpPr>
            <p:spPr bwMode="auto">
              <a:xfrm>
                <a:off x="6189061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6 w 33"/>
                  <a:gd name="T3" fmla="*/ 0 h 22"/>
                  <a:gd name="T4" fmla="*/ 0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6" name="ïŝḻiďè">
                <a:extLst>
                  <a:ext uri="{FF2B5EF4-FFF2-40B4-BE49-F238E27FC236}">
                    <a16:creationId xmlns:a16="http://schemas.microsoft.com/office/drawing/2014/main" id="{A49F3198-D721-42E4-AE58-7921D5AA30CE}"/>
                  </a:ext>
                </a:extLst>
              </p:cNvPr>
              <p:cNvSpPr/>
              <p:nvPr/>
            </p:nvSpPr>
            <p:spPr bwMode="auto">
              <a:xfrm>
                <a:off x="6332555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6 w 33"/>
                  <a:gd name="T3" fmla="*/ 0 h 22"/>
                  <a:gd name="T4" fmla="*/ 0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7" name="ïş1íḋê">
                <a:extLst>
                  <a:ext uri="{FF2B5EF4-FFF2-40B4-BE49-F238E27FC236}">
                    <a16:creationId xmlns:a16="http://schemas.microsoft.com/office/drawing/2014/main" id="{37F97A0A-3503-4299-810C-68BA40E47D87}"/>
                  </a:ext>
                </a:extLst>
              </p:cNvPr>
              <p:cNvSpPr/>
              <p:nvPr/>
            </p:nvSpPr>
            <p:spPr bwMode="auto">
              <a:xfrm>
                <a:off x="6474506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6 w 33"/>
                  <a:gd name="T3" fmla="*/ 0 h 22"/>
                  <a:gd name="T4" fmla="*/ 1 w 33"/>
                  <a:gd name="T5" fmla="*/ 11 h 22"/>
                  <a:gd name="T6" fmla="*/ 18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7"/>
                      <a:pt x="9" y="22"/>
                      <a:pt x="18" y="22"/>
                    </a:cubicBezTo>
                    <a:cubicBezTo>
                      <a:pt x="27" y="22"/>
                      <a:pt x="33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8" name="îśļîde">
                <a:extLst>
                  <a:ext uri="{FF2B5EF4-FFF2-40B4-BE49-F238E27FC236}">
                    <a16:creationId xmlns:a16="http://schemas.microsoft.com/office/drawing/2014/main" id="{DFB7FA74-EB83-421E-9FB5-001CAF8A8C39}"/>
                  </a:ext>
                </a:extLst>
              </p:cNvPr>
              <p:cNvSpPr/>
              <p:nvPr/>
            </p:nvSpPr>
            <p:spPr bwMode="auto">
              <a:xfrm>
                <a:off x="4886814" y="2907397"/>
                <a:ext cx="123436" cy="84863"/>
              </a:xfrm>
              <a:custGeom>
                <a:avLst/>
                <a:gdLst>
                  <a:gd name="T0" fmla="*/ 34 w 34"/>
                  <a:gd name="T1" fmla="*/ 11 h 23"/>
                  <a:gd name="T2" fmla="*/ 19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8" y="0"/>
                      <a:pt x="19" y="0"/>
                    </a:cubicBezTo>
                    <a:cubicBezTo>
                      <a:pt x="10" y="0"/>
                      <a:pt x="2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9" name="îṥľíďe">
                <a:extLst>
                  <a:ext uri="{FF2B5EF4-FFF2-40B4-BE49-F238E27FC236}">
                    <a16:creationId xmlns:a16="http://schemas.microsoft.com/office/drawing/2014/main" id="{9A0D09DB-32D8-4CD1-B029-5CF32F2E20C8}"/>
                  </a:ext>
                </a:extLst>
              </p:cNvPr>
              <p:cNvSpPr/>
              <p:nvPr/>
            </p:nvSpPr>
            <p:spPr bwMode="auto">
              <a:xfrm>
                <a:off x="5033394" y="2907397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0" name="í$ḷíḍê">
                <a:extLst>
                  <a:ext uri="{FF2B5EF4-FFF2-40B4-BE49-F238E27FC236}">
                    <a16:creationId xmlns:a16="http://schemas.microsoft.com/office/drawing/2014/main" id="{BA76DC58-2617-461B-9541-C4ED79B78A53}"/>
                  </a:ext>
                </a:extLst>
              </p:cNvPr>
              <p:cNvSpPr/>
              <p:nvPr/>
            </p:nvSpPr>
            <p:spPr bwMode="auto">
              <a:xfrm>
                <a:off x="5178431" y="2907397"/>
                <a:ext cx="124979" cy="84863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1" name="işḻîdê">
                <a:extLst>
                  <a:ext uri="{FF2B5EF4-FFF2-40B4-BE49-F238E27FC236}">
                    <a16:creationId xmlns:a16="http://schemas.microsoft.com/office/drawing/2014/main" id="{4D8DF3C3-12B0-4322-8B4D-741790BCA6B8}"/>
                  </a:ext>
                </a:extLst>
              </p:cNvPr>
              <p:cNvSpPr/>
              <p:nvPr/>
            </p:nvSpPr>
            <p:spPr bwMode="auto">
              <a:xfrm>
                <a:off x="5325011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0 w 33"/>
                  <a:gd name="T5" fmla="*/ 11 h 23"/>
                  <a:gd name="T6" fmla="*/ 16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2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2" name="ïş1îďê">
                <a:extLst>
                  <a:ext uri="{FF2B5EF4-FFF2-40B4-BE49-F238E27FC236}">
                    <a16:creationId xmlns:a16="http://schemas.microsoft.com/office/drawing/2014/main" id="{79AC920D-C1F2-4372-A056-C3A92119D89B}"/>
                  </a:ext>
                </a:extLst>
              </p:cNvPr>
              <p:cNvSpPr/>
              <p:nvPr/>
            </p:nvSpPr>
            <p:spPr bwMode="auto">
              <a:xfrm>
                <a:off x="5470048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0 w 33"/>
                  <a:gd name="T5" fmla="*/ 11 h 23"/>
                  <a:gd name="T6" fmla="*/ 16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2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3" name="iśḻïḋê">
                <a:extLst>
                  <a:ext uri="{FF2B5EF4-FFF2-40B4-BE49-F238E27FC236}">
                    <a16:creationId xmlns:a16="http://schemas.microsoft.com/office/drawing/2014/main" id="{11F08AEB-F0D6-4761-8628-41C1797948ED}"/>
                  </a:ext>
                </a:extLst>
              </p:cNvPr>
              <p:cNvSpPr/>
              <p:nvPr/>
            </p:nvSpPr>
            <p:spPr bwMode="auto">
              <a:xfrm>
                <a:off x="5616628" y="2907397"/>
                <a:ext cx="117264" cy="8486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4" name="íŝļiḓè">
                <a:extLst>
                  <a:ext uri="{FF2B5EF4-FFF2-40B4-BE49-F238E27FC236}">
                    <a16:creationId xmlns:a16="http://schemas.microsoft.com/office/drawing/2014/main" id="{BE2157D7-9752-440F-AA10-5BE014492C8D}"/>
                  </a:ext>
                </a:extLst>
              </p:cNvPr>
              <p:cNvSpPr/>
              <p:nvPr/>
            </p:nvSpPr>
            <p:spPr bwMode="auto">
              <a:xfrm>
                <a:off x="5758579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1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1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5" name="íṡḷïḑé">
                <a:extLst>
                  <a:ext uri="{FF2B5EF4-FFF2-40B4-BE49-F238E27FC236}">
                    <a16:creationId xmlns:a16="http://schemas.microsoft.com/office/drawing/2014/main" id="{F03EC6E8-C9B1-4F69-9A6F-16ECDAC3C2B7}"/>
                  </a:ext>
                </a:extLst>
              </p:cNvPr>
              <p:cNvSpPr/>
              <p:nvPr/>
            </p:nvSpPr>
            <p:spPr bwMode="auto">
              <a:xfrm>
                <a:off x="5905159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6" name="îṡľiḋè">
                <a:extLst>
                  <a:ext uri="{FF2B5EF4-FFF2-40B4-BE49-F238E27FC236}">
                    <a16:creationId xmlns:a16="http://schemas.microsoft.com/office/drawing/2014/main" id="{4AF94AF0-A74B-408C-B4F5-4DC7EFC027D6}"/>
                  </a:ext>
                </a:extLst>
              </p:cNvPr>
              <p:cNvSpPr/>
              <p:nvPr/>
            </p:nvSpPr>
            <p:spPr bwMode="auto">
              <a:xfrm>
                <a:off x="6050195" y="2907397"/>
                <a:ext cx="120350" cy="84863"/>
              </a:xfrm>
              <a:custGeom>
                <a:avLst/>
                <a:gdLst>
                  <a:gd name="T0" fmla="*/ 32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2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7" name="ï$lîḑe">
                <a:extLst>
                  <a:ext uri="{FF2B5EF4-FFF2-40B4-BE49-F238E27FC236}">
                    <a16:creationId xmlns:a16="http://schemas.microsoft.com/office/drawing/2014/main" id="{2E68E4E8-35BD-43C1-BBB0-07825B39C52D}"/>
                  </a:ext>
                </a:extLst>
              </p:cNvPr>
              <p:cNvSpPr/>
              <p:nvPr/>
            </p:nvSpPr>
            <p:spPr bwMode="auto">
              <a:xfrm>
                <a:off x="6193690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1 w 33"/>
                  <a:gd name="T5" fmla="*/ 11 h 23"/>
                  <a:gd name="T6" fmla="*/ 18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8" name="işļîḍé">
                <a:extLst>
                  <a:ext uri="{FF2B5EF4-FFF2-40B4-BE49-F238E27FC236}">
                    <a16:creationId xmlns:a16="http://schemas.microsoft.com/office/drawing/2014/main" id="{F6B1BE79-D5C6-4B33-84AB-15753487537C}"/>
                  </a:ext>
                </a:extLst>
              </p:cNvPr>
              <p:cNvSpPr/>
              <p:nvPr/>
            </p:nvSpPr>
            <p:spPr bwMode="auto">
              <a:xfrm>
                <a:off x="6338727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9" name="iṣ1ïdé">
                <a:extLst>
                  <a:ext uri="{FF2B5EF4-FFF2-40B4-BE49-F238E27FC236}">
                    <a16:creationId xmlns:a16="http://schemas.microsoft.com/office/drawing/2014/main" id="{B5700A4F-583D-4A49-93A4-00F605A703B1}"/>
                  </a:ext>
                </a:extLst>
              </p:cNvPr>
              <p:cNvSpPr/>
              <p:nvPr/>
            </p:nvSpPr>
            <p:spPr bwMode="auto">
              <a:xfrm>
                <a:off x="6485306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5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0" y="11"/>
                    </a:cubicBezTo>
                    <a:cubicBezTo>
                      <a:pt x="1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0" name="işlíḋê">
                <a:extLst>
                  <a:ext uri="{FF2B5EF4-FFF2-40B4-BE49-F238E27FC236}">
                    <a16:creationId xmlns:a16="http://schemas.microsoft.com/office/drawing/2014/main" id="{04B9B65E-E032-467B-B51F-B88D76FA71C1}"/>
                  </a:ext>
                </a:extLst>
              </p:cNvPr>
              <p:cNvSpPr/>
              <p:nvPr/>
            </p:nvSpPr>
            <p:spPr bwMode="auto">
              <a:xfrm>
                <a:off x="4876014" y="3010774"/>
                <a:ext cx="123436" cy="83319"/>
              </a:xfrm>
              <a:custGeom>
                <a:avLst/>
                <a:gdLst>
                  <a:gd name="T0" fmla="*/ 34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8" y="0"/>
                      <a:pt x="18" y="0"/>
                    </a:cubicBezTo>
                    <a:cubicBezTo>
                      <a:pt x="9" y="0"/>
                      <a:pt x="1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1" name="iSľíďé">
                <a:extLst>
                  <a:ext uri="{FF2B5EF4-FFF2-40B4-BE49-F238E27FC236}">
                    <a16:creationId xmlns:a16="http://schemas.microsoft.com/office/drawing/2014/main" id="{D625ED17-FC81-4EA0-83A4-FB21865F033D}"/>
                  </a:ext>
                </a:extLst>
              </p:cNvPr>
              <p:cNvSpPr/>
              <p:nvPr/>
            </p:nvSpPr>
            <p:spPr bwMode="auto">
              <a:xfrm>
                <a:off x="5022593" y="3010774"/>
                <a:ext cx="123436" cy="83319"/>
              </a:xfrm>
              <a:custGeom>
                <a:avLst/>
                <a:gdLst>
                  <a:gd name="T0" fmla="*/ 34 w 34"/>
                  <a:gd name="T1" fmla="*/ 11 h 23"/>
                  <a:gd name="T2" fmla="*/ 19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8" y="0"/>
                      <a:pt x="19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2" name="íš1îdê">
                <a:extLst>
                  <a:ext uri="{FF2B5EF4-FFF2-40B4-BE49-F238E27FC236}">
                    <a16:creationId xmlns:a16="http://schemas.microsoft.com/office/drawing/2014/main" id="{57D2E1FD-90A0-4C3D-A731-429B3E2C17DA}"/>
                  </a:ext>
                </a:extLst>
              </p:cNvPr>
              <p:cNvSpPr/>
              <p:nvPr/>
            </p:nvSpPr>
            <p:spPr bwMode="auto">
              <a:xfrm>
                <a:off x="5170716" y="3010774"/>
                <a:ext cx="124979" cy="83319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0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3" name="îš1ídé">
                <a:extLst>
                  <a:ext uri="{FF2B5EF4-FFF2-40B4-BE49-F238E27FC236}">
                    <a16:creationId xmlns:a16="http://schemas.microsoft.com/office/drawing/2014/main" id="{15D69427-FC9A-4937-A88B-96F6C040A963}"/>
                  </a:ext>
                </a:extLst>
              </p:cNvPr>
              <p:cNvSpPr/>
              <p:nvPr/>
            </p:nvSpPr>
            <p:spPr bwMode="auto">
              <a:xfrm>
                <a:off x="5317296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0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4" name="ïŝḻiḓê">
                <a:extLst>
                  <a:ext uri="{FF2B5EF4-FFF2-40B4-BE49-F238E27FC236}">
                    <a16:creationId xmlns:a16="http://schemas.microsoft.com/office/drawing/2014/main" id="{2C288EE1-176B-4180-B62E-F33ED3B15783}"/>
                  </a:ext>
                </a:extLst>
              </p:cNvPr>
              <p:cNvSpPr/>
              <p:nvPr/>
            </p:nvSpPr>
            <p:spPr bwMode="auto">
              <a:xfrm>
                <a:off x="5463876" y="3010774"/>
                <a:ext cx="123436" cy="83319"/>
              </a:xfrm>
              <a:custGeom>
                <a:avLst/>
                <a:gdLst>
                  <a:gd name="T0" fmla="*/ 34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7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1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5" name="îṧľïdè">
                <a:extLst>
                  <a:ext uri="{FF2B5EF4-FFF2-40B4-BE49-F238E27FC236}">
                    <a16:creationId xmlns:a16="http://schemas.microsoft.com/office/drawing/2014/main" id="{6F3BF9E5-D6C2-4C58-A42C-9891F4DFB236}"/>
                  </a:ext>
                </a:extLst>
              </p:cNvPr>
              <p:cNvSpPr/>
              <p:nvPr/>
            </p:nvSpPr>
            <p:spPr bwMode="auto">
              <a:xfrm>
                <a:off x="5613542" y="3010774"/>
                <a:ext cx="120350" cy="83319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0 w 33"/>
                  <a:gd name="T5" fmla="*/ 11 h 23"/>
                  <a:gd name="T6" fmla="*/ 16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6" name="iṡḻíḍé">
                <a:extLst>
                  <a:ext uri="{FF2B5EF4-FFF2-40B4-BE49-F238E27FC236}">
                    <a16:creationId xmlns:a16="http://schemas.microsoft.com/office/drawing/2014/main" id="{1F8471E8-A4C8-43DA-886A-969EB9A2FAE8}"/>
                  </a:ext>
                </a:extLst>
              </p:cNvPr>
              <p:cNvSpPr/>
              <p:nvPr/>
            </p:nvSpPr>
            <p:spPr bwMode="auto">
              <a:xfrm>
                <a:off x="5758579" y="3010774"/>
                <a:ext cx="120350" cy="8331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7" name="îŝ1iḍè">
                <a:extLst>
                  <a:ext uri="{FF2B5EF4-FFF2-40B4-BE49-F238E27FC236}">
                    <a16:creationId xmlns:a16="http://schemas.microsoft.com/office/drawing/2014/main" id="{DAAB054E-6E04-4861-9571-0F639B329D8E}"/>
                  </a:ext>
                </a:extLst>
              </p:cNvPr>
              <p:cNvSpPr/>
              <p:nvPr/>
            </p:nvSpPr>
            <p:spPr bwMode="auto">
              <a:xfrm>
                <a:off x="5905159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7 w 34"/>
                  <a:gd name="T3" fmla="*/ 0 h 23"/>
                  <a:gd name="T4" fmla="*/ 1 w 34"/>
                  <a:gd name="T5" fmla="*/ 11 h 23"/>
                  <a:gd name="T6" fmla="*/ 17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1" y="11"/>
                    </a:cubicBezTo>
                    <a:cubicBezTo>
                      <a:pt x="1" y="18"/>
                      <a:pt x="8" y="23"/>
                      <a:pt x="17" y="23"/>
                    </a:cubicBezTo>
                    <a:cubicBezTo>
                      <a:pt x="26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8" name="îṩļiḍe">
                <a:extLst>
                  <a:ext uri="{FF2B5EF4-FFF2-40B4-BE49-F238E27FC236}">
                    <a16:creationId xmlns:a16="http://schemas.microsoft.com/office/drawing/2014/main" id="{1E9D3BD8-BC7B-4227-B459-486CC795775E}"/>
                  </a:ext>
                </a:extLst>
              </p:cNvPr>
              <p:cNvSpPr/>
              <p:nvPr/>
            </p:nvSpPr>
            <p:spPr bwMode="auto">
              <a:xfrm>
                <a:off x="6054825" y="3010774"/>
                <a:ext cx="120350" cy="83319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9" name="îŝḻîḑé">
                <a:extLst>
                  <a:ext uri="{FF2B5EF4-FFF2-40B4-BE49-F238E27FC236}">
                    <a16:creationId xmlns:a16="http://schemas.microsoft.com/office/drawing/2014/main" id="{6300918B-8689-4DB9-863A-515F256E020D}"/>
                  </a:ext>
                </a:extLst>
              </p:cNvPr>
              <p:cNvSpPr/>
              <p:nvPr/>
            </p:nvSpPr>
            <p:spPr bwMode="auto">
              <a:xfrm>
                <a:off x="6199862" y="3010774"/>
                <a:ext cx="120350" cy="83319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0" name="ïSlíḓe">
                <a:extLst>
                  <a:ext uri="{FF2B5EF4-FFF2-40B4-BE49-F238E27FC236}">
                    <a16:creationId xmlns:a16="http://schemas.microsoft.com/office/drawing/2014/main" id="{B2C40B8A-AAF8-4640-B62C-D702572CABBF}"/>
                  </a:ext>
                </a:extLst>
              </p:cNvPr>
              <p:cNvSpPr/>
              <p:nvPr/>
            </p:nvSpPr>
            <p:spPr bwMode="auto">
              <a:xfrm>
                <a:off x="6346441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6 w 34"/>
                  <a:gd name="T3" fmla="*/ 0 h 23"/>
                  <a:gd name="T4" fmla="*/ 0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1" name="iṩḻîḑé">
                <a:extLst>
                  <a:ext uri="{FF2B5EF4-FFF2-40B4-BE49-F238E27FC236}">
                    <a16:creationId xmlns:a16="http://schemas.microsoft.com/office/drawing/2014/main" id="{44328FE4-26BC-4396-AE06-69D0D86E3A4A}"/>
                  </a:ext>
                </a:extLst>
              </p:cNvPr>
              <p:cNvSpPr/>
              <p:nvPr/>
            </p:nvSpPr>
            <p:spPr bwMode="auto">
              <a:xfrm>
                <a:off x="6493022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6 w 34"/>
                  <a:gd name="T3" fmla="*/ 0 h 23"/>
                  <a:gd name="T4" fmla="*/ 1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2" name="i$ľíḓè">
                <a:extLst>
                  <a:ext uri="{FF2B5EF4-FFF2-40B4-BE49-F238E27FC236}">
                    <a16:creationId xmlns:a16="http://schemas.microsoft.com/office/drawing/2014/main" id="{0C1F9A70-8386-4275-B9B5-661EAA59DD9C}"/>
                  </a:ext>
                </a:extLst>
              </p:cNvPr>
              <p:cNvSpPr/>
              <p:nvPr/>
            </p:nvSpPr>
            <p:spPr bwMode="auto">
              <a:xfrm>
                <a:off x="4860584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9 w 35"/>
                  <a:gd name="T3" fmla="*/ 0 h 24"/>
                  <a:gd name="T4" fmla="*/ 1 w 35"/>
                  <a:gd name="T5" fmla="*/ 12 h 24"/>
                  <a:gd name="T6" fmla="*/ 16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5" y="6"/>
                      <a:pt x="28" y="0"/>
                      <a:pt x="19" y="0"/>
                    </a:cubicBezTo>
                    <a:cubicBezTo>
                      <a:pt x="10" y="0"/>
                      <a:pt x="2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3" name="îšľíḍè">
                <a:extLst>
                  <a:ext uri="{FF2B5EF4-FFF2-40B4-BE49-F238E27FC236}">
                    <a16:creationId xmlns:a16="http://schemas.microsoft.com/office/drawing/2014/main" id="{553AD329-9A10-4194-890B-EEC7A788F0E3}"/>
                  </a:ext>
                </a:extLst>
              </p:cNvPr>
              <p:cNvSpPr/>
              <p:nvPr/>
            </p:nvSpPr>
            <p:spPr bwMode="auto">
              <a:xfrm>
                <a:off x="5010250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9 w 35"/>
                  <a:gd name="T3" fmla="*/ 0 h 24"/>
                  <a:gd name="T4" fmla="*/ 1 w 35"/>
                  <a:gd name="T5" fmla="*/ 12 h 24"/>
                  <a:gd name="T6" fmla="*/ 16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5" y="6"/>
                      <a:pt x="28" y="0"/>
                      <a:pt x="19" y="0"/>
                    </a:cubicBezTo>
                    <a:cubicBezTo>
                      <a:pt x="10" y="0"/>
                      <a:pt x="2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4" name="íṥľidè">
                <a:extLst>
                  <a:ext uri="{FF2B5EF4-FFF2-40B4-BE49-F238E27FC236}">
                    <a16:creationId xmlns:a16="http://schemas.microsoft.com/office/drawing/2014/main" id="{4C093826-2C50-44EB-9642-9FB1E99884CB}"/>
                  </a:ext>
                </a:extLst>
              </p:cNvPr>
              <p:cNvSpPr/>
              <p:nvPr/>
            </p:nvSpPr>
            <p:spPr bwMode="auto">
              <a:xfrm>
                <a:off x="5159916" y="3112609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8 w 34"/>
                  <a:gd name="T3" fmla="*/ 0 h 24"/>
                  <a:gd name="T4" fmla="*/ 1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7" y="0"/>
                      <a:pt x="18" y="0"/>
                    </a:cubicBezTo>
                    <a:cubicBezTo>
                      <a:pt x="9" y="0"/>
                      <a:pt x="1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5" name="íṥḷíḑè">
                <a:extLst>
                  <a:ext uri="{FF2B5EF4-FFF2-40B4-BE49-F238E27FC236}">
                    <a16:creationId xmlns:a16="http://schemas.microsoft.com/office/drawing/2014/main" id="{978B6BBB-B48A-475D-87B1-DDE1BA34BE5D}"/>
                  </a:ext>
                </a:extLst>
              </p:cNvPr>
              <p:cNvSpPr/>
              <p:nvPr/>
            </p:nvSpPr>
            <p:spPr bwMode="auto">
              <a:xfrm>
                <a:off x="5309581" y="3112609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8 w 34"/>
                  <a:gd name="T3" fmla="*/ 0 h 24"/>
                  <a:gd name="T4" fmla="*/ 1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7" y="0"/>
                      <a:pt x="18" y="0"/>
                    </a:cubicBezTo>
                    <a:cubicBezTo>
                      <a:pt x="9" y="0"/>
                      <a:pt x="1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6" name="íṡ1iḓê">
                <a:extLst>
                  <a:ext uri="{FF2B5EF4-FFF2-40B4-BE49-F238E27FC236}">
                    <a16:creationId xmlns:a16="http://schemas.microsoft.com/office/drawing/2014/main" id="{F7AC6492-143E-48CE-9396-8A2A9AA0B1D3}"/>
                  </a:ext>
                </a:extLst>
              </p:cNvPr>
              <p:cNvSpPr/>
              <p:nvPr/>
            </p:nvSpPr>
            <p:spPr bwMode="auto">
              <a:xfrm>
                <a:off x="5459247" y="3112609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7" y="0"/>
                      <a:pt x="17" y="0"/>
                    </a:cubicBezTo>
                    <a:cubicBezTo>
                      <a:pt x="8" y="0"/>
                      <a:pt x="1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7" name="îšḻïde">
                <a:extLst>
                  <a:ext uri="{FF2B5EF4-FFF2-40B4-BE49-F238E27FC236}">
                    <a16:creationId xmlns:a16="http://schemas.microsoft.com/office/drawing/2014/main" id="{83E4B8C0-C255-4C33-BC11-49D936A38AA2}"/>
                  </a:ext>
                </a:extLst>
              </p:cNvPr>
              <p:cNvSpPr/>
              <p:nvPr/>
            </p:nvSpPr>
            <p:spPr bwMode="auto">
              <a:xfrm>
                <a:off x="5608913" y="3112609"/>
                <a:ext cx="124979" cy="87948"/>
              </a:xfrm>
              <a:custGeom>
                <a:avLst/>
                <a:gdLst>
                  <a:gd name="T0" fmla="*/ 33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3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3" y="12"/>
                    </a:moveTo>
                    <a:cubicBezTo>
                      <a:pt x="34" y="6"/>
                      <a:pt x="26" y="0"/>
                      <a:pt x="17" y="0"/>
                    </a:cubicBezTo>
                    <a:cubicBezTo>
                      <a:pt x="8" y="0"/>
                      <a:pt x="0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8" name="î$1îďé">
                <a:extLst>
                  <a:ext uri="{FF2B5EF4-FFF2-40B4-BE49-F238E27FC236}">
                    <a16:creationId xmlns:a16="http://schemas.microsoft.com/office/drawing/2014/main" id="{52A8E640-FF3A-47DA-A94F-8CD76B9E3E4C}"/>
                  </a:ext>
                </a:extLst>
              </p:cNvPr>
              <p:cNvSpPr/>
              <p:nvPr/>
            </p:nvSpPr>
            <p:spPr bwMode="auto">
              <a:xfrm>
                <a:off x="5758579" y="3112609"/>
                <a:ext cx="120350" cy="87948"/>
              </a:xfrm>
              <a:custGeom>
                <a:avLst/>
                <a:gdLst>
                  <a:gd name="T0" fmla="*/ 33 w 33"/>
                  <a:gd name="T1" fmla="*/ 12 h 24"/>
                  <a:gd name="T2" fmla="*/ 17 w 33"/>
                  <a:gd name="T3" fmla="*/ 0 h 24"/>
                  <a:gd name="T4" fmla="*/ 0 w 33"/>
                  <a:gd name="T5" fmla="*/ 12 h 24"/>
                  <a:gd name="T6" fmla="*/ 17 w 33"/>
                  <a:gd name="T7" fmla="*/ 24 h 24"/>
                  <a:gd name="T8" fmla="*/ 33 w 33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4">
                    <a:moveTo>
                      <a:pt x="33" y="12"/>
                    </a:moveTo>
                    <a:cubicBezTo>
                      <a:pt x="33" y="6"/>
                      <a:pt x="26" y="0"/>
                      <a:pt x="17" y="0"/>
                    </a:cubicBezTo>
                    <a:cubicBezTo>
                      <a:pt x="8" y="0"/>
                      <a:pt x="0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9" name="iṡļide">
                <a:extLst>
                  <a:ext uri="{FF2B5EF4-FFF2-40B4-BE49-F238E27FC236}">
                    <a16:creationId xmlns:a16="http://schemas.microsoft.com/office/drawing/2014/main" id="{E1AF2A79-7C08-4FF9-9AC1-B3DE22CBDBEF}"/>
                  </a:ext>
                </a:extLst>
              </p:cNvPr>
              <p:cNvSpPr/>
              <p:nvPr/>
            </p:nvSpPr>
            <p:spPr bwMode="auto">
              <a:xfrm>
                <a:off x="5908244" y="3112609"/>
                <a:ext cx="120350" cy="87948"/>
              </a:xfrm>
              <a:custGeom>
                <a:avLst/>
                <a:gdLst>
                  <a:gd name="T0" fmla="*/ 33 w 33"/>
                  <a:gd name="T1" fmla="*/ 12 h 24"/>
                  <a:gd name="T2" fmla="*/ 16 w 33"/>
                  <a:gd name="T3" fmla="*/ 0 h 24"/>
                  <a:gd name="T4" fmla="*/ 0 w 33"/>
                  <a:gd name="T5" fmla="*/ 12 h 24"/>
                  <a:gd name="T6" fmla="*/ 17 w 33"/>
                  <a:gd name="T7" fmla="*/ 24 h 24"/>
                  <a:gd name="T8" fmla="*/ 33 w 33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4">
                    <a:moveTo>
                      <a:pt x="33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0" name="îSlîḋe">
                <a:extLst>
                  <a:ext uri="{FF2B5EF4-FFF2-40B4-BE49-F238E27FC236}">
                    <a16:creationId xmlns:a16="http://schemas.microsoft.com/office/drawing/2014/main" id="{73F3316B-53A6-446B-918A-B58EC6CB6A7F}"/>
                  </a:ext>
                </a:extLst>
              </p:cNvPr>
              <p:cNvSpPr/>
              <p:nvPr/>
            </p:nvSpPr>
            <p:spPr bwMode="auto">
              <a:xfrm>
                <a:off x="6054825" y="3112609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1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6" y="0"/>
                      <a:pt x="17" y="0"/>
                    </a:cubicBezTo>
                    <a:cubicBezTo>
                      <a:pt x="8" y="0"/>
                      <a:pt x="0" y="6"/>
                      <a:pt x="1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1" name="ïṥļidè">
                <a:extLst>
                  <a:ext uri="{FF2B5EF4-FFF2-40B4-BE49-F238E27FC236}">
                    <a16:creationId xmlns:a16="http://schemas.microsoft.com/office/drawing/2014/main" id="{C2F733BB-5D7F-4CF4-8DD6-77DEEE116274}"/>
                  </a:ext>
                </a:extLst>
              </p:cNvPr>
              <p:cNvSpPr/>
              <p:nvPr/>
            </p:nvSpPr>
            <p:spPr bwMode="auto">
              <a:xfrm>
                <a:off x="6204490" y="3112609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6"/>
                      <a:pt x="26" y="0"/>
                      <a:pt x="16" y="0"/>
                    </a:cubicBezTo>
                    <a:cubicBezTo>
                      <a:pt x="7" y="0"/>
                      <a:pt x="0" y="6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2" name="íṥ1íďé">
                <a:extLst>
                  <a:ext uri="{FF2B5EF4-FFF2-40B4-BE49-F238E27FC236}">
                    <a16:creationId xmlns:a16="http://schemas.microsoft.com/office/drawing/2014/main" id="{8DB3D64B-6FE8-41E9-ADB2-A3FE3BA4EE7E}"/>
                  </a:ext>
                </a:extLst>
              </p:cNvPr>
              <p:cNvSpPr/>
              <p:nvPr/>
            </p:nvSpPr>
            <p:spPr bwMode="auto">
              <a:xfrm>
                <a:off x="6354156" y="3112609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3" name="íṩľíḑê">
                <a:extLst>
                  <a:ext uri="{FF2B5EF4-FFF2-40B4-BE49-F238E27FC236}">
                    <a16:creationId xmlns:a16="http://schemas.microsoft.com/office/drawing/2014/main" id="{75715A00-644A-4BFD-8953-E43D436E92F5}"/>
                  </a:ext>
                </a:extLst>
              </p:cNvPr>
              <p:cNvSpPr/>
              <p:nvPr/>
            </p:nvSpPr>
            <p:spPr bwMode="auto">
              <a:xfrm>
                <a:off x="6503822" y="3112609"/>
                <a:ext cx="123436" cy="87948"/>
              </a:xfrm>
              <a:custGeom>
                <a:avLst/>
                <a:gdLst>
                  <a:gd name="T0" fmla="*/ 33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3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3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6" y="0"/>
                      <a:pt x="0" y="6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4" name="íşļiḋe">
                <a:extLst>
                  <a:ext uri="{FF2B5EF4-FFF2-40B4-BE49-F238E27FC236}">
                    <a16:creationId xmlns:a16="http://schemas.microsoft.com/office/drawing/2014/main" id="{A7FF894D-0024-4964-A7E3-BF290D1EBBBC}"/>
                  </a:ext>
                </a:extLst>
              </p:cNvPr>
              <p:cNvSpPr/>
              <p:nvPr/>
            </p:nvSpPr>
            <p:spPr bwMode="auto">
              <a:xfrm>
                <a:off x="6648859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5" name="ïṡlïḍé">
                <a:extLst>
                  <a:ext uri="{FF2B5EF4-FFF2-40B4-BE49-F238E27FC236}">
                    <a16:creationId xmlns:a16="http://schemas.microsoft.com/office/drawing/2014/main" id="{2C3202B8-E8F6-480E-8C2B-31890FC1B385}"/>
                  </a:ext>
                </a:extLst>
              </p:cNvPr>
              <p:cNvSpPr/>
              <p:nvPr/>
            </p:nvSpPr>
            <p:spPr bwMode="auto">
              <a:xfrm>
                <a:off x="4846697" y="3222158"/>
                <a:ext cx="131151" cy="87948"/>
              </a:xfrm>
              <a:custGeom>
                <a:avLst/>
                <a:gdLst>
                  <a:gd name="T0" fmla="*/ 35 w 36"/>
                  <a:gd name="T1" fmla="*/ 12 h 24"/>
                  <a:gd name="T2" fmla="*/ 20 w 36"/>
                  <a:gd name="T3" fmla="*/ 0 h 24"/>
                  <a:gd name="T4" fmla="*/ 1 w 36"/>
                  <a:gd name="T5" fmla="*/ 12 h 24"/>
                  <a:gd name="T6" fmla="*/ 17 w 36"/>
                  <a:gd name="T7" fmla="*/ 24 h 24"/>
                  <a:gd name="T8" fmla="*/ 35 w 36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">
                    <a:moveTo>
                      <a:pt x="35" y="12"/>
                    </a:moveTo>
                    <a:cubicBezTo>
                      <a:pt x="36" y="5"/>
                      <a:pt x="29" y="0"/>
                      <a:pt x="20" y="0"/>
                    </a:cubicBezTo>
                    <a:cubicBezTo>
                      <a:pt x="10" y="0"/>
                      <a:pt x="2" y="5"/>
                      <a:pt x="1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6" name="îSļïďè">
                <a:extLst>
                  <a:ext uri="{FF2B5EF4-FFF2-40B4-BE49-F238E27FC236}">
                    <a16:creationId xmlns:a16="http://schemas.microsoft.com/office/drawing/2014/main" id="{59330754-BF78-4290-9C53-789ED2F5B642}"/>
                  </a:ext>
                </a:extLst>
              </p:cNvPr>
              <p:cNvSpPr/>
              <p:nvPr/>
            </p:nvSpPr>
            <p:spPr bwMode="auto">
              <a:xfrm>
                <a:off x="4999449" y="3222158"/>
                <a:ext cx="128065" cy="87948"/>
              </a:xfrm>
              <a:custGeom>
                <a:avLst/>
                <a:gdLst>
                  <a:gd name="T0" fmla="*/ 35 w 35"/>
                  <a:gd name="T1" fmla="*/ 12 h 24"/>
                  <a:gd name="T2" fmla="*/ 19 w 35"/>
                  <a:gd name="T3" fmla="*/ 0 h 24"/>
                  <a:gd name="T4" fmla="*/ 1 w 35"/>
                  <a:gd name="T5" fmla="*/ 12 h 24"/>
                  <a:gd name="T6" fmla="*/ 16 w 35"/>
                  <a:gd name="T7" fmla="*/ 24 h 24"/>
                  <a:gd name="T8" fmla="*/ 35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5" y="12"/>
                    </a:moveTo>
                    <a:cubicBezTo>
                      <a:pt x="35" y="5"/>
                      <a:pt x="28" y="0"/>
                      <a:pt x="19" y="0"/>
                    </a:cubicBezTo>
                    <a:cubicBezTo>
                      <a:pt x="10" y="0"/>
                      <a:pt x="1" y="5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7" name="íṥ1îḋè">
                <a:extLst>
                  <a:ext uri="{FF2B5EF4-FFF2-40B4-BE49-F238E27FC236}">
                    <a16:creationId xmlns:a16="http://schemas.microsoft.com/office/drawing/2014/main" id="{FB9EA4A0-B603-4E74-B97E-1E87DAA03CFB}"/>
                  </a:ext>
                </a:extLst>
              </p:cNvPr>
              <p:cNvSpPr/>
              <p:nvPr/>
            </p:nvSpPr>
            <p:spPr bwMode="auto">
              <a:xfrm>
                <a:off x="5153744" y="3222158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8 w 34"/>
                  <a:gd name="T3" fmla="*/ 0 h 24"/>
                  <a:gd name="T4" fmla="*/ 0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5" y="24"/>
                      <a:pt x="33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8" name="îṣļïḓé">
                <a:extLst>
                  <a:ext uri="{FF2B5EF4-FFF2-40B4-BE49-F238E27FC236}">
                    <a16:creationId xmlns:a16="http://schemas.microsoft.com/office/drawing/2014/main" id="{B8E4336E-4EC5-4BE5-BEA7-BE308A7DE9F8}"/>
                  </a:ext>
                </a:extLst>
              </p:cNvPr>
              <p:cNvSpPr/>
              <p:nvPr/>
            </p:nvSpPr>
            <p:spPr bwMode="auto">
              <a:xfrm>
                <a:off x="5303409" y="3222158"/>
                <a:ext cx="126522" cy="87948"/>
              </a:xfrm>
              <a:custGeom>
                <a:avLst/>
                <a:gdLst>
                  <a:gd name="T0" fmla="*/ 34 w 35"/>
                  <a:gd name="T1" fmla="*/ 12 h 24"/>
                  <a:gd name="T2" fmla="*/ 18 w 35"/>
                  <a:gd name="T3" fmla="*/ 0 h 24"/>
                  <a:gd name="T4" fmla="*/ 1 w 35"/>
                  <a:gd name="T5" fmla="*/ 12 h 24"/>
                  <a:gd name="T6" fmla="*/ 17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5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1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9" name="îśľíḋè">
                <a:extLst>
                  <a:ext uri="{FF2B5EF4-FFF2-40B4-BE49-F238E27FC236}">
                    <a16:creationId xmlns:a16="http://schemas.microsoft.com/office/drawing/2014/main" id="{EEF0591C-0C5D-4162-AB75-73F5F3CCAA46}"/>
                  </a:ext>
                </a:extLst>
              </p:cNvPr>
              <p:cNvSpPr/>
              <p:nvPr/>
            </p:nvSpPr>
            <p:spPr bwMode="auto">
              <a:xfrm>
                <a:off x="5456162" y="3222158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3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0" name="íšlíḋé">
                <a:extLst>
                  <a:ext uri="{FF2B5EF4-FFF2-40B4-BE49-F238E27FC236}">
                    <a16:creationId xmlns:a16="http://schemas.microsoft.com/office/drawing/2014/main" id="{8A82FE60-6D5E-4515-B4C0-9C95CAF683D2}"/>
                  </a:ext>
                </a:extLst>
              </p:cNvPr>
              <p:cNvSpPr/>
              <p:nvPr/>
            </p:nvSpPr>
            <p:spPr bwMode="auto">
              <a:xfrm>
                <a:off x="5605827" y="3222158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7" y="0"/>
                      <a:pt x="17" y="0"/>
                    </a:cubicBezTo>
                    <a:cubicBezTo>
                      <a:pt x="8" y="0"/>
                      <a:pt x="1" y="5"/>
                      <a:pt x="0" y="12"/>
                    </a:cubicBezTo>
                    <a:cubicBezTo>
                      <a:pt x="0" y="19"/>
                      <a:pt x="8" y="24"/>
                      <a:pt x="17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1" name="iṡ1íďê">
                <a:extLst>
                  <a:ext uri="{FF2B5EF4-FFF2-40B4-BE49-F238E27FC236}">
                    <a16:creationId xmlns:a16="http://schemas.microsoft.com/office/drawing/2014/main" id="{DFE9CBC2-E92E-4AA8-AA9E-C1F236B5968F}"/>
                  </a:ext>
                </a:extLst>
              </p:cNvPr>
              <p:cNvSpPr/>
              <p:nvPr/>
            </p:nvSpPr>
            <p:spPr bwMode="auto">
              <a:xfrm>
                <a:off x="5758579" y="3222158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2" name="ïśľïďê">
                <a:extLst>
                  <a:ext uri="{FF2B5EF4-FFF2-40B4-BE49-F238E27FC236}">
                    <a16:creationId xmlns:a16="http://schemas.microsoft.com/office/drawing/2014/main" id="{185B9735-21C0-4482-A61F-820F50966B23}"/>
                  </a:ext>
                </a:extLst>
              </p:cNvPr>
              <p:cNvSpPr/>
              <p:nvPr/>
            </p:nvSpPr>
            <p:spPr bwMode="auto">
              <a:xfrm>
                <a:off x="5908244" y="3222158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0" y="19"/>
                      <a:pt x="8" y="24"/>
                      <a:pt x="17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3" name="ïṣḷiḑé">
                <a:extLst>
                  <a:ext uri="{FF2B5EF4-FFF2-40B4-BE49-F238E27FC236}">
                    <a16:creationId xmlns:a16="http://schemas.microsoft.com/office/drawing/2014/main" id="{E109A7BE-C138-43A1-93FE-53AAE7B4AB61}"/>
                  </a:ext>
                </a:extLst>
              </p:cNvPr>
              <p:cNvSpPr/>
              <p:nvPr/>
            </p:nvSpPr>
            <p:spPr bwMode="auto">
              <a:xfrm>
                <a:off x="6057911" y="3222158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7 w 35"/>
                  <a:gd name="T3" fmla="*/ 0 h 24"/>
                  <a:gd name="T4" fmla="*/ 1 w 35"/>
                  <a:gd name="T5" fmla="*/ 12 h 24"/>
                  <a:gd name="T6" fmla="*/ 18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1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4" name="îšļîḋe">
                <a:extLst>
                  <a:ext uri="{FF2B5EF4-FFF2-40B4-BE49-F238E27FC236}">
                    <a16:creationId xmlns:a16="http://schemas.microsoft.com/office/drawing/2014/main" id="{5C34799D-AC7F-4F82-BC53-7A0FB450E165}"/>
                  </a:ext>
                </a:extLst>
              </p:cNvPr>
              <p:cNvSpPr/>
              <p:nvPr/>
            </p:nvSpPr>
            <p:spPr bwMode="auto">
              <a:xfrm>
                <a:off x="6210662" y="3222158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19"/>
                      <a:pt x="8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5" name="iśḷíḑe">
                <a:extLst>
                  <a:ext uri="{FF2B5EF4-FFF2-40B4-BE49-F238E27FC236}">
                    <a16:creationId xmlns:a16="http://schemas.microsoft.com/office/drawing/2014/main" id="{89A94BE1-CAF5-433F-A93E-91CC47ADE028}"/>
                  </a:ext>
                </a:extLst>
              </p:cNvPr>
              <p:cNvSpPr/>
              <p:nvPr/>
            </p:nvSpPr>
            <p:spPr bwMode="auto">
              <a:xfrm>
                <a:off x="6360328" y="3222158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0 w 35"/>
                  <a:gd name="T5" fmla="*/ 12 h 24"/>
                  <a:gd name="T6" fmla="*/ 18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6" name="iSlíḑê">
                <a:extLst>
                  <a:ext uri="{FF2B5EF4-FFF2-40B4-BE49-F238E27FC236}">
                    <a16:creationId xmlns:a16="http://schemas.microsoft.com/office/drawing/2014/main" id="{C2B74029-D79F-4BC3-8203-7C03D2A52499}"/>
                  </a:ext>
                </a:extLst>
              </p:cNvPr>
              <p:cNvSpPr/>
              <p:nvPr/>
            </p:nvSpPr>
            <p:spPr bwMode="auto">
              <a:xfrm>
                <a:off x="6509994" y="3222158"/>
                <a:ext cx="128065" cy="87948"/>
              </a:xfrm>
              <a:custGeom>
                <a:avLst/>
                <a:gdLst>
                  <a:gd name="T0" fmla="*/ 35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5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1" y="19"/>
                      <a:pt x="9" y="24"/>
                      <a:pt x="19" y="24"/>
                    </a:cubicBezTo>
                    <a:cubicBezTo>
                      <a:pt x="28" y="24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7" name="isḷîdè">
                <a:extLst>
                  <a:ext uri="{FF2B5EF4-FFF2-40B4-BE49-F238E27FC236}">
                    <a16:creationId xmlns:a16="http://schemas.microsoft.com/office/drawing/2014/main" id="{BC4FA351-E3AA-4D63-9159-4A5398EEB994}"/>
                  </a:ext>
                </a:extLst>
              </p:cNvPr>
              <p:cNvSpPr/>
              <p:nvPr/>
            </p:nvSpPr>
            <p:spPr bwMode="auto">
              <a:xfrm>
                <a:off x="6659660" y="3222158"/>
                <a:ext cx="131151" cy="87948"/>
              </a:xfrm>
              <a:custGeom>
                <a:avLst/>
                <a:gdLst>
                  <a:gd name="T0" fmla="*/ 35 w 36"/>
                  <a:gd name="T1" fmla="*/ 12 h 24"/>
                  <a:gd name="T2" fmla="*/ 17 w 36"/>
                  <a:gd name="T3" fmla="*/ 0 h 24"/>
                  <a:gd name="T4" fmla="*/ 1 w 36"/>
                  <a:gd name="T5" fmla="*/ 12 h 24"/>
                  <a:gd name="T6" fmla="*/ 19 w 36"/>
                  <a:gd name="T7" fmla="*/ 24 h 24"/>
                  <a:gd name="T8" fmla="*/ 35 w 36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9" y="24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8" name="iŝľîḍé">
                <a:extLst>
                  <a:ext uri="{FF2B5EF4-FFF2-40B4-BE49-F238E27FC236}">
                    <a16:creationId xmlns:a16="http://schemas.microsoft.com/office/drawing/2014/main" id="{4E7AF819-CF7A-4E34-AB0C-68897BB57D65}"/>
                  </a:ext>
                </a:extLst>
              </p:cNvPr>
              <p:cNvSpPr/>
              <p:nvPr/>
            </p:nvSpPr>
            <p:spPr bwMode="auto">
              <a:xfrm>
                <a:off x="6813955" y="3222158"/>
                <a:ext cx="126522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1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9" name="îśľîḓè">
                <a:extLst>
                  <a:ext uri="{FF2B5EF4-FFF2-40B4-BE49-F238E27FC236}">
                    <a16:creationId xmlns:a16="http://schemas.microsoft.com/office/drawing/2014/main" id="{C1B136E9-A5DF-4D57-BFAC-EB8C07E98BE4}"/>
                  </a:ext>
                </a:extLst>
              </p:cNvPr>
              <p:cNvSpPr/>
              <p:nvPr/>
            </p:nvSpPr>
            <p:spPr bwMode="auto">
              <a:xfrm>
                <a:off x="4988648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9 w 35"/>
                  <a:gd name="T3" fmla="*/ 0 h 25"/>
                  <a:gd name="T4" fmla="*/ 0 w 35"/>
                  <a:gd name="T5" fmla="*/ 12 h 25"/>
                  <a:gd name="T6" fmla="*/ 16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9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5"/>
                      <a:pt x="16" y="25"/>
                    </a:cubicBezTo>
                    <a:cubicBezTo>
                      <a:pt x="26" y="25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0" name="iṡ1idé">
                <a:extLst>
                  <a:ext uri="{FF2B5EF4-FFF2-40B4-BE49-F238E27FC236}">
                    <a16:creationId xmlns:a16="http://schemas.microsoft.com/office/drawing/2014/main" id="{2AFC192D-7DFA-4964-AF9F-196ED9B4FC87}"/>
                  </a:ext>
                </a:extLst>
              </p:cNvPr>
              <p:cNvSpPr/>
              <p:nvPr/>
            </p:nvSpPr>
            <p:spPr bwMode="auto">
              <a:xfrm>
                <a:off x="5142943" y="3331707"/>
                <a:ext cx="126522" cy="91034"/>
              </a:xfrm>
              <a:custGeom>
                <a:avLst/>
                <a:gdLst>
                  <a:gd name="T0" fmla="*/ 35 w 35"/>
                  <a:gd name="T1" fmla="*/ 12 h 25"/>
                  <a:gd name="T2" fmla="*/ 19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9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5"/>
                      <a:pt x="17" y="25"/>
                    </a:cubicBezTo>
                    <a:cubicBezTo>
                      <a:pt x="26" y="25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1" name="iṥḷíḓê">
                <a:extLst>
                  <a:ext uri="{FF2B5EF4-FFF2-40B4-BE49-F238E27FC236}">
                    <a16:creationId xmlns:a16="http://schemas.microsoft.com/office/drawing/2014/main" id="{47B2FF72-FC7A-40F9-BC08-7B52AD83CF89}"/>
                  </a:ext>
                </a:extLst>
              </p:cNvPr>
              <p:cNvSpPr/>
              <p:nvPr/>
            </p:nvSpPr>
            <p:spPr bwMode="auto">
              <a:xfrm>
                <a:off x="5295695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8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5"/>
                      <a:pt x="17" y="25"/>
                    </a:cubicBezTo>
                    <a:cubicBezTo>
                      <a:pt x="26" y="25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2" name="îṩ1ïďè">
                <a:extLst>
                  <a:ext uri="{FF2B5EF4-FFF2-40B4-BE49-F238E27FC236}">
                    <a16:creationId xmlns:a16="http://schemas.microsoft.com/office/drawing/2014/main" id="{DE41EA28-EADA-4CC0-85E9-CB13C6406B01}"/>
                  </a:ext>
                </a:extLst>
              </p:cNvPr>
              <p:cNvSpPr/>
              <p:nvPr/>
            </p:nvSpPr>
            <p:spPr bwMode="auto">
              <a:xfrm>
                <a:off x="5448446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8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8" y="25"/>
                      <a:pt x="17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3" name="ïSḷíḑé">
                <a:extLst>
                  <a:ext uri="{FF2B5EF4-FFF2-40B4-BE49-F238E27FC236}">
                    <a16:creationId xmlns:a16="http://schemas.microsoft.com/office/drawing/2014/main" id="{3B1D680F-21A0-4209-9F92-107701A5E786}"/>
                  </a:ext>
                </a:extLst>
              </p:cNvPr>
              <p:cNvSpPr/>
              <p:nvPr/>
            </p:nvSpPr>
            <p:spPr bwMode="auto">
              <a:xfrm>
                <a:off x="5602741" y="3331707"/>
                <a:ext cx="126522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7" y="0"/>
                      <a:pt x="18" y="0"/>
                    </a:cubicBezTo>
                    <a:cubicBezTo>
                      <a:pt x="8" y="0"/>
                      <a:pt x="1" y="5"/>
                      <a:pt x="0" y="12"/>
                    </a:cubicBezTo>
                    <a:cubicBezTo>
                      <a:pt x="0" y="19"/>
                      <a:pt x="8" y="25"/>
                      <a:pt x="17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4" name="îŝḷiḓè">
                <a:extLst>
                  <a:ext uri="{FF2B5EF4-FFF2-40B4-BE49-F238E27FC236}">
                    <a16:creationId xmlns:a16="http://schemas.microsoft.com/office/drawing/2014/main" id="{DB4CC705-8671-4406-8232-96E67F8235A8}"/>
                  </a:ext>
                </a:extLst>
              </p:cNvPr>
              <p:cNvSpPr/>
              <p:nvPr/>
            </p:nvSpPr>
            <p:spPr bwMode="auto">
              <a:xfrm>
                <a:off x="5755493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7" y="0"/>
                      <a:pt x="18" y="0"/>
                    </a:cubicBezTo>
                    <a:cubicBezTo>
                      <a:pt x="8" y="0"/>
                      <a:pt x="1" y="5"/>
                      <a:pt x="0" y="12"/>
                    </a:cubicBezTo>
                    <a:cubicBezTo>
                      <a:pt x="0" y="19"/>
                      <a:pt x="8" y="25"/>
                      <a:pt x="18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5" name="îṥlïḍe">
                <a:extLst>
                  <a:ext uri="{FF2B5EF4-FFF2-40B4-BE49-F238E27FC236}">
                    <a16:creationId xmlns:a16="http://schemas.microsoft.com/office/drawing/2014/main" id="{78D389BC-2C25-42E0-8C45-C7500419B0CA}"/>
                  </a:ext>
                </a:extLst>
              </p:cNvPr>
              <p:cNvSpPr/>
              <p:nvPr/>
            </p:nvSpPr>
            <p:spPr bwMode="auto">
              <a:xfrm>
                <a:off x="5908244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1" y="19"/>
                      <a:pt x="8" y="25"/>
                      <a:pt x="18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6" name="ï$ḻiḑè">
                <a:extLst>
                  <a:ext uri="{FF2B5EF4-FFF2-40B4-BE49-F238E27FC236}">
                    <a16:creationId xmlns:a16="http://schemas.microsoft.com/office/drawing/2014/main" id="{AE973732-3B40-43FC-9BC7-A3C2C7542344}"/>
                  </a:ext>
                </a:extLst>
              </p:cNvPr>
              <p:cNvSpPr/>
              <p:nvPr/>
            </p:nvSpPr>
            <p:spPr bwMode="auto">
              <a:xfrm>
                <a:off x="6062539" y="3331707"/>
                <a:ext cx="126522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8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7" name="îŝḻîďê">
                <a:extLst>
                  <a:ext uri="{FF2B5EF4-FFF2-40B4-BE49-F238E27FC236}">
                    <a16:creationId xmlns:a16="http://schemas.microsoft.com/office/drawing/2014/main" id="{E9DB104A-B9CA-44DC-AFC2-FFAAAC061906}"/>
                  </a:ext>
                </a:extLst>
              </p:cNvPr>
              <p:cNvSpPr/>
              <p:nvPr/>
            </p:nvSpPr>
            <p:spPr bwMode="auto">
              <a:xfrm>
                <a:off x="6215291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8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8" name="îŝľiḓé">
                <a:extLst>
                  <a:ext uri="{FF2B5EF4-FFF2-40B4-BE49-F238E27FC236}">
                    <a16:creationId xmlns:a16="http://schemas.microsoft.com/office/drawing/2014/main" id="{00DB9F26-A3A4-448B-954D-DF62D63E9433}"/>
                  </a:ext>
                </a:extLst>
              </p:cNvPr>
              <p:cNvSpPr/>
              <p:nvPr/>
            </p:nvSpPr>
            <p:spPr bwMode="auto">
              <a:xfrm>
                <a:off x="6368042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9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9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9" name="îṧḻîḍè">
                <a:extLst>
                  <a:ext uri="{FF2B5EF4-FFF2-40B4-BE49-F238E27FC236}">
                    <a16:creationId xmlns:a16="http://schemas.microsoft.com/office/drawing/2014/main" id="{00F41FD6-E157-4EEF-ABDF-E9718BFFC9B6}"/>
                  </a:ext>
                </a:extLst>
              </p:cNvPr>
              <p:cNvSpPr/>
              <p:nvPr/>
            </p:nvSpPr>
            <p:spPr bwMode="auto">
              <a:xfrm>
                <a:off x="6520795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6 w 35"/>
                  <a:gd name="T3" fmla="*/ 0 h 25"/>
                  <a:gd name="T4" fmla="*/ 0 w 35"/>
                  <a:gd name="T5" fmla="*/ 12 h 25"/>
                  <a:gd name="T6" fmla="*/ 19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9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0" name="ïSḷîḓe">
                <a:extLst>
                  <a:ext uri="{FF2B5EF4-FFF2-40B4-BE49-F238E27FC236}">
                    <a16:creationId xmlns:a16="http://schemas.microsoft.com/office/drawing/2014/main" id="{963E80CC-985A-4A12-8879-2D7D647B829A}"/>
                  </a:ext>
                </a:extLst>
              </p:cNvPr>
              <p:cNvSpPr/>
              <p:nvPr/>
            </p:nvSpPr>
            <p:spPr bwMode="auto">
              <a:xfrm>
                <a:off x="6675089" y="3331707"/>
                <a:ext cx="131151" cy="91034"/>
              </a:xfrm>
              <a:custGeom>
                <a:avLst/>
                <a:gdLst>
                  <a:gd name="T0" fmla="*/ 35 w 36"/>
                  <a:gd name="T1" fmla="*/ 12 h 25"/>
                  <a:gd name="T2" fmla="*/ 16 w 36"/>
                  <a:gd name="T3" fmla="*/ 0 h 25"/>
                  <a:gd name="T4" fmla="*/ 0 w 36"/>
                  <a:gd name="T5" fmla="*/ 12 h 25"/>
                  <a:gd name="T6" fmla="*/ 19 w 36"/>
                  <a:gd name="T7" fmla="*/ 25 h 25"/>
                  <a:gd name="T8" fmla="*/ 35 w 36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5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10" y="25"/>
                      <a:pt x="19" y="25"/>
                    </a:cubicBezTo>
                    <a:cubicBezTo>
                      <a:pt x="29" y="25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1" name="îŝ1ïdé">
                <a:extLst>
                  <a:ext uri="{FF2B5EF4-FFF2-40B4-BE49-F238E27FC236}">
                    <a16:creationId xmlns:a16="http://schemas.microsoft.com/office/drawing/2014/main" id="{17418A1D-82FA-490C-A7C7-F1DD50A9043C}"/>
                  </a:ext>
                </a:extLst>
              </p:cNvPr>
              <p:cNvSpPr/>
              <p:nvPr/>
            </p:nvSpPr>
            <p:spPr bwMode="auto">
              <a:xfrm>
                <a:off x="6827841" y="3331707"/>
                <a:ext cx="131151" cy="91034"/>
              </a:xfrm>
              <a:custGeom>
                <a:avLst/>
                <a:gdLst>
                  <a:gd name="T0" fmla="*/ 35 w 36"/>
                  <a:gd name="T1" fmla="*/ 12 h 25"/>
                  <a:gd name="T2" fmla="*/ 16 w 36"/>
                  <a:gd name="T3" fmla="*/ 0 h 25"/>
                  <a:gd name="T4" fmla="*/ 0 w 36"/>
                  <a:gd name="T5" fmla="*/ 12 h 25"/>
                  <a:gd name="T6" fmla="*/ 19 w 36"/>
                  <a:gd name="T7" fmla="*/ 25 h 25"/>
                  <a:gd name="T8" fmla="*/ 35 w 36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5">
                    <a:moveTo>
                      <a:pt x="35" y="12"/>
                    </a:moveTo>
                    <a:cubicBezTo>
                      <a:pt x="34" y="5"/>
                      <a:pt x="25" y="0"/>
                      <a:pt x="16" y="0"/>
                    </a:cubicBezTo>
                    <a:cubicBezTo>
                      <a:pt x="6" y="0"/>
                      <a:pt x="0" y="5"/>
                      <a:pt x="0" y="12"/>
                    </a:cubicBezTo>
                    <a:cubicBezTo>
                      <a:pt x="1" y="19"/>
                      <a:pt x="10" y="25"/>
                      <a:pt x="19" y="25"/>
                    </a:cubicBezTo>
                    <a:cubicBezTo>
                      <a:pt x="29" y="25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2" name="íšľíḑê">
                <a:extLst>
                  <a:ext uri="{FF2B5EF4-FFF2-40B4-BE49-F238E27FC236}">
                    <a16:creationId xmlns:a16="http://schemas.microsoft.com/office/drawing/2014/main" id="{ADB9C522-E8A5-465A-AA86-4A3D149375DE}"/>
                  </a:ext>
                </a:extLst>
              </p:cNvPr>
              <p:cNvSpPr/>
              <p:nvPr/>
            </p:nvSpPr>
            <p:spPr bwMode="auto">
              <a:xfrm>
                <a:off x="6977507" y="3331707"/>
                <a:ext cx="135779" cy="91034"/>
              </a:xfrm>
              <a:custGeom>
                <a:avLst/>
                <a:gdLst>
                  <a:gd name="T0" fmla="*/ 36 w 37"/>
                  <a:gd name="T1" fmla="*/ 12 h 25"/>
                  <a:gd name="T2" fmla="*/ 17 w 37"/>
                  <a:gd name="T3" fmla="*/ 0 h 25"/>
                  <a:gd name="T4" fmla="*/ 1 w 37"/>
                  <a:gd name="T5" fmla="*/ 12 h 25"/>
                  <a:gd name="T6" fmla="*/ 21 w 37"/>
                  <a:gd name="T7" fmla="*/ 25 h 25"/>
                  <a:gd name="T8" fmla="*/ 36 w 37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5">
                    <a:moveTo>
                      <a:pt x="36" y="12"/>
                    </a:moveTo>
                    <a:cubicBezTo>
                      <a:pt x="35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19"/>
                      <a:pt x="11" y="25"/>
                      <a:pt x="21" y="25"/>
                    </a:cubicBezTo>
                    <a:cubicBezTo>
                      <a:pt x="30" y="25"/>
                      <a:pt x="37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3" name="îSḻïḍe">
                <a:extLst>
                  <a:ext uri="{FF2B5EF4-FFF2-40B4-BE49-F238E27FC236}">
                    <a16:creationId xmlns:a16="http://schemas.microsoft.com/office/drawing/2014/main" id="{5A2F963D-87E7-45E3-905B-C250278F873D}"/>
                  </a:ext>
                </a:extLst>
              </p:cNvPr>
              <p:cNvSpPr/>
              <p:nvPr/>
            </p:nvSpPr>
            <p:spPr bwMode="auto">
              <a:xfrm>
                <a:off x="5755493" y="3445885"/>
                <a:ext cx="128065" cy="9412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4" name="ïŝḻîḍé">
                <a:extLst>
                  <a:ext uri="{FF2B5EF4-FFF2-40B4-BE49-F238E27FC236}">
                    <a16:creationId xmlns:a16="http://schemas.microsoft.com/office/drawing/2014/main" id="{6154DDB1-611C-4C20-B49E-23330122237E}"/>
                  </a:ext>
                </a:extLst>
              </p:cNvPr>
              <p:cNvSpPr/>
              <p:nvPr/>
            </p:nvSpPr>
            <p:spPr bwMode="auto">
              <a:xfrm>
                <a:off x="5912874" y="3445885"/>
                <a:ext cx="126522" cy="94120"/>
              </a:xfrm>
              <a:custGeom>
                <a:avLst/>
                <a:gdLst>
                  <a:gd name="T0" fmla="*/ 35 w 35"/>
                  <a:gd name="T1" fmla="*/ 12 h 26"/>
                  <a:gd name="T2" fmla="*/ 17 w 35"/>
                  <a:gd name="T3" fmla="*/ 0 h 26"/>
                  <a:gd name="T4" fmla="*/ 0 w 35"/>
                  <a:gd name="T5" fmla="*/ 12 h 26"/>
                  <a:gd name="T6" fmla="*/ 17 w 35"/>
                  <a:gd name="T7" fmla="*/ 26 h 26"/>
                  <a:gd name="T8" fmla="*/ 35 w 35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20"/>
                      <a:pt x="8" y="26"/>
                      <a:pt x="17" y="26"/>
                    </a:cubicBezTo>
                    <a:cubicBezTo>
                      <a:pt x="27" y="26"/>
                      <a:pt x="35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5" name="íśḷîḋé">
                <a:extLst>
                  <a:ext uri="{FF2B5EF4-FFF2-40B4-BE49-F238E27FC236}">
                    <a16:creationId xmlns:a16="http://schemas.microsoft.com/office/drawing/2014/main" id="{9CEED960-11C2-43F7-8F1D-CACC336037AE}"/>
                  </a:ext>
                </a:extLst>
              </p:cNvPr>
              <p:cNvSpPr/>
              <p:nvPr/>
            </p:nvSpPr>
            <p:spPr bwMode="auto">
              <a:xfrm>
                <a:off x="6065625" y="3445885"/>
                <a:ext cx="128065" cy="94120"/>
              </a:xfrm>
              <a:custGeom>
                <a:avLst/>
                <a:gdLst>
                  <a:gd name="T0" fmla="*/ 35 w 35"/>
                  <a:gd name="T1" fmla="*/ 12 h 26"/>
                  <a:gd name="T2" fmla="*/ 17 w 35"/>
                  <a:gd name="T3" fmla="*/ 0 h 26"/>
                  <a:gd name="T4" fmla="*/ 0 w 35"/>
                  <a:gd name="T5" fmla="*/ 12 h 26"/>
                  <a:gd name="T6" fmla="*/ 18 w 35"/>
                  <a:gd name="T7" fmla="*/ 26 h 26"/>
                  <a:gd name="T8" fmla="*/ 35 w 35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35" y="12"/>
                    </a:moveTo>
                    <a:cubicBezTo>
                      <a:pt x="35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1" y="20"/>
                      <a:pt x="9" y="26"/>
                      <a:pt x="18" y="26"/>
                    </a:cubicBezTo>
                    <a:cubicBezTo>
                      <a:pt x="28" y="26"/>
                      <a:pt x="35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6" name="ïs1îde">
                <a:extLst>
                  <a:ext uri="{FF2B5EF4-FFF2-40B4-BE49-F238E27FC236}">
                    <a16:creationId xmlns:a16="http://schemas.microsoft.com/office/drawing/2014/main" id="{309DA4DB-9305-42FD-8C23-73DDB0647EA9}"/>
                  </a:ext>
                </a:extLst>
              </p:cNvPr>
              <p:cNvSpPr/>
              <p:nvPr/>
            </p:nvSpPr>
            <p:spPr bwMode="auto">
              <a:xfrm>
                <a:off x="6223006" y="3445885"/>
                <a:ext cx="126522" cy="94120"/>
              </a:xfrm>
              <a:custGeom>
                <a:avLst/>
                <a:gdLst>
                  <a:gd name="T0" fmla="*/ 35 w 35"/>
                  <a:gd name="T1" fmla="*/ 12 h 26"/>
                  <a:gd name="T2" fmla="*/ 17 w 35"/>
                  <a:gd name="T3" fmla="*/ 0 h 26"/>
                  <a:gd name="T4" fmla="*/ 0 w 35"/>
                  <a:gd name="T5" fmla="*/ 12 h 26"/>
                  <a:gd name="T6" fmla="*/ 18 w 35"/>
                  <a:gd name="T7" fmla="*/ 26 h 26"/>
                  <a:gd name="T8" fmla="*/ 35 w 35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20"/>
                      <a:pt x="8" y="26"/>
                      <a:pt x="18" y="26"/>
                    </a:cubicBezTo>
                    <a:cubicBezTo>
                      <a:pt x="28" y="26"/>
                      <a:pt x="35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7" name="ïṥļîḑê">
                <a:extLst>
                  <a:ext uri="{FF2B5EF4-FFF2-40B4-BE49-F238E27FC236}">
                    <a16:creationId xmlns:a16="http://schemas.microsoft.com/office/drawing/2014/main" id="{7F1751A2-6335-44BD-B347-A747420FD3D7}"/>
                  </a:ext>
                </a:extLst>
              </p:cNvPr>
              <p:cNvSpPr/>
              <p:nvPr/>
            </p:nvSpPr>
            <p:spPr bwMode="auto">
              <a:xfrm>
                <a:off x="6375758" y="3445885"/>
                <a:ext cx="131151" cy="94120"/>
              </a:xfrm>
              <a:custGeom>
                <a:avLst/>
                <a:gdLst>
                  <a:gd name="T0" fmla="*/ 35 w 36"/>
                  <a:gd name="T1" fmla="*/ 12 h 26"/>
                  <a:gd name="T2" fmla="*/ 17 w 36"/>
                  <a:gd name="T3" fmla="*/ 0 h 26"/>
                  <a:gd name="T4" fmla="*/ 1 w 36"/>
                  <a:gd name="T5" fmla="*/ 12 h 26"/>
                  <a:gd name="T6" fmla="*/ 19 w 36"/>
                  <a:gd name="T7" fmla="*/ 26 h 26"/>
                  <a:gd name="T8" fmla="*/ 35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5" y="12"/>
                    </a:moveTo>
                    <a:cubicBezTo>
                      <a:pt x="35" y="5"/>
                      <a:pt x="27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1" y="20"/>
                      <a:pt x="9" y="26"/>
                      <a:pt x="19" y="26"/>
                    </a:cubicBezTo>
                    <a:cubicBezTo>
                      <a:pt x="29" y="26"/>
                      <a:pt x="36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8" name="í$1iḓè">
                <a:extLst>
                  <a:ext uri="{FF2B5EF4-FFF2-40B4-BE49-F238E27FC236}">
                    <a16:creationId xmlns:a16="http://schemas.microsoft.com/office/drawing/2014/main" id="{64403657-61C5-46EB-8259-9A903F3159EF}"/>
                  </a:ext>
                </a:extLst>
              </p:cNvPr>
              <p:cNvSpPr/>
              <p:nvPr/>
            </p:nvSpPr>
            <p:spPr bwMode="auto">
              <a:xfrm>
                <a:off x="6533138" y="3445885"/>
                <a:ext cx="131151" cy="94120"/>
              </a:xfrm>
              <a:custGeom>
                <a:avLst/>
                <a:gdLst>
                  <a:gd name="T0" fmla="*/ 35 w 36"/>
                  <a:gd name="T1" fmla="*/ 12 h 26"/>
                  <a:gd name="T2" fmla="*/ 16 w 36"/>
                  <a:gd name="T3" fmla="*/ 0 h 26"/>
                  <a:gd name="T4" fmla="*/ 0 w 36"/>
                  <a:gd name="T5" fmla="*/ 12 h 26"/>
                  <a:gd name="T6" fmla="*/ 19 w 36"/>
                  <a:gd name="T7" fmla="*/ 26 h 26"/>
                  <a:gd name="T8" fmla="*/ 35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20"/>
                      <a:pt x="9" y="26"/>
                      <a:pt x="19" y="26"/>
                    </a:cubicBezTo>
                    <a:cubicBezTo>
                      <a:pt x="29" y="26"/>
                      <a:pt x="36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9" name="îşļîḑe">
                <a:extLst>
                  <a:ext uri="{FF2B5EF4-FFF2-40B4-BE49-F238E27FC236}">
                    <a16:creationId xmlns:a16="http://schemas.microsoft.com/office/drawing/2014/main" id="{CA884055-CEE0-4136-8142-1DB5D1D1977B}"/>
                  </a:ext>
                </a:extLst>
              </p:cNvPr>
              <p:cNvSpPr/>
              <p:nvPr/>
            </p:nvSpPr>
            <p:spPr bwMode="auto">
              <a:xfrm>
                <a:off x="6685889" y="3445885"/>
                <a:ext cx="131151" cy="94120"/>
              </a:xfrm>
              <a:custGeom>
                <a:avLst/>
                <a:gdLst>
                  <a:gd name="T0" fmla="*/ 36 w 36"/>
                  <a:gd name="T1" fmla="*/ 12 h 26"/>
                  <a:gd name="T2" fmla="*/ 17 w 36"/>
                  <a:gd name="T3" fmla="*/ 0 h 26"/>
                  <a:gd name="T4" fmla="*/ 1 w 36"/>
                  <a:gd name="T5" fmla="*/ 12 h 26"/>
                  <a:gd name="T6" fmla="*/ 20 w 36"/>
                  <a:gd name="T7" fmla="*/ 26 h 26"/>
                  <a:gd name="T8" fmla="*/ 36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6" y="12"/>
                    </a:moveTo>
                    <a:cubicBezTo>
                      <a:pt x="35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20"/>
                      <a:pt x="10" y="26"/>
                      <a:pt x="20" y="26"/>
                    </a:cubicBezTo>
                    <a:cubicBezTo>
                      <a:pt x="29" y="26"/>
                      <a:pt x="36" y="2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0" name="íSľîḓê">
                <a:extLst>
                  <a:ext uri="{FF2B5EF4-FFF2-40B4-BE49-F238E27FC236}">
                    <a16:creationId xmlns:a16="http://schemas.microsoft.com/office/drawing/2014/main" id="{1DFD47AF-8680-4D24-8014-9F45166CDA3D}"/>
                  </a:ext>
                </a:extLst>
              </p:cNvPr>
              <p:cNvSpPr/>
              <p:nvPr/>
            </p:nvSpPr>
            <p:spPr bwMode="auto">
              <a:xfrm>
                <a:off x="6843270" y="3445885"/>
                <a:ext cx="131151" cy="94120"/>
              </a:xfrm>
              <a:custGeom>
                <a:avLst/>
                <a:gdLst>
                  <a:gd name="T0" fmla="*/ 35 w 36"/>
                  <a:gd name="T1" fmla="*/ 12 h 26"/>
                  <a:gd name="T2" fmla="*/ 16 w 36"/>
                  <a:gd name="T3" fmla="*/ 0 h 26"/>
                  <a:gd name="T4" fmla="*/ 0 w 36"/>
                  <a:gd name="T5" fmla="*/ 12 h 26"/>
                  <a:gd name="T6" fmla="*/ 20 w 36"/>
                  <a:gd name="T7" fmla="*/ 26 h 26"/>
                  <a:gd name="T8" fmla="*/ 35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20"/>
                      <a:pt x="10" y="26"/>
                      <a:pt x="20" y="26"/>
                    </a:cubicBezTo>
                    <a:cubicBezTo>
                      <a:pt x="29" y="26"/>
                      <a:pt x="36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1" name="ïṧļïḑé">
                <a:extLst>
                  <a:ext uri="{FF2B5EF4-FFF2-40B4-BE49-F238E27FC236}">
                    <a16:creationId xmlns:a16="http://schemas.microsoft.com/office/drawing/2014/main" id="{ABEE2FB7-DA44-48EB-BE2A-B378F940E611}"/>
                  </a:ext>
                </a:extLst>
              </p:cNvPr>
              <p:cNvSpPr/>
              <p:nvPr/>
            </p:nvSpPr>
            <p:spPr bwMode="auto">
              <a:xfrm>
                <a:off x="5755493" y="3558521"/>
                <a:ext cx="128065" cy="98749"/>
              </a:xfrm>
              <a:custGeom>
                <a:avLst/>
                <a:gdLst>
                  <a:gd name="T0" fmla="*/ 35 w 35"/>
                  <a:gd name="T1" fmla="*/ 14 h 27"/>
                  <a:gd name="T2" fmla="*/ 18 w 35"/>
                  <a:gd name="T3" fmla="*/ 0 h 27"/>
                  <a:gd name="T4" fmla="*/ 0 w 35"/>
                  <a:gd name="T5" fmla="*/ 14 h 27"/>
                  <a:gd name="T6" fmla="*/ 17 w 35"/>
                  <a:gd name="T7" fmla="*/ 27 h 27"/>
                  <a:gd name="T8" fmla="*/ 35 w 35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7">
                    <a:moveTo>
                      <a:pt x="35" y="14"/>
                    </a:moveTo>
                    <a:cubicBezTo>
                      <a:pt x="35" y="6"/>
                      <a:pt x="27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0" y="21"/>
                      <a:pt x="8" y="27"/>
                      <a:pt x="17" y="27"/>
                    </a:cubicBezTo>
                    <a:cubicBezTo>
                      <a:pt x="27" y="27"/>
                      <a:pt x="35" y="21"/>
                      <a:pt x="35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2" name="ïSḻîdê">
                <a:extLst>
                  <a:ext uri="{FF2B5EF4-FFF2-40B4-BE49-F238E27FC236}">
                    <a16:creationId xmlns:a16="http://schemas.microsoft.com/office/drawing/2014/main" id="{55F938F6-25EF-4D38-8321-A2F5819D92EE}"/>
                  </a:ext>
                </a:extLst>
              </p:cNvPr>
              <p:cNvSpPr/>
              <p:nvPr/>
            </p:nvSpPr>
            <p:spPr bwMode="auto">
              <a:xfrm>
                <a:off x="5912874" y="3558521"/>
                <a:ext cx="131151" cy="98749"/>
              </a:xfrm>
              <a:custGeom>
                <a:avLst/>
                <a:gdLst>
                  <a:gd name="T0" fmla="*/ 35 w 36"/>
                  <a:gd name="T1" fmla="*/ 14 h 27"/>
                  <a:gd name="T2" fmla="*/ 18 w 36"/>
                  <a:gd name="T3" fmla="*/ 0 h 27"/>
                  <a:gd name="T4" fmla="*/ 0 w 36"/>
                  <a:gd name="T5" fmla="*/ 14 h 27"/>
                  <a:gd name="T6" fmla="*/ 18 w 36"/>
                  <a:gd name="T7" fmla="*/ 27 h 27"/>
                  <a:gd name="T8" fmla="*/ 35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5" y="14"/>
                    </a:moveTo>
                    <a:cubicBezTo>
                      <a:pt x="35" y="6"/>
                      <a:pt x="27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0" y="21"/>
                      <a:pt x="8" y="27"/>
                      <a:pt x="18" y="27"/>
                    </a:cubicBezTo>
                    <a:cubicBezTo>
                      <a:pt x="28" y="27"/>
                      <a:pt x="36" y="21"/>
                      <a:pt x="35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3" name="îṡ1iḋe">
                <a:extLst>
                  <a:ext uri="{FF2B5EF4-FFF2-40B4-BE49-F238E27FC236}">
                    <a16:creationId xmlns:a16="http://schemas.microsoft.com/office/drawing/2014/main" id="{2440EBA2-3554-40AA-A2A3-C081472D41D9}"/>
                  </a:ext>
                </a:extLst>
              </p:cNvPr>
              <p:cNvSpPr/>
              <p:nvPr/>
            </p:nvSpPr>
            <p:spPr bwMode="auto">
              <a:xfrm>
                <a:off x="6068711" y="3558521"/>
                <a:ext cx="131151" cy="98749"/>
              </a:xfrm>
              <a:custGeom>
                <a:avLst/>
                <a:gdLst>
                  <a:gd name="T0" fmla="*/ 36 w 36"/>
                  <a:gd name="T1" fmla="*/ 14 h 27"/>
                  <a:gd name="T2" fmla="*/ 17 w 36"/>
                  <a:gd name="T3" fmla="*/ 0 h 27"/>
                  <a:gd name="T4" fmla="*/ 0 w 36"/>
                  <a:gd name="T5" fmla="*/ 14 h 27"/>
                  <a:gd name="T6" fmla="*/ 19 w 36"/>
                  <a:gd name="T7" fmla="*/ 27 h 27"/>
                  <a:gd name="T8" fmla="*/ 36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1"/>
                      <a:pt x="9" y="27"/>
                      <a:pt x="19" y="27"/>
                    </a:cubicBezTo>
                    <a:cubicBezTo>
                      <a:pt x="28" y="27"/>
                      <a:pt x="36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4" name="íśľíďè">
                <a:extLst>
                  <a:ext uri="{FF2B5EF4-FFF2-40B4-BE49-F238E27FC236}">
                    <a16:creationId xmlns:a16="http://schemas.microsoft.com/office/drawing/2014/main" id="{29601141-AC8A-4A91-B27D-6646AD5EA6D8}"/>
                  </a:ext>
                </a:extLst>
              </p:cNvPr>
              <p:cNvSpPr/>
              <p:nvPr/>
            </p:nvSpPr>
            <p:spPr bwMode="auto">
              <a:xfrm>
                <a:off x="6226091" y="3558521"/>
                <a:ext cx="131151" cy="98749"/>
              </a:xfrm>
              <a:custGeom>
                <a:avLst/>
                <a:gdLst>
                  <a:gd name="T0" fmla="*/ 36 w 36"/>
                  <a:gd name="T1" fmla="*/ 14 h 27"/>
                  <a:gd name="T2" fmla="*/ 17 w 36"/>
                  <a:gd name="T3" fmla="*/ 0 h 27"/>
                  <a:gd name="T4" fmla="*/ 1 w 36"/>
                  <a:gd name="T5" fmla="*/ 14 h 27"/>
                  <a:gd name="T6" fmla="*/ 19 w 36"/>
                  <a:gd name="T7" fmla="*/ 27 h 27"/>
                  <a:gd name="T8" fmla="*/ 36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1"/>
                      <a:pt x="9" y="27"/>
                      <a:pt x="19" y="27"/>
                    </a:cubicBezTo>
                    <a:cubicBezTo>
                      <a:pt x="29" y="27"/>
                      <a:pt x="36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5" name="i$ļïḋe">
                <a:extLst>
                  <a:ext uri="{FF2B5EF4-FFF2-40B4-BE49-F238E27FC236}">
                    <a16:creationId xmlns:a16="http://schemas.microsoft.com/office/drawing/2014/main" id="{8076FDCC-64EC-476D-91D4-8FDCD45CAD71}"/>
                  </a:ext>
                </a:extLst>
              </p:cNvPr>
              <p:cNvSpPr/>
              <p:nvPr/>
            </p:nvSpPr>
            <p:spPr bwMode="auto">
              <a:xfrm>
                <a:off x="6383472" y="3558521"/>
                <a:ext cx="134237" cy="98749"/>
              </a:xfrm>
              <a:custGeom>
                <a:avLst/>
                <a:gdLst>
                  <a:gd name="T0" fmla="*/ 36 w 37"/>
                  <a:gd name="T1" fmla="*/ 14 h 27"/>
                  <a:gd name="T2" fmla="*/ 17 w 37"/>
                  <a:gd name="T3" fmla="*/ 0 h 27"/>
                  <a:gd name="T4" fmla="*/ 1 w 37"/>
                  <a:gd name="T5" fmla="*/ 14 h 27"/>
                  <a:gd name="T6" fmla="*/ 20 w 37"/>
                  <a:gd name="T7" fmla="*/ 27 h 27"/>
                  <a:gd name="T8" fmla="*/ 36 w 37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7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1"/>
                      <a:pt x="10" y="27"/>
                      <a:pt x="20" y="27"/>
                    </a:cubicBezTo>
                    <a:cubicBezTo>
                      <a:pt x="29" y="27"/>
                      <a:pt x="37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6" name="ï$ḻîḑê">
                <a:extLst>
                  <a:ext uri="{FF2B5EF4-FFF2-40B4-BE49-F238E27FC236}">
                    <a16:creationId xmlns:a16="http://schemas.microsoft.com/office/drawing/2014/main" id="{705EDCB0-13D6-4750-A59B-2BD0AEC13615}"/>
                  </a:ext>
                </a:extLst>
              </p:cNvPr>
              <p:cNvSpPr/>
              <p:nvPr/>
            </p:nvSpPr>
            <p:spPr bwMode="auto">
              <a:xfrm>
                <a:off x="6539310" y="3558521"/>
                <a:ext cx="135779" cy="98749"/>
              </a:xfrm>
              <a:custGeom>
                <a:avLst/>
                <a:gdLst>
                  <a:gd name="T0" fmla="*/ 36 w 37"/>
                  <a:gd name="T1" fmla="*/ 14 h 27"/>
                  <a:gd name="T2" fmla="*/ 17 w 37"/>
                  <a:gd name="T3" fmla="*/ 0 h 27"/>
                  <a:gd name="T4" fmla="*/ 1 w 37"/>
                  <a:gd name="T5" fmla="*/ 14 h 27"/>
                  <a:gd name="T6" fmla="*/ 20 w 37"/>
                  <a:gd name="T7" fmla="*/ 27 h 27"/>
                  <a:gd name="T8" fmla="*/ 36 w 37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7">
                    <a:moveTo>
                      <a:pt x="36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1"/>
                      <a:pt x="10" y="27"/>
                      <a:pt x="20" y="27"/>
                    </a:cubicBezTo>
                    <a:cubicBezTo>
                      <a:pt x="30" y="27"/>
                      <a:pt x="37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7" name="iṣḷîḋê">
                <a:extLst>
                  <a:ext uri="{FF2B5EF4-FFF2-40B4-BE49-F238E27FC236}">
                    <a16:creationId xmlns:a16="http://schemas.microsoft.com/office/drawing/2014/main" id="{E08CDD85-9094-489F-AEE4-EED53D3D09AB}"/>
                  </a:ext>
                </a:extLst>
              </p:cNvPr>
              <p:cNvSpPr/>
              <p:nvPr/>
            </p:nvSpPr>
            <p:spPr bwMode="auto">
              <a:xfrm>
                <a:off x="6699776" y="3558521"/>
                <a:ext cx="132693" cy="98749"/>
              </a:xfrm>
              <a:custGeom>
                <a:avLst/>
                <a:gdLst>
                  <a:gd name="T0" fmla="*/ 36 w 36"/>
                  <a:gd name="T1" fmla="*/ 14 h 27"/>
                  <a:gd name="T2" fmla="*/ 16 w 36"/>
                  <a:gd name="T3" fmla="*/ 0 h 27"/>
                  <a:gd name="T4" fmla="*/ 0 w 36"/>
                  <a:gd name="T5" fmla="*/ 14 h 27"/>
                  <a:gd name="T6" fmla="*/ 19 w 36"/>
                  <a:gd name="T7" fmla="*/ 27 h 27"/>
                  <a:gd name="T8" fmla="*/ 36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6" y="14"/>
                    </a:moveTo>
                    <a:cubicBezTo>
                      <a:pt x="35" y="6"/>
                      <a:pt x="26" y="0"/>
                      <a:pt x="16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1" y="21"/>
                      <a:pt x="10" y="27"/>
                      <a:pt x="19" y="27"/>
                    </a:cubicBezTo>
                    <a:cubicBezTo>
                      <a:pt x="29" y="27"/>
                      <a:pt x="36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8" name="íšḷîďe">
                <a:extLst>
                  <a:ext uri="{FF2B5EF4-FFF2-40B4-BE49-F238E27FC236}">
                    <a16:creationId xmlns:a16="http://schemas.microsoft.com/office/drawing/2014/main" id="{02A0C51A-048E-490D-B1FD-C512C09609E5}"/>
                  </a:ext>
                </a:extLst>
              </p:cNvPr>
              <p:cNvSpPr/>
              <p:nvPr/>
            </p:nvSpPr>
            <p:spPr bwMode="auto">
              <a:xfrm>
                <a:off x="5750864" y="3678870"/>
                <a:ext cx="132693" cy="103378"/>
              </a:xfrm>
              <a:custGeom>
                <a:avLst/>
                <a:gdLst>
                  <a:gd name="T0" fmla="*/ 36 w 36"/>
                  <a:gd name="T1" fmla="*/ 14 h 28"/>
                  <a:gd name="T2" fmla="*/ 18 w 36"/>
                  <a:gd name="T3" fmla="*/ 0 h 28"/>
                  <a:gd name="T4" fmla="*/ 1 w 36"/>
                  <a:gd name="T5" fmla="*/ 14 h 28"/>
                  <a:gd name="T6" fmla="*/ 18 w 36"/>
                  <a:gd name="T7" fmla="*/ 28 h 28"/>
                  <a:gd name="T8" fmla="*/ 36 w 36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8">
                    <a:moveTo>
                      <a:pt x="36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9" y="0"/>
                      <a:pt x="1" y="6"/>
                      <a:pt x="1" y="14"/>
                    </a:cubicBezTo>
                    <a:cubicBezTo>
                      <a:pt x="0" y="22"/>
                      <a:pt x="8" y="28"/>
                      <a:pt x="18" y="28"/>
                    </a:cubicBezTo>
                    <a:cubicBezTo>
                      <a:pt x="28" y="28"/>
                      <a:pt x="36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9" name="iśḷidè">
                <a:extLst>
                  <a:ext uri="{FF2B5EF4-FFF2-40B4-BE49-F238E27FC236}">
                    <a16:creationId xmlns:a16="http://schemas.microsoft.com/office/drawing/2014/main" id="{87C3E8DF-9D88-4DEE-8ADA-79E6DAACDB82}"/>
                  </a:ext>
                </a:extLst>
              </p:cNvPr>
              <p:cNvSpPr/>
              <p:nvPr/>
            </p:nvSpPr>
            <p:spPr bwMode="auto">
              <a:xfrm>
                <a:off x="5912874" y="3678870"/>
                <a:ext cx="131151" cy="103378"/>
              </a:xfrm>
              <a:custGeom>
                <a:avLst/>
                <a:gdLst>
                  <a:gd name="T0" fmla="*/ 36 w 36"/>
                  <a:gd name="T1" fmla="*/ 14 h 28"/>
                  <a:gd name="T2" fmla="*/ 18 w 36"/>
                  <a:gd name="T3" fmla="*/ 0 h 28"/>
                  <a:gd name="T4" fmla="*/ 0 w 36"/>
                  <a:gd name="T5" fmla="*/ 14 h 28"/>
                  <a:gd name="T6" fmla="*/ 19 w 36"/>
                  <a:gd name="T7" fmla="*/ 28 h 28"/>
                  <a:gd name="T8" fmla="*/ 36 w 36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8">
                    <a:moveTo>
                      <a:pt x="36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6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0" name="íṣḻíḓè">
                <a:extLst>
                  <a:ext uri="{FF2B5EF4-FFF2-40B4-BE49-F238E27FC236}">
                    <a16:creationId xmlns:a16="http://schemas.microsoft.com/office/drawing/2014/main" id="{D1C09AC4-A9A3-4672-B2FB-0224D806A217}"/>
                  </a:ext>
                </a:extLst>
              </p:cNvPr>
              <p:cNvSpPr/>
              <p:nvPr/>
            </p:nvSpPr>
            <p:spPr bwMode="auto">
              <a:xfrm>
                <a:off x="6073340" y="3678870"/>
                <a:ext cx="131151" cy="103378"/>
              </a:xfrm>
              <a:custGeom>
                <a:avLst/>
                <a:gdLst>
                  <a:gd name="T0" fmla="*/ 36 w 36"/>
                  <a:gd name="T1" fmla="*/ 14 h 28"/>
                  <a:gd name="T2" fmla="*/ 18 w 36"/>
                  <a:gd name="T3" fmla="*/ 0 h 28"/>
                  <a:gd name="T4" fmla="*/ 0 w 36"/>
                  <a:gd name="T5" fmla="*/ 14 h 28"/>
                  <a:gd name="T6" fmla="*/ 19 w 36"/>
                  <a:gd name="T7" fmla="*/ 28 h 28"/>
                  <a:gd name="T8" fmla="*/ 36 w 36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8">
                    <a:moveTo>
                      <a:pt x="36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6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1" name="iṧḷïďê">
                <a:extLst>
                  <a:ext uri="{FF2B5EF4-FFF2-40B4-BE49-F238E27FC236}">
                    <a16:creationId xmlns:a16="http://schemas.microsoft.com/office/drawing/2014/main" id="{569F395E-FB3B-4767-BF93-B9DD427C65B7}"/>
                  </a:ext>
                </a:extLst>
              </p:cNvPr>
              <p:cNvSpPr/>
              <p:nvPr/>
            </p:nvSpPr>
            <p:spPr bwMode="auto">
              <a:xfrm>
                <a:off x="6233807" y="3678870"/>
                <a:ext cx="134237" cy="103378"/>
              </a:xfrm>
              <a:custGeom>
                <a:avLst/>
                <a:gdLst>
                  <a:gd name="T0" fmla="*/ 36 w 37"/>
                  <a:gd name="T1" fmla="*/ 14 h 28"/>
                  <a:gd name="T2" fmla="*/ 17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6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6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2" name="išḷiďé">
                <a:extLst>
                  <a:ext uri="{FF2B5EF4-FFF2-40B4-BE49-F238E27FC236}">
                    <a16:creationId xmlns:a16="http://schemas.microsoft.com/office/drawing/2014/main" id="{83C9A1D9-F9A3-4ABE-98E4-C6734A1D4F54}"/>
                  </a:ext>
                </a:extLst>
              </p:cNvPr>
              <p:cNvSpPr/>
              <p:nvPr/>
            </p:nvSpPr>
            <p:spPr bwMode="auto">
              <a:xfrm>
                <a:off x="6394273" y="3678870"/>
                <a:ext cx="134237" cy="103378"/>
              </a:xfrm>
              <a:custGeom>
                <a:avLst/>
                <a:gdLst>
                  <a:gd name="T0" fmla="*/ 36 w 37"/>
                  <a:gd name="T1" fmla="*/ 14 h 28"/>
                  <a:gd name="T2" fmla="*/ 17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6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3" name="íš1îďe">
                <a:extLst>
                  <a:ext uri="{FF2B5EF4-FFF2-40B4-BE49-F238E27FC236}">
                    <a16:creationId xmlns:a16="http://schemas.microsoft.com/office/drawing/2014/main" id="{D6F0F7F2-C9FA-4D7D-A70F-481156A757E3}"/>
                  </a:ext>
                </a:extLst>
              </p:cNvPr>
              <p:cNvSpPr/>
              <p:nvPr/>
            </p:nvSpPr>
            <p:spPr bwMode="auto">
              <a:xfrm>
                <a:off x="6550110" y="3678870"/>
                <a:ext cx="138865" cy="103378"/>
              </a:xfrm>
              <a:custGeom>
                <a:avLst/>
                <a:gdLst>
                  <a:gd name="T0" fmla="*/ 37 w 38"/>
                  <a:gd name="T1" fmla="*/ 14 h 28"/>
                  <a:gd name="T2" fmla="*/ 18 w 38"/>
                  <a:gd name="T3" fmla="*/ 0 h 28"/>
                  <a:gd name="T4" fmla="*/ 1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7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2"/>
                      <a:pt x="10" y="28"/>
                      <a:pt x="20" y="28"/>
                    </a:cubicBezTo>
                    <a:cubicBezTo>
                      <a:pt x="30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4" name="íṩlíďe">
                <a:extLst>
                  <a:ext uri="{FF2B5EF4-FFF2-40B4-BE49-F238E27FC236}">
                    <a16:creationId xmlns:a16="http://schemas.microsoft.com/office/drawing/2014/main" id="{8CEFBBB9-0602-48BA-A749-A3D55F4696A1}"/>
                  </a:ext>
                </a:extLst>
              </p:cNvPr>
              <p:cNvSpPr/>
              <p:nvPr/>
            </p:nvSpPr>
            <p:spPr bwMode="auto">
              <a:xfrm>
                <a:off x="6710577" y="3678870"/>
                <a:ext cx="138865" cy="103378"/>
              </a:xfrm>
              <a:custGeom>
                <a:avLst/>
                <a:gdLst>
                  <a:gd name="T0" fmla="*/ 37 w 38"/>
                  <a:gd name="T1" fmla="*/ 14 h 28"/>
                  <a:gd name="T2" fmla="*/ 17 w 38"/>
                  <a:gd name="T3" fmla="*/ 0 h 28"/>
                  <a:gd name="T4" fmla="*/ 1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1" y="14"/>
                    </a:cubicBezTo>
                    <a:cubicBezTo>
                      <a:pt x="2" y="22"/>
                      <a:pt x="10" y="28"/>
                      <a:pt x="20" y="28"/>
                    </a:cubicBezTo>
                    <a:cubicBezTo>
                      <a:pt x="30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5" name="iṥ1íḍê">
                <a:extLst>
                  <a:ext uri="{FF2B5EF4-FFF2-40B4-BE49-F238E27FC236}">
                    <a16:creationId xmlns:a16="http://schemas.microsoft.com/office/drawing/2014/main" id="{4C8AF53A-F56E-4F4F-A16B-69452307A790}"/>
                  </a:ext>
                </a:extLst>
              </p:cNvPr>
              <p:cNvSpPr/>
              <p:nvPr/>
            </p:nvSpPr>
            <p:spPr bwMode="auto">
              <a:xfrm>
                <a:off x="5915960" y="3803849"/>
                <a:ext cx="131151" cy="101834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6" name="ïṧḻíḑè">
                <a:extLst>
                  <a:ext uri="{FF2B5EF4-FFF2-40B4-BE49-F238E27FC236}">
                    <a16:creationId xmlns:a16="http://schemas.microsoft.com/office/drawing/2014/main" id="{648EE114-F649-44A7-A852-204879B1FA12}"/>
                  </a:ext>
                </a:extLst>
              </p:cNvPr>
              <p:cNvSpPr/>
              <p:nvPr/>
            </p:nvSpPr>
            <p:spPr bwMode="auto">
              <a:xfrm>
                <a:off x="6076426" y="3803849"/>
                <a:ext cx="134237" cy="101834"/>
              </a:xfrm>
              <a:custGeom>
                <a:avLst/>
                <a:gdLst>
                  <a:gd name="T0" fmla="*/ 37 w 37"/>
                  <a:gd name="T1" fmla="*/ 14 h 28"/>
                  <a:gd name="T2" fmla="*/ 18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7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7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7" name="iṥḻïḍe">
                <a:extLst>
                  <a:ext uri="{FF2B5EF4-FFF2-40B4-BE49-F238E27FC236}">
                    <a16:creationId xmlns:a16="http://schemas.microsoft.com/office/drawing/2014/main" id="{0BEB5C78-180B-4721-9B4F-269113BBA1C4}"/>
                  </a:ext>
                </a:extLst>
              </p:cNvPr>
              <p:cNvSpPr/>
              <p:nvPr/>
            </p:nvSpPr>
            <p:spPr bwMode="auto">
              <a:xfrm>
                <a:off x="6239978" y="3803849"/>
                <a:ext cx="135779" cy="101834"/>
              </a:xfrm>
              <a:custGeom>
                <a:avLst/>
                <a:gdLst>
                  <a:gd name="T0" fmla="*/ 36 w 37"/>
                  <a:gd name="T1" fmla="*/ 14 h 28"/>
                  <a:gd name="T2" fmla="*/ 17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6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6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8" name="íṧľiḓe">
                <a:extLst>
                  <a:ext uri="{FF2B5EF4-FFF2-40B4-BE49-F238E27FC236}">
                    <a16:creationId xmlns:a16="http://schemas.microsoft.com/office/drawing/2014/main" id="{1D0A6CEF-0C14-443E-8B05-8F57C5110C07}"/>
                  </a:ext>
                </a:extLst>
              </p:cNvPr>
              <p:cNvSpPr/>
              <p:nvPr/>
            </p:nvSpPr>
            <p:spPr bwMode="auto">
              <a:xfrm>
                <a:off x="6400445" y="3803849"/>
                <a:ext cx="138865" cy="101834"/>
              </a:xfrm>
              <a:custGeom>
                <a:avLst/>
                <a:gdLst>
                  <a:gd name="T0" fmla="*/ 37 w 38"/>
                  <a:gd name="T1" fmla="*/ 14 h 28"/>
                  <a:gd name="T2" fmla="*/ 18 w 38"/>
                  <a:gd name="T3" fmla="*/ 0 h 28"/>
                  <a:gd name="T4" fmla="*/ 0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10" y="28"/>
                      <a:pt x="20" y="28"/>
                    </a:cubicBezTo>
                    <a:cubicBezTo>
                      <a:pt x="30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9" name="íṣḷïďe">
                <a:extLst>
                  <a:ext uri="{FF2B5EF4-FFF2-40B4-BE49-F238E27FC236}">
                    <a16:creationId xmlns:a16="http://schemas.microsoft.com/office/drawing/2014/main" id="{8440AD3A-040B-4716-B708-7A7A7568D1EF}"/>
                  </a:ext>
                </a:extLst>
              </p:cNvPr>
              <p:cNvSpPr/>
              <p:nvPr/>
            </p:nvSpPr>
            <p:spPr bwMode="auto">
              <a:xfrm>
                <a:off x="6560911" y="3803849"/>
                <a:ext cx="138865" cy="101834"/>
              </a:xfrm>
              <a:custGeom>
                <a:avLst/>
                <a:gdLst>
                  <a:gd name="T0" fmla="*/ 37 w 38"/>
                  <a:gd name="T1" fmla="*/ 14 h 28"/>
                  <a:gd name="T2" fmla="*/ 18 w 38"/>
                  <a:gd name="T3" fmla="*/ 0 h 28"/>
                  <a:gd name="T4" fmla="*/ 1 w 38"/>
                  <a:gd name="T5" fmla="*/ 14 h 28"/>
                  <a:gd name="T6" fmla="*/ 21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2"/>
                      <a:pt x="10" y="28"/>
                      <a:pt x="21" y="28"/>
                    </a:cubicBezTo>
                    <a:cubicBezTo>
                      <a:pt x="31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0" name="iŝḷîḓè">
                <a:extLst>
                  <a:ext uri="{FF2B5EF4-FFF2-40B4-BE49-F238E27FC236}">
                    <a16:creationId xmlns:a16="http://schemas.microsoft.com/office/drawing/2014/main" id="{7DD4A8DE-74C2-4A54-8914-F6C887595258}"/>
                  </a:ext>
                </a:extLst>
              </p:cNvPr>
              <p:cNvSpPr/>
              <p:nvPr/>
            </p:nvSpPr>
            <p:spPr bwMode="auto">
              <a:xfrm>
                <a:off x="6726006" y="3803849"/>
                <a:ext cx="138865" cy="101834"/>
              </a:xfrm>
              <a:custGeom>
                <a:avLst/>
                <a:gdLst>
                  <a:gd name="T0" fmla="*/ 37 w 38"/>
                  <a:gd name="T1" fmla="*/ 14 h 28"/>
                  <a:gd name="T2" fmla="*/ 17 w 38"/>
                  <a:gd name="T3" fmla="*/ 0 h 28"/>
                  <a:gd name="T4" fmla="*/ 1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1" y="14"/>
                    </a:cubicBezTo>
                    <a:cubicBezTo>
                      <a:pt x="1" y="22"/>
                      <a:pt x="10" y="28"/>
                      <a:pt x="20" y="28"/>
                    </a:cubicBezTo>
                    <a:cubicBezTo>
                      <a:pt x="31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1" name="ïṣľïḋe">
                <a:extLst>
                  <a:ext uri="{FF2B5EF4-FFF2-40B4-BE49-F238E27FC236}">
                    <a16:creationId xmlns:a16="http://schemas.microsoft.com/office/drawing/2014/main" id="{350DBF4F-DD69-4BE7-8754-DC298A7BECEA}"/>
                  </a:ext>
                </a:extLst>
              </p:cNvPr>
              <p:cNvSpPr/>
              <p:nvPr/>
            </p:nvSpPr>
            <p:spPr bwMode="auto">
              <a:xfrm>
                <a:off x="5915960" y="3931914"/>
                <a:ext cx="134237" cy="104920"/>
              </a:xfrm>
              <a:custGeom>
                <a:avLst/>
                <a:gdLst>
                  <a:gd name="T0" fmla="*/ 37 w 37"/>
                  <a:gd name="T1" fmla="*/ 14 h 29"/>
                  <a:gd name="T2" fmla="*/ 18 w 37"/>
                  <a:gd name="T3" fmla="*/ 0 h 29"/>
                  <a:gd name="T4" fmla="*/ 0 w 37"/>
                  <a:gd name="T5" fmla="*/ 14 h 29"/>
                  <a:gd name="T6" fmla="*/ 19 w 37"/>
                  <a:gd name="T7" fmla="*/ 29 h 29"/>
                  <a:gd name="T8" fmla="*/ 37 w 37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7" y="14"/>
                    </a:moveTo>
                    <a:cubicBezTo>
                      <a:pt x="37" y="6"/>
                      <a:pt x="29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0" y="22"/>
                      <a:pt x="9" y="29"/>
                      <a:pt x="19" y="29"/>
                    </a:cubicBezTo>
                    <a:cubicBezTo>
                      <a:pt x="29" y="29"/>
                      <a:pt x="37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2" name="îSľîḑè">
                <a:extLst>
                  <a:ext uri="{FF2B5EF4-FFF2-40B4-BE49-F238E27FC236}">
                    <a16:creationId xmlns:a16="http://schemas.microsoft.com/office/drawing/2014/main" id="{C5D03288-50BC-4DCF-A0DC-899100DE7CF4}"/>
                  </a:ext>
                </a:extLst>
              </p:cNvPr>
              <p:cNvSpPr/>
              <p:nvPr/>
            </p:nvSpPr>
            <p:spPr bwMode="auto">
              <a:xfrm>
                <a:off x="6079512" y="3931914"/>
                <a:ext cx="138865" cy="104920"/>
              </a:xfrm>
              <a:custGeom>
                <a:avLst/>
                <a:gdLst>
                  <a:gd name="T0" fmla="*/ 37 w 38"/>
                  <a:gd name="T1" fmla="*/ 14 h 29"/>
                  <a:gd name="T2" fmla="*/ 18 w 38"/>
                  <a:gd name="T3" fmla="*/ 0 h 29"/>
                  <a:gd name="T4" fmla="*/ 0 w 38"/>
                  <a:gd name="T5" fmla="*/ 14 h 29"/>
                  <a:gd name="T6" fmla="*/ 19 w 38"/>
                  <a:gd name="T7" fmla="*/ 29 h 29"/>
                  <a:gd name="T8" fmla="*/ 37 w 38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9">
                    <a:moveTo>
                      <a:pt x="37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9"/>
                      <a:pt x="19" y="29"/>
                    </a:cubicBezTo>
                    <a:cubicBezTo>
                      <a:pt x="30" y="29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3" name="iṥḻiḓe">
                <a:extLst>
                  <a:ext uri="{FF2B5EF4-FFF2-40B4-BE49-F238E27FC236}">
                    <a16:creationId xmlns:a16="http://schemas.microsoft.com/office/drawing/2014/main" id="{7BD2B06D-B98C-40F9-90B4-A6DC9603C46C}"/>
                  </a:ext>
                </a:extLst>
              </p:cNvPr>
              <p:cNvSpPr/>
              <p:nvPr/>
            </p:nvSpPr>
            <p:spPr bwMode="auto">
              <a:xfrm>
                <a:off x="6244607" y="3931914"/>
                <a:ext cx="138865" cy="104920"/>
              </a:xfrm>
              <a:custGeom>
                <a:avLst/>
                <a:gdLst>
                  <a:gd name="T0" fmla="*/ 38 w 38"/>
                  <a:gd name="T1" fmla="*/ 14 h 29"/>
                  <a:gd name="T2" fmla="*/ 18 w 38"/>
                  <a:gd name="T3" fmla="*/ 0 h 29"/>
                  <a:gd name="T4" fmla="*/ 1 w 38"/>
                  <a:gd name="T5" fmla="*/ 14 h 29"/>
                  <a:gd name="T6" fmla="*/ 20 w 38"/>
                  <a:gd name="T7" fmla="*/ 29 h 29"/>
                  <a:gd name="T8" fmla="*/ 38 w 38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9">
                    <a:moveTo>
                      <a:pt x="38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2"/>
                      <a:pt x="10" y="29"/>
                      <a:pt x="20" y="29"/>
                    </a:cubicBezTo>
                    <a:cubicBezTo>
                      <a:pt x="30" y="29"/>
                      <a:pt x="38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4" name="îSḷïdé">
                <a:extLst>
                  <a:ext uri="{FF2B5EF4-FFF2-40B4-BE49-F238E27FC236}">
                    <a16:creationId xmlns:a16="http://schemas.microsoft.com/office/drawing/2014/main" id="{E011E999-FA3E-4AEA-98C0-F545D096A27E}"/>
                  </a:ext>
                </a:extLst>
              </p:cNvPr>
              <p:cNvSpPr/>
              <p:nvPr/>
            </p:nvSpPr>
            <p:spPr bwMode="auto">
              <a:xfrm>
                <a:off x="6408159" y="3931914"/>
                <a:ext cx="141951" cy="104920"/>
              </a:xfrm>
              <a:custGeom>
                <a:avLst/>
                <a:gdLst>
                  <a:gd name="T0" fmla="*/ 38 w 39"/>
                  <a:gd name="T1" fmla="*/ 14 h 29"/>
                  <a:gd name="T2" fmla="*/ 18 w 39"/>
                  <a:gd name="T3" fmla="*/ 0 h 29"/>
                  <a:gd name="T4" fmla="*/ 1 w 39"/>
                  <a:gd name="T5" fmla="*/ 14 h 29"/>
                  <a:gd name="T6" fmla="*/ 21 w 39"/>
                  <a:gd name="T7" fmla="*/ 29 h 29"/>
                  <a:gd name="T8" fmla="*/ 38 w 39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9">
                    <a:moveTo>
                      <a:pt x="38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2"/>
                      <a:pt x="10" y="29"/>
                      <a:pt x="21" y="29"/>
                    </a:cubicBezTo>
                    <a:cubicBezTo>
                      <a:pt x="31" y="29"/>
                      <a:pt x="39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5" name="i$ḻîḋê">
                <a:extLst>
                  <a:ext uri="{FF2B5EF4-FFF2-40B4-BE49-F238E27FC236}">
                    <a16:creationId xmlns:a16="http://schemas.microsoft.com/office/drawing/2014/main" id="{4E209CEC-6AD3-47AD-9AFC-2EBA45028478}"/>
                  </a:ext>
                </a:extLst>
              </p:cNvPr>
              <p:cNvSpPr/>
              <p:nvPr/>
            </p:nvSpPr>
            <p:spPr bwMode="auto">
              <a:xfrm>
                <a:off x="6573255" y="3931914"/>
                <a:ext cx="141951" cy="104920"/>
              </a:xfrm>
              <a:custGeom>
                <a:avLst/>
                <a:gdLst>
                  <a:gd name="T0" fmla="*/ 38 w 39"/>
                  <a:gd name="T1" fmla="*/ 14 h 29"/>
                  <a:gd name="T2" fmla="*/ 18 w 39"/>
                  <a:gd name="T3" fmla="*/ 0 h 29"/>
                  <a:gd name="T4" fmla="*/ 1 w 39"/>
                  <a:gd name="T5" fmla="*/ 14 h 29"/>
                  <a:gd name="T6" fmla="*/ 21 w 39"/>
                  <a:gd name="T7" fmla="*/ 29 h 29"/>
                  <a:gd name="T8" fmla="*/ 38 w 39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9">
                    <a:moveTo>
                      <a:pt x="38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2"/>
                      <a:pt x="11" y="29"/>
                      <a:pt x="21" y="29"/>
                    </a:cubicBezTo>
                    <a:cubicBezTo>
                      <a:pt x="31" y="29"/>
                      <a:pt x="39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6" name="îṡḷîdê">
                <a:extLst>
                  <a:ext uri="{FF2B5EF4-FFF2-40B4-BE49-F238E27FC236}">
                    <a16:creationId xmlns:a16="http://schemas.microsoft.com/office/drawing/2014/main" id="{6FE776F5-09BA-4658-BAA0-003FE8815D7A}"/>
                  </a:ext>
                </a:extLst>
              </p:cNvPr>
              <p:cNvSpPr/>
              <p:nvPr/>
            </p:nvSpPr>
            <p:spPr bwMode="auto">
              <a:xfrm>
                <a:off x="6739893" y="3931914"/>
                <a:ext cx="138865" cy="104920"/>
              </a:xfrm>
              <a:custGeom>
                <a:avLst/>
                <a:gdLst>
                  <a:gd name="T0" fmla="*/ 37 w 38"/>
                  <a:gd name="T1" fmla="*/ 14 h 29"/>
                  <a:gd name="T2" fmla="*/ 17 w 38"/>
                  <a:gd name="T3" fmla="*/ 0 h 29"/>
                  <a:gd name="T4" fmla="*/ 0 w 38"/>
                  <a:gd name="T5" fmla="*/ 14 h 29"/>
                  <a:gd name="T6" fmla="*/ 21 w 38"/>
                  <a:gd name="T7" fmla="*/ 29 h 29"/>
                  <a:gd name="T8" fmla="*/ 37 w 38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9">
                    <a:moveTo>
                      <a:pt x="37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1" y="22"/>
                      <a:pt x="10" y="29"/>
                      <a:pt x="21" y="29"/>
                    </a:cubicBezTo>
                    <a:cubicBezTo>
                      <a:pt x="31" y="29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7" name="îŝļíḑê">
                <a:extLst>
                  <a:ext uri="{FF2B5EF4-FFF2-40B4-BE49-F238E27FC236}">
                    <a16:creationId xmlns:a16="http://schemas.microsoft.com/office/drawing/2014/main" id="{51742781-AF33-47ED-9EEA-55B08DF25BFD}"/>
                  </a:ext>
                </a:extLst>
              </p:cNvPr>
              <p:cNvSpPr/>
              <p:nvPr/>
            </p:nvSpPr>
            <p:spPr bwMode="auto">
              <a:xfrm>
                <a:off x="5750864" y="4063064"/>
                <a:ext cx="135779" cy="10955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8" name="ïšḻíḓè">
                <a:extLst>
                  <a:ext uri="{FF2B5EF4-FFF2-40B4-BE49-F238E27FC236}">
                    <a16:creationId xmlns:a16="http://schemas.microsoft.com/office/drawing/2014/main" id="{6570E19C-414B-48B2-98EF-F473FE5555F2}"/>
                  </a:ext>
                </a:extLst>
              </p:cNvPr>
              <p:cNvSpPr/>
              <p:nvPr/>
            </p:nvSpPr>
            <p:spPr bwMode="auto">
              <a:xfrm>
                <a:off x="5915960" y="4063064"/>
                <a:ext cx="138865" cy="109550"/>
              </a:xfrm>
              <a:custGeom>
                <a:avLst/>
                <a:gdLst>
                  <a:gd name="T0" fmla="*/ 38 w 38"/>
                  <a:gd name="T1" fmla="*/ 15 h 30"/>
                  <a:gd name="T2" fmla="*/ 19 w 38"/>
                  <a:gd name="T3" fmla="*/ 0 h 30"/>
                  <a:gd name="T4" fmla="*/ 1 w 38"/>
                  <a:gd name="T5" fmla="*/ 15 h 30"/>
                  <a:gd name="T6" fmla="*/ 20 w 38"/>
                  <a:gd name="T7" fmla="*/ 30 h 30"/>
                  <a:gd name="T8" fmla="*/ 38 w 38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38" y="15"/>
                    </a:moveTo>
                    <a:cubicBezTo>
                      <a:pt x="38" y="6"/>
                      <a:pt x="29" y="0"/>
                      <a:pt x="19" y="0"/>
                    </a:cubicBezTo>
                    <a:cubicBezTo>
                      <a:pt x="9" y="0"/>
                      <a:pt x="0" y="6"/>
                      <a:pt x="1" y="15"/>
                    </a:cubicBezTo>
                    <a:cubicBezTo>
                      <a:pt x="1" y="23"/>
                      <a:pt x="9" y="30"/>
                      <a:pt x="20" y="30"/>
                    </a:cubicBezTo>
                    <a:cubicBezTo>
                      <a:pt x="30" y="30"/>
                      <a:pt x="38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9" name="işḻîdé">
                <a:extLst>
                  <a:ext uri="{FF2B5EF4-FFF2-40B4-BE49-F238E27FC236}">
                    <a16:creationId xmlns:a16="http://schemas.microsoft.com/office/drawing/2014/main" id="{5EAFFEA3-15D1-4850-9CA8-A1A42734EC50}"/>
                  </a:ext>
                </a:extLst>
              </p:cNvPr>
              <p:cNvSpPr/>
              <p:nvPr/>
            </p:nvSpPr>
            <p:spPr bwMode="auto">
              <a:xfrm>
                <a:off x="6084140" y="4063064"/>
                <a:ext cx="138865" cy="109550"/>
              </a:xfrm>
              <a:custGeom>
                <a:avLst/>
                <a:gdLst>
                  <a:gd name="T0" fmla="*/ 38 w 38"/>
                  <a:gd name="T1" fmla="*/ 15 h 30"/>
                  <a:gd name="T2" fmla="*/ 19 w 38"/>
                  <a:gd name="T3" fmla="*/ 0 h 30"/>
                  <a:gd name="T4" fmla="*/ 1 w 38"/>
                  <a:gd name="T5" fmla="*/ 15 h 30"/>
                  <a:gd name="T6" fmla="*/ 20 w 38"/>
                  <a:gd name="T7" fmla="*/ 30 h 30"/>
                  <a:gd name="T8" fmla="*/ 38 w 38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38" y="15"/>
                    </a:moveTo>
                    <a:cubicBezTo>
                      <a:pt x="38" y="6"/>
                      <a:pt x="29" y="0"/>
                      <a:pt x="19" y="0"/>
                    </a:cubicBezTo>
                    <a:cubicBezTo>
                      <a:pt x="8" y="0"/>
                      <a:pt x="0" y="6"/>
                      <a:pt x="1" y="15"/>
                    </a:cubicBezTo>
                    <a:cubicBezTo>
                      <a:pt x="1" y="23"/>
                      <a:pt x="9" y="30"/>
                      <a:pt x="20" y="30"/>
                    </a:cubicBezTo>
                    <a:cubicBezTo>
                      <a:pt x="30" y="30"/>
                      <a:pt x="38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0" name="îşļïḑe">
                <a:extLst>
                  <a:ext uri="{FF2B5EF4-FFF2-40B4-BE49-F238E27FC236}">
                    <a16:creationId xmlns:a16="http://schemas.microsoft.com/office/drawing/2014/main" id="{CD825CA2-728B-45B3-8F11-085B785DD57C}"/>
                  </a:ext>
                </a:extLst>
              </p:cNvPr>
              <p:cNvSpPr/>
              <p:nvPr/>
            </p:nvSpPr>
            <p:spPr bwMode="auto">
              <a:xfrm>
                <a:off x="6250779" y="4063064"/>
                <a:ext cx="143495" cy="109550"/>
              </a:xfrm>
              <a:custGeom>
                <a:avLst/>
                <a:gdLst>
                  <a:gd name="T0" fmla="*/ 38 w 39"/>
                  <a:gd name="T1" fmla="*/ 15 h 30"/>
                  <a:gd name="T2" fmla="*/ 18 w 39"/>
                  <a:gd name="T3" fmla="*/ 0 h 30"/>
                  <a:gd name="T4" fmla="*/ 0 w 39"/>
                  <a:gd name="T5" fmla="*/ 15 h 30"/>
                  <a:gd name="T6" fmla="*/ 20 w 39"/>
                  <a:gd name="T7" fmla="*/ 30 h 30"/>
                  <a:gd name="T8" fmla="*/ 38 w 39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38" y="15"/>
                    </a:moveTo>
                    <a:cubicBezTo>
                      <a:pt x="37" y="6"/>
                      <a:pt x="29" y="0"/>
                      <a:pt x="18" y="0"/>
                    </a:cubicBezTo>
                    <a:cubicBezTo>
                      <a:pt x="8" y="0"/>
                      <a:pt x="0" y="6"/>
                      <a:pt x="0" y="15"/>
                    </a:cubicBezTo>
                    <a:cubicBezTo>
                      <a:pt x="1" y="23"/>
                      <a:pt x="10" y="30"/>
                      <a:pt x="20" y="30"/>
                    </a:cubicBezTo>
                    <a:cubicBezTo>
                      <a:pt x="31" y="30"/>
                      <a:pt x="39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1" name="iSḷîďè">
                <a:extLst>
                  <a:ext uri="{FF2B5EF4-FFF2-40B4-BE49-F238E27FC236}">
                    <a16:creationId xmlns:a16="http://schemas.microsoft.com/office/drawing/2014/main" id="{1ADA4E8C-71A1-4C49-B0EF-4065906490DF}"/>
                  </a:ext>
                </a:extLst>
              </p:cNvPr>
              <p:cNvSpPr/>
              <p:nvPr/>
            </p:nvSpPr>
            <p:spPr bwMode="auto">
              <a:xfrm>
                <a:off x="6418960" y="4063064"/>
                <a:ext cx="141951" cy="109550"/>
              </a:xfrm>
              <a:custGeom>
                <a:avLst/>
                <a:gdLst>
                  <a:gd name="T0" fmla="*/ 38 w 39"/>
                  <a:gd name="T1" fmla="*/ 15 h 30"/>
                  <a:gd name="T2" fmla="*/ 18 w 39"/>
                  <a:gd name="T3" fmla="*/ 0 h 30"/>
                  <a:gd name="T4" fmla="*/ 0 w 39"/>
                  <a:gd name="T5" fmla="*/ 15 h 30"/>
                  <a:gd name="T6" fmla="*/ 20 w 39"/>
                  <a:gd name="T7" fmla="*/ 30 h 30"/>
                  <a:gd name="T8" fmla="*/ 38 w 39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38" y="15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5"/>
                    </a:cubicBezTo>
                    <a:cubicBezTo>
                      <a:pt x="1" y="23"/>
                      <a:pt x="10" y="30"/>
                      <a:pt x="20" y="30"/>
                    </a:cubicBezTo>
                    <a:cubicBezTo>
                      <a:pt x="31" y="30"/>
                      <a:pt x="39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2" name="îṩľiḍe">
                <a:extLst>
                  <a:ext uri="{FF2B5EF4-FFF2-40B4-BE49-F238E27FC236}">
                    <a16:creationId xmlns:a16="http://schemas.microsoft.com/office/drawing/2014/main" id="{CCBAAC40-29CA-43FB-8071-DA491A8D539A}"/>
                  </a:ext>
                </a:extLst>
              </p:cNvPr>
              <p:cNvSpPr/>
              <p:nvPr/>
            </p:nvSpPr>
            <p:spPr bwMode="auto">
              <a:xfrm>
                <a:off x="6587141" y="4063064"/>
                <a:ext cx="141951" cy="109550"/>
              </a:xfrm>
              <a:custGeom>
                <a:avLst/>
                <a:gdLst>
                  <a:gd name="T0" fmla="*/ 38 w 39"/>
                  <a:gd name="T1" fmla="*/ 15 h 30"/>
                  <a:gd name="T2" fmla="*/ 18 w 39"/>
                  <a:gd name="T3" fmla="*/ 0 h 30"/>
                  <a:gd name="T4" fmla="*/ 0 w 39"/>
                  <a:gd name="T5" fmla="*/ 15 h 30"/>
                  <a:gd name="T6" fmla="*/ 21 w 39"/>
                  <a:gd name="T7" fmla="*/ 30 h 30"/>
                  <a:gd name="T8" fmla="*/ 38 w 39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38" y="15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1" y="23"/>
                      <a:pt x="10" y="30"/>
                      <a:pt x="21" y="30"/>
                    </a:cubicBezTo>
                    <a:cubicBezTo>
                      <a:pt x="31" y="30"/>
                      <a:pt x="39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3" name="î$ľïďe">
                <a:extLst>
                  <a:ext uri="{FF2B5EF4-FFF2-40B4-BE49-F238E27FC236}">
                    <a16:creationId xmlns:a16="http://schemas.microsoft.com/office/drawing/2014/main" id="{A517AECD-B97C-4553-9940-A9F49CF1C591}"/>
                  </a:ext>
                </a:extLst>
              </p:cNvPr>
              <p:cNvSpPr/>
              <p:nvPr/>
            </p:nvSpPr>
            <p:spPr bwMode="auto">
              <a:xfrm>
                <a:off x="6750693" y="4063064"/>
                <a:ext cx="146580" cy="109550"/>
              </a:xfrm>
              <a:custGeom>
                <a:avLst/>
                <a:gdLst>
                  <a:gd name="T0" fmla="*/ 39 w 40"/>
                  <a:gd name="T1" fmla="*/ 15 h 30"/>
                  <a:gd name="T2" fmla="*/ 18 w 40"/>
                  <a:gd name="T3" fmla="*/ 0 h 30"/>
                  <a:gd name="T4" fmla="*/ 1 w 40"/>
                  <a:gd name="T5" fmla="*/ 15 h 30"/>
                  <a:gd name="T6" fmla="*/ 22 w 40"/>
                  <a:gd name="T7" fmla="*/ 30 h 30"/>
                  <a:gd name="T8" fmla="*/ 39 w 40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0">
                    <a:moveTo>
                      <a:pt x="39" y="15"/>
                    </a:moveTo>
                    <a:cubicBezTo>
                      <a:pt x="38" y="6"/>
                      <a:pt x="29" y="0"/>
                      <a:pt x="18" y="0"/>
                    </a:cubicBezTo>
                    <a:cubicBezTo>
                      <a:pt x="8" y="0"/>
                      <a:pt x="0" y="6"/>
                      <a:pt x="1" y="15"/>
                    </a:cubicBezTo>
                    <a:cubicBezTo>
                      <a:pt x="2" y="23"/>
                      <a:pt x="11" y="30"/>
                      <a:pt x="22" y="30"/>
                    </a:cubicBezTo>
                    <a:cubicBezTo>
                      <a:pt x="32" y="30"/>
                      <a:pt x="40" y="23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4" name="îšļîḍè">
                <a:extLst>
                  <a:ext uri="{FF2B5EF4-FFF2-40B4-BE49-F238E27FC236}">
                    <a16:creationId xmlns:a16="http://schemas.microsoft.com/office/drawing/2014/main" id="{8A770497-7458-45B3-8D13-79C9F1EF7E1F}"/>
                  </a:ext>
                </a:extLst>
              </p:cNvPr>
              <p:cNvSpPr/>
              <p:nvPr/>
            </p:nvSpPr>
            <p:spPr bwMode="auto">
              <a:xfrm>
                <a:off x="5919046" y="4198843"/>
                <a:ext cx="138865" cy="112636"/>
              </a:xfrm>
              <a:custGeom>
                <a:avLst/>
                <a:gdLst>
                  <a:gd name="T0" fmla="*/ 38 w 38"/>
                  <a:gd name="T1" fmla="*/ 15 h 31"/>
                  <a:gd name="T2" fmla="*/ 19 w 38"/>
                  <a:gd name="T3" fmla="*/ 0 h 31"/>
                  <a:gd name="T4" fmla="*/ 0 w 38"/>
                  <a:gd name="T5" fmla="*/ 15 h 31"/>
                  <a:gd name="T6" fmla="*/ 19 w 38"/>
                  <a:gd name="T7" fmla="*/ 31 h 31"/>
                  <a:gd name="T8" fmla="*/ 38 w 38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1">
                    <a:moveTo>
                      <a:pt x="38" y="15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0" y="15"/>
                    </a:cubicBezTo>
                    <a:cubicBezTo>
                      <a:pt x="0" y="24"/>
                      <a:pt x="9" y="31"/>
                      <a:pt x="19" y="31"/>
                    </a:cubicBezTo>
                    <a:cubicBezTo>
                      <a:pt x="30" y="31"/>
                      <a:pt x="38" y="24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5" name="ïşlide">
                <a:extLst>
                  <a:ext uri="{FF2B5EF4-FFF2-40B4-BE49-F238E27FC236}">
                    <a16:creationId xmlns:a16="http://schemas.microsoft.com/office/drawing/2014/main" id="{B062BC8F-2399-4B9D-B030-01B99F54CB3B}"/>
                  </a:ext>
                </a:extLst>
              </p:cNvPr>
              <p:cNvSpPr/>
              <p:nvPr/>
            </p:nvSpPr>
            <p:spPr bwMode="auto">
              <a:xfrm>
                <a:off x="6087226" y="4198843"/>
                <a:ext cx="141951" cy="112636"/>
              </a:xfrm>
              <a:custGeom>
                <a:avLst/>
                <a:gdLst>
                  <a:gd name="T0" fmla="*/ 39 w 39"/>
                  <a:gd name="T1" fmla="*/ 15 h 31"/>
                  <a:gd name="T2" fmla="*/ 19 w 39"/>
                  <a:gd name="T3" fmla="*/ 0 h 31"/>
                  <a:gd name="T4" fmla="*/ 1 w 39"/>
                  <a:gd name="T5" fmla="*/ 15 h 31"/>
                  <a:gd name="T6" fmla="*/ 20 w 39"/>
                  <a:gd name="T7" fmla="*/ 31 h 31"/>
                  <a:gd name="T8" fmla="*/ 39 w 39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1">
                    <a:moveTo>
                      <a:pt x="39" y="15"/>
                    </a:moveTo>
                    <a:cubicBezTo>
                      <a:pt x="38" y="7"/>
                      <a:pt x="30" y="0"/>
                      <a:pt x="19" y="0"/>
                    </a:cubicBezTo>
                    <a:cubicBezTo>
                      <a:pt x="9" y="0"/>
                      <a:pt x="0" y="7"/>
                      <a:pt x="1" y="15"/>
                    </a:cubicBezTo>
                    <a:cubicBezTo>
                      <a:pt x="1" y="24"/>
                      <a:pt x="10" y="31"/>
                      <a:pt x="20" y="31"/>
                    </a:cubicBezTo>
                    <a:cubicBezTo>
                      <a:pt x="31" y="31"/>
                      <a:pt x="39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6" name="išlîḋè">
                <a:extLst>
                  <a:ext uri="{FF2B5EF4-FFF2-40B4-BE49-F238E27FC236}">
                    <a16:creationId xmlns:a16="http://schemas.microsoft.com/office/drawing/2014/main" id="{D781AEEA-B4D8-4C85-AA4F-F84B6B9D291F}"/>
                  </a:ext>
                </a:extLst>
              </p:cNvPr>
              <p:cNvSpPr/>
              <p:nvPr/>
            </p:nvSpPr>
            <p:spPr bwMode="auto">
              <a:xfrm>
                <a:off x="6258494" y="4198843"/>
                <a:ext cx="141951" cy="112636"/>
              </a:xfrm>
              <a:custGeom>
                <a:avLst/>
                <a:gdLst>
                  <a:gd name="T0" fmla="*/ 38 w 39"/>
                  <a:gd name="T1" fmla="*/ 15 h 31"/>
                  <a:gd name="T2" fmla="*/ 18 w 39"/>
                  <a:gd name="T3" fmla="*/ 0 h 31"/>
                  <a:gd name="T4" fmla="*/ 0 w 39"/>
                  <a:gd name="T5" fmla="*/ 15 h 31"/>
                  <a:gd name="T6" fmla="*/ 20 w 39"/>
                  <a:gd name="T7" fmla="*/ 31 h 31"/>
                  <a:gd name="T8" fmla="*/ 38 w 39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1">
                    <a:moveTo>
                      <a:pt x="38" y="15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0" y="15"/>
                    </a:cubicBezTo>
                    <a:cubicBezTo>
                      <a:pt x="1" y="24"/>
                      <a:pt x="10" y="31"/>
                      <a:pt x="20" y="31"/>
                    </a:cubicBezTo>
                    <a:cubicBezTo>
                      <a:pt x="31" y="31"/>
                      <a:pt x="39" y="24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7" name="iśḻîḓè">
                <a:extLst>
                  <a:ext uri="{FF2B5EF4-FFF2-40B4-BE49-F238E27FC236}">
                    <a16:creationId xmlns:a16="http://schemas.microsoft.com/office/drawing/2014/main" id="{BF63F038-4509-4920-AC9C-E111E8D46388}"/>
                  </a:ext>
                </a:extLst>
              </p:cNvPr>
              <p:cNvSpPr/>
              <p:nvPr/>
            </p:nvSpPr>
            <p:spPr bwMode="auto">
              <a:xfrm>
                <a:off x="6426674" y="4198843"/>
                <a:ext cx="146580" cy="112636"/>
              </a:xfrm>
              <a:custGeom>
                <a:avLst/>
                <a:gdLst>
                  <a:gd name="T0" fmla="*/ 39 w 40"/>
                  <a:gd name="T1" fmla="*/ 15 h 31"/>
                  <a:gd name="T2" fmla="*/ 19 w 40"/>
                  <a:gd name="T3" fmla="*/ 0 h 31"/>
                  <a:gd name="T4" fmla="*/ 1 w 40"/>
                  <a:gd name="T5" fmla="*/ 15 h 31"/>
                  <a:gd name="T6" fmla="*/ 21 w 40"/>
                  <a:gd name="T7" fmla="*/ 31 h 31"/>
                  <a:gd name="T8" fmla="*/ 39 w 4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39" y="15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1" y="15"/>
                    </a:cubicBezTo>
                    <a:cubicBezTo>
                      <a:pt x="2" y="24"/>
                      <a:pt x="11" y="31"/>
                      <a:pt x="21" y="31"/>
                    </a:cubicBezTo>
                    <a:cubicBezTo>
                      <a:pt x="32" y="31"/>
                      <a:pt x="40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8" name="ïSľïdê">
                <a:extLst>
                  <a:ext uri="{FF2B5EF4-FFF2-40B4-BE49-F238E27FC236}">
                    <a16:creationId xmlns:a16="http://schemas.microsoft.com/office/drawing/2014/main" id="{2BE733F5-F188-447A-A2A8-72C67E634A9F}"/>
                  </a:ext>
                </a:extLst>
              </p:cNvPr>
              <p:cNvSpPr/>
              <p:nvPr/>
            </p:nvSpPr>
            <p:spPr bwMode="auto">
              <a:xfrm>
                <a:off x="6597942" y="4198843"/>
                <a:ext cx="146580" cy="112636"/>
              </a:xfrm>
              <a:custGeom>
                <a:avLst/>
                <a:gdLst>
                  <a:gd name="T0" fmla="*/ 39 w 40"/>
                  <a:gd name="T1" fmla="*/ 15 h 31"/>
                  <a:gd name="T2" fmla="*/ 18 w 40"/>
                  <a:gd name="T3" fmla="*/ 0 h 31"/>
                  <a:gd name="T4" fmla="*/ 1 w 40"/>
                  <a:gd name="T5" fmla="*/ 15 h 31"/>
                  <a:gd name="T6" fmla="*/ 21 w 40"/>
                  <a:gd name="T7" fmla="*/ 31 h 31"/>
                  <a:gd name="T8" fmla="*/ 39 w 4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39" y="15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1" y="15"/>
                    </a:cubicBezTo>
                    <a:cubicBezTo>
                      <a:pt x="1" y="24"/>
                      <a:pt x="11" y="31"/>
                      <a:pt x="21" y="31"/>
                    </a:cubicBezTo>
                    <a:cubicBezTo>
                      <a:pt x="32" y="31"/>
                      <a:pt x="40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9" name="iṣḻídé">
                <a:extLst>
                  <a:ext uri="{FF2B5EF4-FFF2-40B4-BE49-F238E27FC236}">
                    <a16:creationId xmlns:a16="http://schemas.microsoft.com/office/drawing/2014/main" id="{29D94757-A374-4C52-9B9F-ECE49C1B41DD}"/>
                  </a:ext>
                </a:extLst>
              </p:cNvPr>
              <p:cNvSpPr/>
              <p:nvPr/>
            </p:nvSpPr>
            <p:spPr bwMode="auto">
              <a:xfrm>
                <a:off x="5919046" y="4337708"/>
                <a:ext cx="143495" cy="115721"/>
              </a:xfrm>
              <a:custGeom>
                <a:avLst/>
                <a:gdLst>
                  <a:gd name="T0" fmla="*/ 39 w 39"/>
                  <a:gd name="T1" fmla="*/ 16 h 32"/>
                  <a:gd name="T2" fmla="*/ 19 w 39"/>
                  <a:gd name="T3" fmla="*/ 0 h 32"/>
                  <a:gd name="T4" fmla="*/ 0 w 39"/>
                  <a:gd name="T5" fmla="*/ 16 h 32"/>
                  <a:gd name="T6" fmla="*/ 20 w 39"/>
                  <a:gd name="T7" fmla="*/ 32 h 32"/>
                  <a:gd name="T8" fmla="*/ 39 w 3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2">
                    <a:moveTo>
                      <a:pt x="39" y="16"/>
                    </a:moveTo>
                    <a:cubicBezTo>
                      <a:pt x="39" y="7"/>
                      <a:pt x="30" y="0"/>
                      <a:pt x="19" y="0"/>
                    </a:cubicBezTo>
                    <a:cubicBezTo>
                      <a:pt x="9" y="0"/>
                      <a:pt x="0" y="7"/>
                      <a:pt x="0" y="16"/>
                    </a:cubicBezTo>
                    <a:cubicBezTo>
                      <a:pt x="0" y="25"/>
                      <a:pt x="9" y="32"/>
                      <a:pt x="20" y="32"/>
                    </a:cubicBezTo>
                    <a:cubicBezTo>
                      <a:pt x="31" y="32"/>
                      <a:pt x="39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0" name="îṥļíḓê">
                <a:extLst>
                  <a:ext uri="{FF2B5EF4-FFF2-40B4-BE49-F238E27FC236}">
                    <a16:creationId xmlns:a16="http://schemas.microsoft.com/office/drawing/2014/main" id="{9ADFFF12-575D-4BBA-829C-93A2DD680E0E}"/>
                  </a:ext>
                </a:extLst>
              </p:cNvPr>
              <p:cNvSpPr/>
              <p:nvPr/>
            </p:nvSpPr>
            <p:spPr bwMode="auto">
              <a:xfrm>
                <a:off x="6094941" y="4337708"/>
                <a:ext cx="141951" cy="115721"/>
              </a:xfrm>
              <a:custGeom>
                <a:avLst/>
                <a:gdLst>
                  <a:gd name="T0" fmla="*/ 39 w 39"/>
                  <a:gd name="T1" fmla="*/ 16 h 32"/>
                  <a:gd name="T2" fmla="*/ 19 w 39"/>
                  <a:gd name="T3" fmla="*/ 0 h 32"/>
                  <a:gd name="T4" fmla="*/ 0 w 39"/>
                  <a:gd name="T5" fmla="*/ 16 h 32"/>
                  <a:gd name="T6" fmla="*/ 20 w 39"/>
                  <a:gd name="T7" fmla="*/ 32 h 32"/>
                  <a:gd name="T8" fmla="*/ 39 w 3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2">
                    <a:moveTo>
                      <a:pt x="39" y="16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25"/>
                      <a:pt x="9" y="32"/>
                      <a:pt x="20" y="32"/>
                    </a:cubicBezTo>
                    <a:cubicBezTo>
                      <a:pt x="31" y="32"/>
                      <a:pt x="39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1" name="ïṥliďé">
                <a:extLst>
                  <a:ext uri="{FF2B5EF4-FFF2-40B4-BE49-F238E27FC236}">
                    <a16:creationId xmlns:a16="http://schemas.microsoft.com/office/drawing/2014/main" id="{2E6644C8-EF98-4353-A1D5-4DE1D1A7BDA3}"/>
                  </a:ext>
                </a:extLst>
              </p:cNvPr>
              <p:cNvSpPr/>
              <p:nvPr/>
            </p:nvSpPr>
            <p:spPr bwMode="auto">
              <a:xfrm>
                <a:off x="6266208" y="4337708"/>
                <a:ext cx="146580" cy="115721"/>
              </a:xfrm>
              <a:custGeom>
                <a:avLst/>
                <a:gdLst>
                  <a:gd name="T0" fmla="*/ 39 w 40"/>
                  <a:gd name="T1" fmla="*/ 16 h 32"/>
                  <a:gd name="T2" fmla="*/ 19 w 40"/>
                  <a:gd name="T3" fmla="*/ 0 h 32"/>
                  <a:gd name="T4" fmla="*/ 0 w 40"/>
                  <a:gd name="T5" fmla="*/ 16 h 32"/>
                  <a:gd name="T6" fmla="*/ 21 w 40"/>
                  <a:gd name="T7" fmla="*/ 32 h 32"/>
                  <a:gd name="T8" fmla="*/ 39 w 40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2">
                    <a:moveTo>
                      <a:pt x="39" y="16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1" y="25"/>
                      <a:pt x="10" y="32"/>
                      <a:pt x="21" y="32"/>
                    </a:cubicBezTo>
                    <a:cubicBezTo>
                      <a:pt x="31" y="32"/>
                      <a:pt x="40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2" name="ïşḻiďé">
                <a:extLst>
                  <a:ext uri="{FF2B5EF4-FFF2-40B4-BE49-F238E27FC236}">
                    <a16:creationId xmlns:a16="http://schemas.microsoft.com/office/drawing/2014/main" id="{A2656932-647F-483E-8F30-E80B8E8B8E7B}"/>
                  </a:ext>
                </a:extLst>
              </p:cNvPr>
              <p:cNvSpPr/>
              <p:nvPr/>
            </p:nvSpPr>
            <p:spPr bwMode="auto">
              <a:xfrm>
                <a:off x="6437476" y="4337708"/>
                <a:ext cx="146580" cy="115721"/>
              </a:xfrm>
              <a:custGeom>
                <a:avLst/>
                <a:gdLst>
                  <a:gd name="T0" fmla="*/ 39 w 40"/>
                  <a:gd name="T1" fmla="*/ 16 h 32"/>
                  <a:gd name="T2" fmla="*/ 19 w 40"/>
                  <a:gd name="T3" fmla="*/ 0 h 32"/>
                  <a:gd name="T4" fmla="*/ 1 w 40"/>
                  <a:gd name="T5" fmla="*/ 16 h 32"/>
                  <a:gd name="T6" fmla="*/ 21 w 40"/>
                  <a:gd name="T7" fmla="*/ 32 h 32"/>
                  <a:gd name="T8" fmla="*/ 39 w 40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2">
                    <a:moveTo>
                      <a:pt x="39" y="16"/>
                    </a:moveTo>
                    <a:cubicBezTo>
                      <a:pt x="39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1" y="16"/>
                    </a:cubicBezTo>
                    <a:cubicBezTo>
                      <a:pt x="1" y="25"/>
                      <a:pt x="11" y="32"/>
                      <a:pt x="21" y="32"/>
                    </a:cubicBezTo>
                    <a:cubicBezTo>
                      <a:pt x="32" y="32"/>
                      <a:pt x="40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3" name="işlíḑè">
                <a:extLst>
                  <a:ext uri="{FF2B5EF4-FFF2-40B4-BE49-F238E27FC236}">
                    <a16:creationId xmlns:a16="http://schemas.microsoft.com/office/drawing/2014/main" id="{3F5D0A4D-DD90-4A39-B361-5D111F3E60F0}"/>
                  </a:ext>
                </a:extLst>
              </p:cNvPr>
              <p:cNvSpPr/>
              <p:nvPr/>
            </p:nvSpPr>
            <p:spPr bwMode="auto">
              <a:xfrm>
                <a:off x="5923674" y="4479659"/>
                <a:ext cx="141951" cy="123436"/>
              </a:xfrm>
              <a:custGeom>
                <a:avLst/>
                <a:gdLst>
                  <a:gd name="T0" fmla="*/ 39 w 39"/>
                  <a:gd name="T1" fmla="*/ 17 h 34"/>
                  <a:gd name="T2" fmla="*/ 19 w 39"/>
                  <a:gd name="T3" fmla="*/ 0 h 34"/>
                  <a:gd name="T4" fmla="*/ 0 w 39"/>
                  <a:gd name="T5" fmla="*/ 17 h 34"/>
                  <a:gd name="T6" fmla="*/ 20 w 39"/>
                  <a:gd name="T7" fmla="*/ 34 h 34"/>
                  <a:gd name="T8" fmla="*/ 39 w 3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4">
                    <a:moveTo>
                      <a:pt x="39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6"/>
                      <a:pt x="9" y="34"/>
                      <a:pt x="20" y="34"/>
                    </a:cubicBezTo>
                    <a:cubicBezTo>
                      <a:pt x="31" y="34"/>
                      <a:pt x="39" y="26"/>
                      <a:pt x="3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4" name="ïSḻíďè">
                <a:extLst>
                  <a:ext uri="{FF2B5EF4-FFF2-40B4-BE49-F238E27FC236}">
                    <a16:creationId xmlns:a16="http://schemas.microsoft.com/office/drawing/2014/main" id="{A9BC20A0-1277-4B72-B50B-7742E40B6744}"/>
                  </a:ext>
                </a:extLst>
              </p:cNvPr>
              <p:cNvSpPr/>
              <p:nvPr/>
            </p:nvSpPr>
            <p:spPr bwMode="auto">
              <a:xfrm>
                <a:off x="6098027" y="4479659"/>
                <a:ext cx="146580" cy="123436"/>
              </a:xfrm>
              <a:custGeom>
                <a:avLst/>
                <a:gdLst>
                  <a:gd name="T0" fmla="*/ 39 w 40"/>
                  <a:gd name="T1" fmla="*/ 17 h 34"/>
                  <a:gd name="T2" fmla="*/ 19 w 40"/>
                  <a:gd name="T3" fmla="*/ 0 h 34"/>
                  <a:gd name="T4" fmla="*/ 0 w 40"/>
                  <a:gd name="T5" fmla="*/ 17 h 34"/>
                  <a:gd name="T6" fmla="*/ 20 w 40"/>
                  <a:gd name="T7" fmla="*/ 34 h 34"/>
                  <a:gd name="T8" fmla="*/ 39 w 4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4">
                    <a:moveTo>
                      <a:pt x="39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6"/>
                      <a:pt x="9" y="34"/>
                      <a:pt x="20" y="34"/>
                    </a:cubicBezTo>
                    <a:cubicBezTo>
                      <a:pt x="31" y="34"/>
                      <a:pt x="40" y="26"/>
                      <a:pt x="3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5" name="iŝḷîdé">
                <a:extLst>
                  <a:ext uri="{FF2B5EF4-FFF2-40B4-BE49-F238E27FC236}">
                    <a16:creationId xmlns:a16="http://schemas.microsoft.com/office/drawing/2014/main" id="{25A789E2-7932-40F8-A481-03975DA29D32}"/>
                  </a:ext>
                </a:extLst>
              </p:cNvPr>
              <p:cNvSpPr/>
              <p:nvPr/>
            </p:nvSpPr>
            <p:spPr bwMode="auto">
              <a:xfrm>
                <a:off x="6273923" y="4479659"/>
                <a:ext cx="145037" cy="123436"/>
              </a:xfrm>
              <a:custGeom>
                <a:avLst/>
                <a:gdLst>
                  <a:gd name="T0" fmla="*/ 40 w 40"/>
                  <a:gd name="T1" fmla="*/ 17 h 34"/>
                  <a:gd name="T2" fmla="*/ 19 w 40"/>
                  <a:gd name="T3" fmla="*/ 0 h 34"/>
                  <a:gd name="T4" fmla="*/ 0 w 40"/>
                  <a:gd name="T5" fmla="*/ 17 h 34"/>
                  <a:gd name="T6" fmla="*/ 21 w 40"/>
                  <a:gd name="T7" fmla="*/ 34 h 34"/>
                  <a:gd name="T8" fmla="*/ 40 w 4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4">
                    <a:moveTo>
                      <a:pt x="40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1" y="26"/>
                      <a:pt x="10" y="34"/>
                      <a:pt x="21" y="34"/>
                    </a:cubicBezTo>
                    <a:cubicBezTo>
                      <a:pt x="32" y="34"/>
                      <a:pt x="40" y="26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6" name="ïṥļiḓe">
                <a:extLst>
                  <a:ext uri="{FF2B5EF4-FFF2-40B4-BE49-F238E27FC236}">
                    <a16:creationId xmlns:a16="http://schemas.microsoft.com/office/drawing/2014/main" id="{A6C1B6D7-03D6-4BEA-8D28-9AC7F8262DCF}"/>
                  </a:ext>
                </a:extLst>
              </p:cNvPr>
              <p:cNvSpPr/>
              <p:nvPr/>
            </p:nvSpPr>
            <p:spPr bwMode="auto">
              <a:xfrm>
                <a:off x="6448276" y="4479659"/>
                <a:ext cx="149666" cy="123436"/>
              </a:xfrm>
              <a:custGeom>
                <a:avLst/>
                <a:gdLst>
                  <a:gd name="T0" fmla="*/ 40 w 41"/>
                  <a:gd name="T1" fmla="*/ 17 h 34"/>
                  <a:gd name="T2" fmla="*/ 19 w 41"/>
                  <a:gd name="T3" fmla="*/ 0 h 34"/>
                  <a:gd name="T4" fmla="*/ 0 w 41"/>
                  <a:gd name="T5" fmla="*/ 17 h 34"/>
                  <a:gd name="T6" fmla="*/ 21 w 41"/>
                  <a:gd name="T7" fmla="*/ 34 h 34"/>
                  <a:gd name="T8" fmla="*/ 40 w 41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4">
                    <a:moveTo>
                      <a:pt x="40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1" y="26"/>
                      <a:pt x="10" y="34"/>
                      <a:pt x="21" y="34"/>
                    </a:cubicBezTo>
                    <a:cubicBezTo>
                      <a:pt x="32" y="34"/>
                      <a:pt x="41" y="26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7" name="ïŝ1ïďe">
                <a:extLst>
                  <a:ext uri="{FF2B5EF4-FFF2-40B4-BE49-F238E27FC236}">
                    <a16:creationId xmlns:a16="http://schemas.microsoft.com/office/drawing/2014/main" id="{31290E22-0501-4352-80F8-D2521068CB60}"/>
                  </a:ext>
                </a:extLst>
              </p:cNvPr>
              <p:cNvSpPr/>
              <p:nvPr/>
            </p:nvSpPr>
            <p:spPr bwMode="auto">
              <a:xfrm>
                <a:off x="6102656" y="4629325"/>
                <a:ext cx="148123" cy="128065"/>
              </a:xfrm>
              <a:custGeom>
                <a:avLst/>
                <a:gdLst>
                  <a:gd name="T0" fmla="*/ 40 w 41"/>
                  <a:gd name="T1" fmla="*/ 17 h 35"/>
                  <a:gd name="T2" fmla="*/ 20 w 41"/>
                  <a:gd name="T3" fmla="*/ 0 h 35"/>
                  <a:gd name="T4" fmla="*/ 0 w 41"/>
                  <a:gd name="T5" fmla="*/ 17 h 35"/>
                  <a:gd name="T6" fmla="*/ 21 w 41"/>
                  <a:gd name="T7" fmla="*/ 35 h 35"/>
                  <a:gd name="T8" fmla="*/ 40 w 4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5">
                    <a:moveTo>
                      <a:pt x="40" y="17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17"/>
                    </a:cubicBezTo>
                    <a:cubicBezTo>
                      <a:pt x="1" y="27"/>
                      <a:pt x="10" y="35"/>
                      <a:pt x="21" y="35"/>
                    </a:cubicBezTo>
                    <a:cubicBezTo>
                      <a:pt x="32" y="35"/>
                      <a:pt x="41" y="27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8" name="ï$ļíḋe">
                <a:extLst>
                  <a:ext uri="{FF2B5EF4-FFF2-40B4-BE49-F238E27FC236}">
                    <a16:creationId xmlns:a16="http://schemas.microsoft.com/office/drawing/2014/main" id="{D71CB373-7C1B-400C-AA26-DBB96D3131F0}"/>
                  </a:ext>
                </a:extLst>
              </p:cNvPr>
              <p:cNvSpPr/>
              <p:nvPr/>
            </p:nvSpPr>
            <p:spPr bwMode="auto">
              <a:xfrm>
                <a:off x="6280095" y="4629325"/>
                <a:ext cx="149666" cy="128065"/>
              </a:xfrm>
              <a:custGeom>
                <a:avLst/>
                <a:gdLst>
                  <a:gd name="T0" fmla="*/ 40 w 41"/>
                  <a:gd name="T1" fmla="*/ 17 h 35"/>
                  <a:gd name="T2" fmla="*/ 19 w 41"/>
                  <a:gd name="T3" fmla="*/ 0 h 35"/>
                  <a:gd name="T4" fmla="*/ 0 w 41"/>
                  <a:gd name="T5" fmla="*/ 17 h 35"/>
                  <a:gd name="T6" fmla="*/ 21 w 41"/>
                  <a:gd name="T7" fmla="*/ 35 h 35"/>
                  <a:gd name="T8" fmla="*/ 40 w 4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5">
                    <a:moveTo>
                      <a:pt x="40" y="17"/>
                    </a:moveTo>
                    <a:cubicBezTo>
                      <a:pt x="40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1" y="27"/>
                      <a:pt x="10" y="35"/>
                      <a:pt x="21" y="35"/>
                    </a:cubicBezTo>
                    <a:cubicBezTo>
                      <a:pt x="32" y="35"/>
                      <a:pt x="41" y="27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9" name="íśḻiḓé">
                <a:extLst>
                  <a:ext uri="{FF2B5EF4-FFF2-40B4-BE49-F238E27FC236}">
                    <a16:creationId xmlns:a16="http://schemas.microsoft.com/office/drawing/2014/main" id="{CCAD4286-C16D-483D-95D7-E99076949C1C}"/>
                  </a:ext>
                </a:extLst>
              </p:cNvPr>
              <p:cNvSpPr/>
              <p:nvPr/>
            </p:nvSpPr>
            <p:spPr bwMode="auto">
              <a:xfrm>
                <a:off x="9524911" y="3222157"/>
                <a:ext cx="145037" cy="87948"/>
              </a:xfrm>
              <a:custGeom>
                <a:avLst/>
                <a:gdLst>
                  <a:gd name="T0" fmla="*/ 37 w 40"/>
                  <a:gd name="T1" fmla="*/ 12 h 24"/>
                  <a:gd name="T2" fmla="*/ 14 w 40"/>
                  <a:gd name="T3" fmla="*/ 0 h 24"/>
                  <a:gd name="T4" fmla="*/ 3 w 40"/>
                  <a:gd name="T5" fmla="*/ 12 h 24"/>
                  <a:gd name="T6" fmla="*/ 26 w 40"/>
                  <a:gd name="T7" fmla="*/ 24 h 24"/>
                  <a:gd name="T8" fmla="*/ 37 w 40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4">
                    <a:moveTo>
                      <a:pt x="37" y="12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4" y="0"/>
                      <a:pt x="0" y="5"/>
                      <a:pt x="3" y="12"/>
                    </a:cubicBezTo>
                    <a:cubicBezTo>
                      <a:pt x="6" y="19"/>
                      <a:pt x="16" y="24"/>
                      <a:pt x="26" y="24"/>
                    </a:cubicBezTo>
                    <a:cubicBezTo>
                      <a:pt x="35" y="24"/>
                      <a:pt x="40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0" name="iṩļïdè">
                <a:extLst>
                  <a:ext uri="{FF2B5EF4-FFF2-40B4-BE49-F238E27FC236}">
                    <a16:creationId xmlns:a16="http://schemas.microsoft.com/office/drawing/2014/main" id="{07908407-1ECD-434A-B920-B939ECCDCA40}"/>
                  </a:ext>
                </a:extLst>
              </p:cNvPr>
              <p:cNvSpPr/>
              <p:nvPr/>
            </p:nvSpPr>
            <p:spPr bwMode="auto">
              <a:xfrm>
                <a:off x="9575829" y="3331707"/>
                <a:ext cx="149666" cy="91034"/>
              </a:xfrm>
              <a:custGeom>
                <a:avLst/>
                <a:gdLst>
                  <a:gd name="T0" fmla="*/ 38 w 41"/>
                  <a:gd name="T1" fmla="*/ 12 h 25"/>
                  <a:gd name="T2" fmla="*/ 14 w 41"/>
                  <a:gd name="T3" fmla="*/ 0 h 25"/>
                  <a:gd name="T4" fmla="*/ 3 w 41"/>
                  <a:gd name="T5" fmla="*/ 12 h 25"/>
                  <a:gd name="T6" fmla="*/ 27 w 41"/>
                  <a:gd name="T7" fmla="*/ 25 h 25"/>
                  <a:gd name="T8" fmla="*/ 38 w 41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5">
                    <a:moveTo>
                      <a:pt x="38" y="12"/>
                    </a:moveTo>
                    <a:cubicBezTo>
                      <a:pt x="34" y="5"/>
                      <a:pt x="24" y="0"/>
                      <a:pt x="14" y="0"/>
                    </a:cubicBezTo>
                    <a:cubicBezTo>
                      <a:pt x="5" y="0"/>
                      <a:pt x="0" y="5"/>
                      <a:pt x="3" y="12"/>
                    </a:cubicBezTo>
                    <a:cubicBezTo>
                      <a:pt x="7" y="19"/>
                      <a:pt x="17" y="25"/>
                      <a:pt x="27" y="25"/>
                    </a:cubicBezTo>
                    <a:cubicBezTo>
                      <a:pt x="36" y="25"/>
                      <a:pt x="41" y="19"/>
                      <a:pt x="3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1" name="ïṡḻidè">
                <a:extLst>
                  <a:ext uri="{FF2B5EF4-FFF2-40B4-BE49-F238E27FC236}">
                    <a16:creationId xmlns:a16="http://schemas.microsoft.com/office/drawing/2014/main" id="{B9217815-2C17-4997-8031-329E7B4282C9}"/>
                  </a:ext>
                </a:extLst>
              </p:cNvPr>
              <p:cNvSpPr/>
              <p:nvPr/>
            </p:nvSpPr>
            <p:spPr bwMode="auto">
              <a:xfrm>
                <a:off x="9527997" y="3558520"/>
                <a:ext cx="154295" cy="98749"/>
              </a:xfrm>
              <a:custGeom>
                <a:avLst/>
                <a:gdLst>
                  <a:gd name="T0" fmla="*/ 39 w 42"/>
                  <a:gd name="T1" fmla="*/ 14 h 27"/>
                  <a:gd name="T2" fmla="*/ 15 w 42"/>
                  <a:gd name="T3" fmla="*/ 0 h 27"/>
                  <a:gd name="T4" fmla="*/ 4 w 42"/>
                  <a:gd name="T5" fmla="*/ 14 h 27"/>
                  <a:gd name="T6" fmla="*/ 28 w 42"/>
                  <a:gd name="T7" fmla="*/ 27 h 27"/>
                  <a:gd name="T8" fmla="*/ 39 w 42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7">
                    <a:moveTo>
                      <a:pt x="39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7" y="21"/>
                      <a:pt x="18" y="27"/>
                      <a:pt x="28" y="27"/>
                    </a:cubicBezTo>
                    <a:cubicBezTo>
                      <a:pt x="37" y="27"/>
                      <a:pt x="42" y="21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2" name="i$lïḋê">
                <a:extLst>
                  <a:ext uri="{FF2B5EF4-FFF2-40B4-BE49-F238E27FC236}">
                    <a16:creationId xmlns:a16="http://schemas.microsoft.com/office/drawing/2014/main" id="{80C34A5A-102D-42D5-87B9-4A1A60DD7BFD}"/>
                  </a:ext>
                </a:extLst>
              </p:cNvPr>
              <p:cNvSpPr/>
              <p:nvPr/>
            </p:nvSpPr>
            <p:spPr bwMode="auto">
              <a:xfrm>
                <a:off x="9480166" y="3803849"/>
                <a:ext cx="157381" cy="101834"/>
              </a:xfrm>
              <a:custGeom>
                <a:avLst/>
                <a:gdLst>
                  <a:gd name="T0" fmla="*/ 39 w 43"/>
                  <a:gd name="T1" fmla="*/ 14 h 28"/>
                  <a:gd name="T2" fmla="*/ 15 w 43"/>
                  <a:gd name="T3" fmla="*/ 0 h 28"/>
                  <a:gd name="T4" fmla="*/ 3 w 43"/>
                  <a:gd name="T5" fmla="*/ 14 h 28"/>
                  <a:gd name="T6" fmla="*/ 28 w 43"/>
                  <a:gd name="T7" fmla="*/ 28 h 28"/>
                  <a:gd name="T8" fmla="*/ 39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39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2"/>
                      <a:pt x="17" y="28"/>
                      <a:pt x="28" y="28"/>
                    </a:cubicBezTo>
                    <a:cubicBezTo>
                      <a:pt x="38" y="28"/>
                      <a:pt x="43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3" name="íş1îḑé">
                <a:extLst>
                  <a:ext uri="{FF2B5EF4-FFF2-40B4-BE49-F238E27FC236}">
                    <a16:creationId xmlns:a16="http://schemas.microsoft.com/office/drawing/2014/main" id="{E8562776-DAA3-48CB-ABC5-B6E133633BA3}"/>
                  </a:ext>
                </a:extLst>
              </p:cNvPr>
              <p:cNvSpPr/>
              <p:nvPr/>
            </p:nvSpPr>
            <p:spPr bwMode="auto">
              <a:xfrm>
                <a:off x="9802641" y="3803849"/>
                <a:ext cx="160466" cy="101834"/>
              </a:xfrm>
              <a:custGeom>
                <a:avLst/>
                <a:gdLst>
                  <a:gd name="T0" fmla="*/ 40 w 44"/>
                  <a:gd name="T1" fmla="*/ 14 h 28"/>
                  <a:gd name="T2" fmla="*/ 15 w 44"/>
                  <a:gd name="T3" fmla="*/ 0 h 28"/>
                  <a:gd name="T4" fmla="*/ 4 w 44"/>
                  <a:gd name="T5" fmla="*/ 14 h 28"/>
                  <a:gd name="T6" fmla="*/ 29 w 44"/>
                  <a:gd name="T7" fmla="*/ 28 h 28"/>
                  <a:gd name="T8" fmla="*/ 40 w 44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8">
                    <a:moveTo>
                      <a:pt x="40" y="14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19" y="28"/>
                      <a:pt x="29" y="28"/>
                    </a:cubicBezTo>
                    <a:cubicBezTo>
                      <a:pt x="39" y="28"/>
                      <a:pt x="44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4" name="ïšľîdê">
                <a:extLst>
                  <a:ext uri="{FF2B5EF4-FFF2-40B4-BE49-F238E27FC236}">
                    <a16:creationId xmlns:a16="http://schemas.microsoft.com/office/drawing/2014/main" id="{1D610105-F5AC-4B4F-BB16-8A72DBB571DB}"/>
                  </a:ext>
                </a:extLst>
              </p:cNvPr>
              <p:cNvSpPr/>
              <p:nvPr/>
            </p:nvSpPr>
            <p:spPr bwMode="auto">
              <a:xfrm>
                <a:off x="10126660" y="3803849"/>
                <a:ext cx="163552" cy="101834"/>
              </a:xfrm>
              <a:custGeom>
                <a:avLst/>
                <a:gdLst>
                  <a:gd name="T0" fmla="*/ 41 w 45"/>
                  <a:gd name="T1" fmla="*/ 14 h 28"/>
                  <a:gd name="T2" fmla="*/ 15 w 45"/>
                  <a:gd name="T3" fmla="*/ 0 h 28"/>
                  <a:gd name="T4" fmla="*/ 4 w 45"/>
                  <a:gd name="T5" fmla="*/ 14 h 28"/>
                  <a:gd name="T6" fmla="*/ 30 w 45"/>
                  <a:gd name="T7" fmla="*/ 28 h 28"/>
                  <a:gd name="T8" fmla="*/ 41 w 45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8">
                    <a:moveTo>
                      <a:pt x="41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20" y="28"/>
                      <a:pt x="30" y="28"/>
                    </a:cubicBezTo>
                    <a:cubicBezTo>
                      <a:pt x="40" y="28"/>
                      <a:pt x="45" y="22"/>
                      <a:pt x="41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5" name="îṧḻiďè">
                <a:extLst>
                  <a:ext uri="{FF2B5EF4-FFF2-40B4-BE49-F238E27FC236}">
                    <a16:creationId xmlns:a16="http://schemas.microsoft.com/office/drawing/2014/main" id="{A8A61BF0-3906-4AB8-BD22-39A8881E9CCB}"/>
                  </a:ext>
                </a:extLst>
              </p:cNvPr>
              <p:cNvSpPr/>
              <p:nvPr/>
            </p:nvSpPr>
            <p:spPr bwMode="auto">
              <a:xfrm>
                <a:off x="8546683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15 w 39"/>
                  <a:gd name="T3" fmla="*/ 0 h 26"/>
                  <a:gd name="T4" fmla="*/ 2 w 39"/>
                  <a:gd name="T5" fmla="*/ 12 h 26"/>
                  <a:gd name="T6" fmla="*/ 24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4" y="5"/>
                      <a:pt x="25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20"/>
                      <a:pt x="14" y="26"/>
                      <a:pt x="24" y="26"/>
                    </a:cubicBezTo>
                    <a:cubicBezTo>
                      <a:pt x="34" y="26"/>
                      <a:pt x="39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6" name="îsḷïdé">
                <a:extLst>
                  <a:ext uri="{FF2B5EF4-FFF2-40B4-BE49-F238E27FC236}">
                    <a16:creationId xmlns:a16="http://schemas.microsoft.com/office/drawing/2014/main" id="{1DB7C959-9614-41AE-9B4B-96C90DF81670}"/>
                  </a:ext>
                </a:extLst>
              </p:cNvPr>
              <p:cNvSpPr/>
              <p:nvPr/>
            </p:nvSpPr>
            <p:spPr bwMode="auto">
              <a:xfrm>
                <a:off x="9166947" y="3445885"/>
                <a:ext cx="146580" cy="94120"/>
              </a:xfrm>
              <a:custGeom>
                <a:avLst/>
                <a:gdLst>
                  <a:gd name="T0" fmla="*/ 37 w 40"/>
                  <a:gd name="T1" fmla="*/ 12 h 26"/>
                  <a:gd name="T2" fmla="*/ 14 w 40"/>
                  <a:gd name="T3" fmla="*/ 0 h 26"/>
                  <a:gd name="T4" fmla="*/ 3 w 40"/>
                  <a:gd name="T5" fmla="*/ 12 h 26"/>
                  <a:gd name="T6" fmla="*/ 26 w 40"/>
                  <a:gd name="T7" fmla="*/ 26 h 26"/>
                  <a:gd name="T8" fmla="*/ 37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7" y="12"/>
                    </a:moveTo>
                    <a:cubicBezTo>
                      <a:pt x="34" y="5"/>
                      <a:pt x="24" y="0"/>
                      <a:pt x="14" y="0"/>
                    </a:cubicBezTo>
                    <a:cubicBezTo>
                      <a:pt x="5" y="0"/>
                      <a:pt x="0" y="5"/>
                      <a:pt x="3" y="12"/>
                    </a:cubicBezTo>
                    <a:cubicBezTo>
                      <a:pt x="6" y="20"/>
                      <a:pt x="16" y="26"/>
                      <a:pt x="26" y="26"/>
                    </a:cubicBezTo>
                    <a:cubicBezTo>
                      <a:pt x="35" y="26"/>
                      <a:pt x="40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7" name="íṧ1íḋe">
                <a:extLst>
                  <a:ext uri="{FF2B5EF4-FFF2-40B4-BE49-F238E27FC236}">
                    <a16:creationId xmlns:a16="http://schemas.microsoft.com/office/drawing/2014/main" id="{40275BE0-FD74-4C38-A8AE-A810638CF7CD}"/>
                  </a:ext>
                </a:extLst>
              </p:cNvPr>
              <p:cNvSpPr/>
              <p:nvPr/>
            </p:nvSpPr>
            <p:spPr bwMode="auto">
              <a:xfrm>
                <a:off x="9319700" y="3445885"/>
                <a:ext cx="149666" cy="94120"/>
              </a:xfrm>
              <a:custGeom>
                <a:avLst/>
                <a:gdLst>
                  <a:gd name="T0" fmla="*/ 38 w 41"/>
                  <a:gd name="T1" fmla="*/ 12 h 26"/>
                  <a:gd name="T2" fmla="*/ 15 w 41"/>
                  <a:gd name="T3" fmla="*/ 0 h 26"/>
                  <a:gd name="T4" fmla="*/ 3 w 41"/>
                  <a:gd name="T5" fmla="*/ 12 h 26"/>
                  <a:gd name="T6" fmla="*/ 26 w 41"/>
                  <a:gd name="T7" fmla="*/ 26 h 26"/>
                  <a:gd name="T8" fmla="*/ 38 w 41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6">
                    <a:moveTo>
                      <a:pt x="38" y="12"/>
                    </a:moveTo>
                    <a:cubicBezTo>
                      <a:pt x="35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3" y="12"/>
                    </a:cubicBezTo>
                    <a:cubicBezTo>
                      <a:pt x="6" y="20"/>
                      <a:pt x="17" y="26"/>
                      <a:pt x="26" y="26"/>
                    </a:cubicBezTo>
                    <a:cubicBezTo>
                      <a:pt x="36" y="26"/>
                      <a:pt x="41" y="20"/>
                      <a:pt x="3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8" name="ïṥḻiḓé">
                <a:extLst>
                  <a:ext uri="{FF2B5EF4-FFF2-40B4-BE49-F238E27FC236}">
                    <a16:creationId xmlns:a16="http://schemas.microsoft.com/office/drawing/2014/main" id="{1B9A5953-2A26-4BAF-B0EE-6C7B8B62CFC3}"/>
                  </a:ext>
                </a:extLst>
              </p:cNvPr>
              <p:cNvSpPr/>
              <p:nvPr/>
            </p:nvSpPr>
            <p:spPr bwMode="auto">
              <a:xfrm>
                <a:off x="8744180" y="3558520"/>
                <a:ext cx="145037" cy="98749"/>
              </a:xfrm>
              <a:custGeom>
                <a:avLst/>
                <a:gdLst>
                  <a:gd name="T0" fmla="*/ 38 w 40"/>
                  <a:gd name="T1" fmla="*/ 14 h 27"/>
                  <a:gd name="T2" fmla="*/ 15 w 40"/>
                  <a:gd name="T3" fmla="*/ 0 h 27"/>
                  <a:gd name="T4" fmla="*/ 2 w 40"/>
                  <a:gd name="T5" fmla="*/ 14 h 27"/>
                  <a:gd name="T6" fmla="*/ 25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2" y="14"/>
                    </a:cubicBezTo>
                    <a:cubicBezTo>
                      <a:pt x="5" y="21"/>
                      <a:pt x="15" y="27"/>
                      <a:pt x="25" y="27"/>
                    </a:cubicBezTo>
                    <a:cubicBezTo>
                      <a:pt x="35" y="27"/>
                      <a:pt x="40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9" name="íṡḻïďe">
                <a:extLst>
                  <a:ext uri="{FF2B5EF4-FFF2-40B4-BE49-F238E27FC236}">
                    <a16:creationId xmlns:a16="http://schemas.microsoft.com/office/drawing/2014/main" id="{C17CD832-DD19-48FC-9C42-22E45ABBC6F4}"/>
                  </a:ext>
                </a:extLst>
              </p:cNvPr>
              <p:cNvSpPr/>
              <p:nvPr/>
            </p:nvSpPr>
            <p:spPr bwMode="auto">
              <a:xfrm>
                <a:off x="8900018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15 w 41"/>
                  <a:gd name="T3" fmla="*/ 0 h 27"/>
                  <a:gd name="T4" fmla="*/ 3 w 41"/>
                  <a:gd name="T5" fmla="*/ 14 h 27"/>
                  <a:gd name="T6" fmla="*/ 2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5" y="21"/>
                      <a:pt x="16" y="27"/>
                      <a:pt x="26" y="27"/>
                    </a:cubicBezTo>
                    <a:cubicBezTo>
                      <a:pt x="35" y="27"/>
                      <a:pt x="41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0" name="ïsľiḍè">
                <a:extLst>
                  <a:ext uri="{FF2B5EF4-FFF2-40B4-BE49-F238E27FC236}">
                    <a16:creationId xmlns:a16="http://schemas.microsoft.com/office/drawing/2014/main" id="{83D9342E-71C2-4D23-8654-9055F5613615}"/>
                  </a:ext>
                </a:extLst>
              </p:cNvPr>
              <p:cNvSpPr/>
              <p:nvPr/>
            </p:nvSpPr>
            <p:spPr bwMode="auto">
              <a:xfrm>
                <a:off x="9057399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15 w 41"/>
                  <a:gd name="T3" fmla="*/ 0 h 27"/>
                  <a:gd name="T4" fmla="*/ 3 w 41"/>
                  <a:gd name="T5" fmla="*/ 14 h 27"/>
                  <a:gd name="T6" fmla="*/ 2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1"/>
                      <a:pt x="16" y="27"/>
                      <a:pt x="26" y="27"/>
                    </a:cubicBezTo>
                    <a:cubicBezTo>
                      <a:pt x="36" y="27"/>
                      <a:pt x="41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1" name="îSlïḍe">
                <a:extLst>
                  <a:ext uri="{FF2B5EF4-FFF2-40B4-BE49-F238E27FC236}">
                    <a16:creationId xmlns:a16="http://schemas.microsoft.com/office/drawing/2014/main" id="{6CAC7E23-69CC-4D8B-BA88-4976E28DBC61}"/>
                  </a:ext>
                </a:extLst>
              </p:cNvPr>
              <p:cNvSpPr/>
              <p:nvPr/>
            </p:nvSpPr>
            <p:spPr bwMode="auto">
              <a:xfrm>
                <a:off x="9214779" y="3558520"/>
                <a:ext cx="152752" cy="98749"/>
              </a:xfrm>
              <a:custGeom>
                <a:avLst/>
                <a:gdLst>
                  <a:gd name="T0" fmla="*/ 38 w 42"/>
                  <a:gd name="T1" fmla="*/ 14 h 27"/>
                  <a:gd name="T2" fmla="*/ 15 w 42"/>
                  <a:gd name="T3" fmla="*/ 0 h 27"/>
                  <a:gd name="T4" fmla="*/ 3 w 42"/>
                  <a:gd name="T5" fmla="*/ 14 h 27"/>
                  <a:gd name="T6" fmla="*/ 27 w 42"/>
                  <a:gd name="T7" fmla="*/ 27 h 27"/>
                  <a:gd name="T8" fmla="*/ 38 w 42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1"/>
                      <a:pt x="17" y="27"/>
                      <a:pt x="27" y="27"/>
                    </a:cubicBezTo>
                    <a:cubicBezTo>
                      <a:pt x="36" y="27"/>
                      <a:pt x="42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2" name="iṣḻîḍé">
                <a:extLst>
                  <a:ext uri="{FF2B5EF4-FFF2-40B4-BE49-F238E27FC236}">
                    <a16:creationId xmlns:a16="http://schemas.microsoft.com/office/drawing/2014/main" id="{0E5EE576-0CDA-4494-A3C2-5C00ECA16934}"/>
                  </a:ext>
                </a:extLst>
              </p:cNvPr>
              <p:cNvSpPr/>
              <p:nvPr/>
            </p:nvSpPr>
            <p:spPr bwMode="auto">
              <a:xfrm>
                <a:off x="9370616" y="3558520"/>
                <a:ext cx="154295" cy="98749"/>
              </a:xfrm>
              <a:custGeom>
                <a:avLst/>
                <a:gdLst>
                  <a:gd name="T0" fmla="*/ 39 w 42"/>
                  <a:gd name="T1" fmla="*/ 14 h 27"/>
                  <a:gd name="T2" fmla="*/ 15 w 42"/>
                  <a:gd name="T3" fmla="*/ 0 h 27"/>
                  <a:gd name="T4" fmla="*/ 3 w 42"/>
                  <a:gd name="T5" fmla="*/ 14 h 27"/>
                  <a:gd name="T6" fmla="*/ 27 w 42"/>
                  <a:gd name="T7" fmla="*/ 27 h 27"/>
                  <a:gd name="T8" fmla="*/ 39 w 42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7">
                    <a:moveTo>
                      <a:pt x="39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7" y="21"/>
                      <a:pt x="17" y="27"/>
                      <a:pt x="27" y="27"/>
                    </a:cubicBezTo>
                    <a:cubicBezTo>
                      <a:pt x="37" y="27"/>
                      <a:pt x="42" y="21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3" name="îṥḷíďé">
                <a:extLst>
                  <a:ext uri="{FF2B5EF4-FFF2-40B4-BE49-F238E27FC236}">
                    <a16:creationId xmlns:a16="http://schemas.microsoft.com/office/drawing/2014/main" id="{C739FC05-8217-411E-8E5C-89CB3198D623}"/>
                  </a:ext>
                </a:extLst>
              </p:cNvPr>
              <p:cNvSpPr/>
              <p:nvPr/>
            </p:nvSpPr>
            <p:spPr bwMode="auto">
              <a:xfrm>
                <a:off x="9842758" y="3558520"/>
                <a:ext cx="155838" cy="98749"/>
              </a:xfrm>
              <a:custGeom>
                <a:avLst/>
                <a:gdLst>
                  <a:gd name="T0" fmla="*/ 39 w 43"/>
                  <a:gd name="T1" fmla="*/ 14 h 27"/>
                  <a:gd name="T2" fmla="*/ 15 w 43"/>
                  <a:gd name="T3" fmla="*/ 0 h 27"/>
                  <a:gd name="T4" fmla="*/ 4 w 43"/>
                  <a:gd name="T5" fmla="*/ 14 h 27"/>
                  <a:gd name="T6" fmla="*/ 28 w 43"/>
                  <a:gd name="T7" fmla="*/ 27 h 27"/>
                  <a:gd name="T8" fmla="*/ 39 w 43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9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1"/>
                      <a:pt x="19" y="27"/>
                      <a:pt x="28" y="27"/>
                    </a:cubicBezTo>
                    <a:cubicBezTo>
                      <a:pt x="38" y="27"/>
                      <a:pt x="43" y="21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4" name="ïṣ1iḑé">
                <a:extLst>
                  <a:ext uri="{FF2B5EF4-FFF2-40B4-BE49-F238E27FC236}">
                    <a16:creationId xmlns:a16="http://schemas.microsoft.com/office/drawing/2014/main" id="{F1B43D03-1C21-4899-B46C-FF7714F42E0D}"/>
                  </a:ext>
                </a:extLst>
              </p:cNvPr>
              <p:cNvSpPr/>
              <p:nvPr/>
            </p:nvSpPr>
            <p:spPr bwMode="auto">
              <a:xfrm>
                <a:off x="9998596" y="3558520"/>
                <a:ext cx="160466" cy="98749"/>
              </a:xfrm>
              <a:custGeom>
                <a:avLst/>
                <a:gdLst>
                  <a:gd name="T0" fmla="*/ 40 w 44"/>
                  <a:gd name="T1" fmla="*/ 14 h 27"/>
                  <a:gd name="T2" fmla="*/ 15 w 44"/>
                  <a:gd name="T3" fmla="*/ 0 h 27"/>
                  <a:gd name="T4" fmla="*/ 4 w 44"/>
                  <a:gd name="T5" fmla="*/ 14 h 27"/>
                  <a:gd name="T6" fmla="*/ 29 w 44"/>
                  <a:gd name="T7" fmla="*/ 27 h 27"/>
                  <a:gd name="T8" fmla="*/ 40 w 44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7">
                    <a:moveTo>
                      <a:pt x="40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1"/>
                      <a:pt x="19" y="27"/>
                      <a:pt x="29" y="27"/>
                    </a:cubicBezTo>
                    <a:cubicBezTo>
                      <a:pt x="39" y="27"/>
                      <a:pt x="44" y="21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5" name="íṥ1îďê">
                <a:extLst>
                  <a:ext uri="{FF2B5EF4-FFF2-40B4-BE49-F238E27FC236}">
                    <a16:creationId xmlns:a16="http://schemas.microsoft.com/office/drawing/2014/main" id="{54774263-AAD5-4B65-9642-823FE82DF038}"/>
                  </a:ext>
                </a:extLst>
              </p:cNvPr>
              <p:cNvSpPr/>
              <p:nvPr/>
            </p:nvSpPr>
            <p:spPr bwMode="auto">
              <a:xfrm>
                <a:off x="8787383" y="3678869"/>
                <a:ext cx="149666" cy="103378"/>
              </a:xfrm>
              <a:custGeom>
                <a:avLst/>
                <a:gdLst>
                  <a:gd name="T0" fmla="*/ 38 w 41"/>
                  <a:gd name="T1" fmla="*/ 14 h 28"/>
                  <a:gd name="T2" fmla="*/ 15 w 41"/>
                  <a:gd name="T3" fmla="*/ 0 h 28"/>
                  <a:gd name="T4" fmla="*/ 2 w 41"/>
                  <a:gd name="T5" fmla="*/ 14 h 28"/>
                  <a:gd name="T6" fmla="*/ 25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2" y="14"/>
                    </a:cubicBezTo>
                    <a:cubicBezTo>
                      <a:pt x="5" y="22"/>
                      <a:pt x="16" y="28"/>
                      <a:pt x="25" y="28"/>
                    </a:cubicBezTo>
                    <a:cubicBezTo>
                      <a:pt x="35" y="28"/>
                      <a:pt x="41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6" name="i$ľîḓe">
                <a:extLst>
                  <a:ext uri="{FF2B5EF4-FFF2-40B4-BE49-F238E27FC236}">
                    <a16:creationId xmlns:a16="http://schemas.microsoft.com/office/drawing/2014/main" id="{A2FAB50E-8582-4330-8217-05402E552D9F}"/>
                  </a:ext>
                </a:extLst>
              </p:cNvPr>
              <p:cNvSpPr/>
              <p:nvPr/>
            </p:nvSpPr>
            <p:spPr bwMode="auto">
              <a:xfrm>
                <a:off x="8944763" y="3678869"/>
                <a:ext cx="152752" cy="103378"/>
              </a:xfrm>
              <a:custGeom>
                <a:avLst/>
                <a:gdLst>
                  <a:gd name="T0" fmla="*/ 39 w 42"/>
                  <a:gd name="T1" fmla="*/ 14 h 28"/>
                  <a:gd name="T2" fmla="*/ 16 w 42"/>
                  <a:gd name="T3" fmla="*/ 0 h 28"/>
                  <a:gd name="T4" fmla="*/ 3 w 42"/>
                  <a:gd name="T5" fmla="*/ 14 h 28"/>
                  <a:gd name="T6" fmla="*/ 27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36" y="6"/>
                      <a:pt x="26" y="0"/>
                      <a:pt x="16" y="0"/>
                    </a:cubicBezTo>
                    <a:cubicBezTo>
                      <a:pt x="6" y="0"/>
                      <a:pt x="0" y="6"/>
                      <a:pt x="3" y="14"/>
                    </a:cubicBezTo>
                    <a:cubicBezTo>
                      <a:pt x="6" y="22"/>
                      <a:pt x="17" y="28"/>
                      <a:pt x="27" y="28"/>
                    </a:cubicBezTo>
                    <a:cubicBezTo>
                      <a:pt x="37" y="28"/>
                      <a:pt x="42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7" name="ïS1îde">
                <a:extLst>
                  <a:ext uri="{FF2B5EF4-FFF2-40B4-BE49-F238E27FC236}">
                    <a16:creationId xmlns:a16="http://schemas.microsoft.com/office/drawing/2014/main" id="{04346154-8107-497A-9E3E-7C232FE129C7}"/>
                  </a:ext>
                </a:extLst>
              </p:cNvPr>
              <p:cNvSpPr/>
              <p:nvPr/>
            </p:nvSpPr>
            <p:spPr bwMode="auto">
              <a:xfrm>
                <a:off x="9583543" y="3678869"/>
                <a:ext cx="155838" cy="103378"/>
              </a:xfrm>
              <a:custGeom>
                <a:avLst/>
                <a:gdLst>
                  <a:gd name="T0" fmla="*/ 40 w 43"/>
                  <a:gd name="T1" fmla="*/ 14 h 28"/>
                  <a:gd name="T2" fmla="*/ 15 w 43"/>
                  <a:gd name="T3" fmla="*/ 0 h 28"/>
                  <a:gd name="T4" fmla="*/ 4 w 43"/>
                  <a:gd name="T5" fmla="*/ 14 h 28"/>
                  <a:gd name="T6" fmla="*/ 28 w 43"/>
                  <a:gd name="T7" fmla="*/ 28 h 28"/>
                  <a:gd name="T8" fmla="*/ 40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40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7" y="22"/>
                      <a:pt x="18" y="28"/>
                      <a:pt x="28" y="28"/>
                    </a:cubicBezTo>
                    <a:cubicBezTo>
                      <a:pt x="38" y="28"/>
                      <a:pt x="43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8" name="ïṧ1íḍè">
                <a:extLst>
                  <a:ext uri="{FF2B5EF4-FFF2-40B4-BE49-F238E27FC236}">
                    <a16:creationId xmlns:a16="http://schemas.microsoft.com/office/drawing/2014/main" id="{8C7F067B-0C87-49C9-913E-87BBFCDA1F05}"/>
                  </a:ext>
                </a:extLst>
              </p:cNvPr>
              <p:cNvSpPr/>
              <p:nvPr/>
            </p:nvSpPr>
            <p:spPr bwMode="auto">
              <a:xfrm>
                <a:off x="10064942" y="3678869"/>
                <a:ext cx="157381" cy="103378"/>
              </a:xfrm>
              <a:custGeom>
                <a:avLst/>
                <a:gdLst>
                  <a:gd name="T0" fmla="*/ 39 w 43"/>
                  <a:gd name="T1" fmla="*/ 14 h 28"/>
                  <a:gd name="T2" fmla="*/ 14 w 43"/>
                  <a:gd name="T3" fmla="*/ 0 h 28"/>
                  <a:gd name="T4" fmla="*/ 4 w 43"/>
                  <a:gd name="T5" fmla="*/ 14 h 28"/>
                  <a:gd name="T6" fmla="*/ 29 w 43"/>
                  <a:gd name="T7" fmla="*/ 28 h 28"/>
                  <a:gd name="T8" fmla="*/ 39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39" y="14"/>
                    </a:moveTo>
                    <a:cubicBezTo>
                      <a:pt x="35" y="6"/>
                      <a:pt x="24" y="0"/>
                      <a:pt x="14" y="0"/>
                    </a:cubicBezTo>
                    <a:cubicBezTo>
                      <a:pt x="4" y="0"/>
                      <a:pt x="0" y="6"/>
                      <a:pt x="4" y="14"/>
                    </a:cubicBezTo>
                    <a:cubicBezTo>
                      <a:pt x="7" y="22"/>
                      <a:pt x="19" y="28"/>
                      <a:pt x="29" y="28"/>
                    </a:cubicBezTo>
                    <a:cubicBezTo>
                      <a:pt x="39" y="28"/>
                      <a:pt x="43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9" name="íṩlïḋê">
                <a:extLst>
                  <a:ext uri="{FF2B5EF4-FFF2-40B4-BE49-F238E27FC236}">
                    <a16:creationId xmlns:a16="http://schemas.microsoft.com/office/drawing/2014/main" id="{385B0CE0-C36E-496B-B93C-280ED95784EA}"/>
                  </a:ext>
                </a:extLst>
              </p:cNvPr>
              <p:cNvSpPr/>
              <p:nvPr/>
            </p:nvSpPr>
            <p:spPr bwMode="auto">
              <a:xfrm>
                <a:off x="10222323" y="3678869"/>
                <a:ext cx="160466" cy="103378"/>
              </a:xfrm>
              <a:custGeom>
                <a:avLst/>
                <a:gdLst>
                  <a:gd name="T0" fmla="*/ 40 w 44"/>
                  <a:gd name="T1" fmla="*/ 14 h 28"/>
                  <a:gd name="T2" fmla="*/ 15 w 44"/>
                  <a:gd name="T3" fmla="*/ 0 h 28"/>
                  <a:gd name="T4" fmla="*/ 4 w 44"/>
                  <a:gd name="T5" fmla="*/ 14 h 28"/>
                  <a:gd name="T6" fmla="*/ 30 w 44"/>
                  <a:gd name="T7" fmla="*/ 28 h 28"/>
                  <a:gd name="T8" fmla="*/ 40 w 44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8">
                    <a:moveTo>
                      <a:pt x="40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20" y="28"/>
                      <a:pt x="30" y="28"/>
                    </a:cubicBezTo>
                    <a:cubicBezTo>
                      <a:pt x="40" y="28"/>
                      <a:pt x="44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0" name="íṡļîḍê">
                <a:extLst>
                  <a:ext uri="{FF2B5EF4-FFF2-40B4-BE49-F238E27FC236}">
                    <a16:creationId xmlns:a16="http://schemas.microsoft.com/office/drawing/2014/main" id="{2EB70C90-5D82-4D5F-9229-42F87327DF64}"/>
                  </a:ext>
                </a:extLst>
              </p:cNvPr>
              <p:cNvSpPr/>
              <p:nvPr/>
            </p:nvSpPr>
            <p:spPr bwMode="auto">
              <a:xfrm>
                <a:off x="10382789" y="3678869"/>
                <a:ext cx="160466" cy="103378"/>
              </a:xfrm>
              <a:custGeom>
                <a:avLst/>
                <a:gdLst>
                  <a:gd name="T0" fmla="*/ 40 w 44"/>
                  <a:gd name="T1" fmla="*/ 14 h 28"/>
                  <a:gd name="T2" fmla="*/ 14 w 44"/>
                  <a:gd name="T3" fmla="*/ 0 h 28"/>
                  <a:gd name="T4" fmla="*/ 4 w 44"/>
                  <a:gd name="T5" fmla="*/ 14 h 28"/>
                  <a:gd name="T6" fmla="*/ 30 w 44"/>
                  <a:gd name="T7" fmla="*/ 28 h 28"/>
                  <a:gd name="T8" fmla="*/ 40 w 44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8">
                    <a:moveTo>
                      <a:pt x="40" y="14"/>
                    </a:moveTo>
                    <a:cubicBezTo>
                      <a:pt x="36" y="6"/>
                      <a:pt x="24" y="0"/>
                      <a:pt x="14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9" y="22"/>
                      <a:pt x="20" y="28"/>
                      <a:pt x="30" y="28"/>
                    </a:cubicBezTo>
                    <a:cubicBezTo>
                      <a:pt x="40" y="28"/>
                      <a:pt x="44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1" name="iṣḷiḍe">
                <a:extLst>
                  <a:ext uri="{FF2B5EF4-FFF2-40B4-BE49-F238E27FC236}">
                    <a16:creationId xmlns:a16="http://schemas.microsoft.com/office/drawing/2014/main" id="{A44883DC-A1F6-408B-955D-AA65D632432D}"/>
                  </a:ext>
                </a:extLst>
              </p:cNvPr>
              <p:cNvSpPr/>
              <p:nvPr/>
            </p:nvSpPr>
            <p:spPr bwMode="auto">
              <a:xfrm>
                <a:off x="9156147" y="3803849"/>
                <a:ext cx="157381" cy="101834"/>
              </a:xfrm>
              <a:custGeom>
                <a:avLst/>
                <a:gdLst>
                  <a:gd name="T0" fmla="*/ 39 w 43"/>
                  <a:gd name="T1" fmla="*/ 14 h 28"/>
                  <a:gd name="T2" fmla="*/ 15 w 43"/>
                  <a:gd name="T3" fmla="*/ 0 h 28"/>
                  <a:gd name="T4" fmla="*/ 3 w 43"/>
                  <a:gd name="T5" fmla="*/ 14 h 28"/>
                  <a:gd name="T6" fmla="*/ 27 w 43"/>
                  <a:gd name="T7" fmla="*/ 28 h 28"/>
                  <a:gd name="T8" fmla="*/ 39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39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2"/>
                      <a:pt x="17" y="28"/>
                      <a:pt x="27" y="28"/>
                    </a:cubicBezTo>
                    <a:cubicBezTo>
                      <a:pt x="37" y="28"/>
                      <a:pt x="43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2" name="íšḷîḑê">
                <a:extLst>
                  <a:ext uri="{FF2B5EF4-FFF2-40B4-BE49-F238E27FC236}">
                    <a16:creationId xmlns:a16="http://schemas.microsoft.com/office/drawing/2014/main" id="{7071D462-8FE8-4C33-9E4B-38BA90F81143}"/>
                  </a:ext>
                </a:extLst>
              </p:cNvPr>
              <p:cNvSpPr/>
              <p:nvPr/>
            </p:nvSpPr>
            <p:spPr bwMode="auto">
              <a:xfrm>
                <a:off x="9316614" y="3803849"/>
                <a:ext cx="157381" cy="101834"/>
              </a:xfrm>
              <a:custGeom>
                <a:avLst/>
                <a:gdLst>
                  <a:gd name="T0" fmla="*/ 40 w 43"/>
                  <a:gd name="T1" fmla="*/ 14 h 28"/>
                  <a:gd name="T2" fmla="*/ 16 w 43"/>
                  <a:gd name="T3" fmla="*/ 0 h 28"/>
                  <a:gd name="T4" fmla="*/ 3 w 43"/>
                  <a:gd name="T5" fmla="*/ 14 h 28"/>
                  <a:gd name="T6" fmla="*/ 28 w 43"/>
                  <a:gd name="T7" fmla="*/ 28 h 28"/>
                  <a:gd name="T8" fmla="*/ 40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40" y="14"/>
                    </a:moveTo>
                    <a:cubicBezTo>
                      <a:pt x="36" y="6"/>
                      <a:pt x="26" y="0"/>
                      <a:pt x="16" y="0"/>
                    </a:cubicBezTo>
                    <a:cubicBezTo>
                      <a:pt x="6" y="0"/>
                      <a:pt x="0" y="6"/>
                      <a:pt x="3" y="14"/>
                    </a:cubicBezTo>
                    <a:cubicBezTo>
                      <a:pt x="7" y="22"/>
                      <a:pt x="18" y="28"/>
                      <a:pt x="28" y="28"/>
                    </a:cubicBezTo>
                    <a:cubicBezTo>
                      <a:pt x="38" y="28"/>
                      <a:pt x="43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3" name="ísļïḍé">
                <a:extLst>
                  <a:ext uri="{FF2B5EF4-FFF2-40B4-BE49-F238E27FC236}">
                    <a16:creationId xmlns:a16="http://schemas.microsoft.com/office/drawing/2014/main" id="{5CE30FB5-715D-4ECB-95B1-E570CD04D27C}"/>
                  </a:ext>
                </a:extLst>
              </p:cNvPr>
              <p:cNvSpPr/>
              <p:nvPr/>
            </p:nvSpPr>
            <p:spPr bwMode="auto">
              <a:xfrm>
                <a:off x="10290213" y="3803849"/>
                <a:ext cx="165096" cy="101834"/>
              </a:xfrm>
              <a:custGeom>
                <a:avLst/>
                <a:gdLst>
                  <a:gd name="T0" fmla="*/ 40 w 45"/>
                  <a:gd name="T1" fmla="*/ 14 h 28"/>
                  <a:gd name="T2" fmla="*/ 14 w 45"/>
                  <a:gd name="T3" fmla="*/ 0 h 28"/>
                  <a:gd name="T4" fmla="*/ 4 w 45"/>
                  <a:gd name="T5" fmla="*/ 14 h 28"/>
                  <a:gd name="T6" fmla="*/ 30 w 45"/>
                  <a:gd name="T7" fmla="*/ 28 h 28"/>
                  <a:gd name="T8" fmla="*/ 40 w 45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8">
                    <a:moveTo>
                      <a:pt x="40" y="14"/>
                    </a:moveTo>
                    <a:cubicBezTo>
                      <a:pt x="36" y="6"/>
                      <a:pt x="24" y="0"/>
                      <a:pt x="14" y="0"/>
                    </a:cubicBezTo>
                    <a:cubicBezTo>
                      <a:pt x="4" y="0"/>
                      <a:pt x="0" y="6"/>
                      <a:pt x="4" y="14"/>
                    </a:cubicBezTo>
                    <a:cubicBezTo>
                      <a:pt x="8" y="22"/>
                      <a:pt x="20" y="28"/>
                      <a:pt x="30" y="28"/>
                    </a:cubicBezTo>
                    <a:cubicBezTo>
                      <a:pt x="40" y="28"/>
                      <a:pt x="45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4" name="îslîdé">
                <a:extLst>
                  <a:ext uri="{FF2B5EF4-FFF2-40B4-BE49-F238E27FC236}">
                    <a16:creationId xmlns:a16="http://schemas.microsoft.com/office/drawing/2014/main" id="{AFE1FBC3-9C46-47F5-9CB0-6D763659BAE6}"/>
                  </a:ext>
                </a:extLst>
              </p:cNvPr>
              <p:cNvSpPr/>
              <p:nvPr/>
            </p:nvSpPr>
            <p:spPr bwMode="auto">
              <a:xfrm>
                <a:off x="10452222" y="3803849"/>
                <a:ext cx="163552" cy="101834"/>
              </a:xfrm>
              <a:custGeom>
                <a:avLst/>
                <a:gdLst>
                  <a:gd name="T0" fmla="*/ 41 w 45"/>
                  <a:gd name="T1" fmla="*/ 14 h 28"/>
                  <a:gd name="T2" fmla="*/ 14 w 45"/>
                  <a:gd name="T3" fmla="*/ 0 h 28"/>
                  <a:gd name="T4" fmla="*/ 4 w 45"/>
                  <a:gd name="T5" fmla="*/ 14 h 28"/>
                  <a:gd name="T6" fmla="*/ 31 w 45"/>
                  <a:gd name="T7" fmla="*/ 28 h 28"/>
                  <a:gd name="T8" fmla="*/ 41 w 45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8">
                    <a:moveTo>
                      <a:pt x="41" y="14"/>
                    </a:moveTo>
                    <a:cubicBezTo>
                      <a:pt x="36" y="6"/>
                      <a:pt x="24" y="0"/>
                      <a:pt x="14" y="0"/>
                    </a:cubicBezTo>
                    <a:cubicBezTo>
                      <a:pt x="4" y="0"/>
                      <a:pt x="0" y="6"/>
                      <a:pt x="4" y="14"/>
                    </a:cubicBezTo>
                    <a:cubicBezTo>
                      <a:pt x="9" y="22"/>
                      <a:pt x="20" y="28"/>
                      <a:pt x="31" y="28"/>
                    </a:cubicBezTo>
                    <a:cubicBezTo>
                      <a:pt x="41" y="28"/>
                      <a:pt x="45" y="22"/>
                      <a:pt x="41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5" name="îṡḻîḍè">
                <a:extLst>
                  <a:ext uri="{FF2B5EF4-FFF2-40B4-BE49-F238E27FC236}">
                    <a16:creationId xmlns:a16="http://schemas.microsoft.com/office/drawing/2014/main" id="{589B061E-3155-48FC-B05F-465850D22885}"/>
                  </a:ext>
                </a:extLst>
              </p:cNvPr>
              <p:cNvSpPr/>
              <p:nvPr/>
            </p:nvSpPr>
            <p:spPr bwMode="auto">
              <a:xfrm>
                <a:off x="11348674" y="4198843"/>
                <a:ext cx="183611" cy="112636"/>
              </a:xfrm>
              <a:custGeom>
                <a:avLst/>
                <a:gdLst>
                  <a:gd name="T0" fmla="*/ 44 w 50"/>
                  <a:gd name="T1" fmla="*/ 15 h 31"/>
                  <a:gd name="T2" fmla="*/ 15 w 50"/>
                  <a:gd name="T3" fmla="*/ 0 h 31"/>
                  <a:gd name="T4" fmla="*/ 6 w 50"/>
                  <a:gd name="T5" fmla="*/ 15 h 31"/>
                  <a:gd name="T6" fmla="*/ 35 w 50"/>
                  <a:gd name="T7" fmla="*/ 31 h 31"/>
                  <a:gd name="T8" fmla="*/ 44 w 5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1">
                    <a:moveTo>
                      <a:pt x="44" y="15"/>
                    </a:moveTo>
                    <a:cubicBezTo>
                      <a:pt x="38" y="7"/>
                      <a:pt x="25" y="0"/>
                      <a:pt x="15" y="0"/>
                    </a:cubicBezTo>
                    <a:cubicBezTo>
                      <a:pt x="5" y="0"/>
                      <a:pt x="0" y="7"/>
                      <a:pt x="6" y="15"/>
                    </a:cubicBezTo>
                    <a:cubicBezTo>
                      <a:pt x="11" y="24"/>
                      <a:pt x="24" y="31"/>
                      <a:pt x="35" y="31"/>
                    </a:cubicBezTo>
                    <a:cubicBezTo>
                      <a:pt x="46" y="31"/>
                      <a:pt x="50" y="24"/>
                      <a:pt x="44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6" name="îśļíḑè">
                <a:extLst>
                  <a:ext uri="{FF2B5EF4-FFF2-40B4-BE49-F238E27FC236}">
                    <a16:creationId xmlns:a16="http://schemas.microsoft.com/office/drawing/2014/main" id="{19C78BFC-5AE3-48F2-8D5A-57F4E43D1411}"/>
                  </a:ext>
                </a:extLst>
              </p:cNvPr>
              <p:cNvSpPr/>
              <p:nvPr/>
            </p:nvSpPr>
            <p:spPr bwMode="auto">
              <a:xfrm>
                <a:off x="10027912" y="3931913"/>
                <a:ext cx="165096" cy="104920"/>
              </a:xfrm>
              <a:custGeom>
                <a:avLst/>
                <a:gdLst>
                  <a:gd name="T0" fmla="*/ 41 w 45"/>
                  <a:gd name="T1" fmla="*/ 14 h 29"/>
                  <a:gd name="T2" fmla="*/ 15 w 45"/>
                  <a:gd name="T3" fmla="*/ 0 h 29"/>
                  <a:gd name="T4" fmla="*/ 4 w 45"/>
                  <a:gd name="T5" fmla="*/ 14 h 29"/>
                  <a:gd name="T6" fmla="*/ 30 w 45"/>
                  <a:gd name="T7" fmla="*/ 29 h 29"/>
                  <a:gd name="T8" fmla="*/ 41 w 45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9">
                    <a:moveTo>
                      <a:pt x="41" y="14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20" y="29"/>
                      <a:pt x="30" y="29"/>
                    </a:cubicBezTo>
                    <a:cubicBezTo>
                      <a:pt x="40" y="29"/>
                      <a:pt x="45" y="22"/>
                      <a:pt x="41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7" name="íŝľïďé">
                <a:extLst>
                  <a:ext uri="{FF2B5EF4-FFF2-40B4-BE49-F238E27FC236}">
                    <a16:creationId xmlns:a16="http://schemas.microsoft.com/office/drawing/2014/main" id="{F8A0843D-ACC3-4B06-902A-1328BCF37F89}"/>
                  </a:ext>
                </a:extLst>
              </p:cNvPr>
              <p:cNvSpPr/>
              <p:nvPr/>
            </p:nvSpPr>
            <p:spPr bwMode="auto">
              <a:xfrm>
                <a:off x="10356560" y="3931913"/>
                <a:ext cx="168182" cy="104920"/>
              </a:xfrm>
              <a:custGeom>
                <a:avLst/>
                <a:gdLst>
                  <a:gd name="T0" fmla="*/ 42 w 46"/>
                  <a:gd name="T1" fmla="*/ 14 h 29"/>
                  <a:gd name="T2" fmla="*/ 15 w 46"/>
                  <a:gd name="T3" fmla="*/ 0 h 29"/>
                  <a:gd name="T4" fmla="*/ 5 w 46"/>
                  <a:gd name="T5" fmla="*/ 14 h 29"/>
                  <a:gd name="T6" fmla="*/ 31 w 46"/>
                  <a:gd name="T7" fmla="*/ 29 h 29"/>
                  <a:gd name="T8" fmla="*/ 42 w 46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29">
                    <a:moveTo>
                      <a:pt x="42" y="14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5" y="14"/>
                    </a:cubicBezTo>
                    <a:cubicBezTo>
                      <a:pt x="9" y="22"/>
                      <a:pt x="21" y="29"/>
                      <a:pt x="31" y="29"/>
                    </a:cubicBezTo>
                    <a:cubicBezTo>
                      <a:pt x="42" y="29"/>
                      <a:pt x="46" y="22"/>
                      <a:pt x="42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8" name="îšḻíḍe">
                <a:extLst>
                  <a:ext uri="{FF2B5EF4-FFF2-40B4-BE49-F238E27FC236}">
                    <a16:creationId xmlns:a16="http://schemas.microsoft.com/office/drawing/2014/main" id="{9F3B935B-736B-4AD8-8F94-97C0A15A7024}"/>
                  </a:ext>
                </a:extLst>
              </p:cNvPr>
              <p:cNvSpPr/>
              <p:nvPr/>
            </p:nvSpPr>
            <p:spPr bwMode="auto">
              <a:xfrm>
                <a:off x="9762525" y="4063064"/>
                <a:ext cx="163552" cy="109550"/>
              </a:xfrm>
              <a:custGeom>
                <a:avLst/>
                <a:gdLst>
                  <a:gd name="T0" fmla="*/ 41 w 45"/>
                  <a:gd name="T1" fmla="*/ 15 h 30"/>
                  <a:gd name="T2" fmla="*/ 15 w 45"/>
                  <a:gd name="T3" fmla="*/ 0 h 30"/>
                  <a:gd name="T4" fmla="*/ 3 w 45"/>
                  <a:gd name="T5" fmla="*/ 15 h 30"/>
                  <a:gd name="T6" fmla="*/ 29 w 45"/>
                  <a:gd name="T7" fmla="*/ 30 h 30"/>
                  <a:gd name="T8" fmla="*/ 41 w 45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0">
                    <a:moveTo>
                      <a:pt x="41" y="15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5"/>
                    </a:cubicBezTo>
                    <a:cubicBezTo>
                      <a:pt x="7" y="23"/>
                      <a:pt x="19" y="30"/>
                      <a:pt x="29" y="30"/>
                    </a:cubicBezTo>
                    <a:cubicBezTo>
                      <a:pt x="40" y="30"/>
                      <a:pt x="45" y="23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9" name="iṩḻïďè">
                <a:extLst>
                  <a:ext uri="{FF2B5EF4-FFF2-40B4-BE49-F238E27FC236}">
                    <a16:creationId xmlns:a16="http://schemas.microsoft.com/office/drawing/2014/main" id="{07469338-8FE8-4AFE-8780-877DF770E63E}"/>
                  </a:ext>
                </a:extLst>
              </p:cNvPr>
              <p:cNvSpPr/>
              <p:nvPr/>
            </p:nvSpPr>
            <p:spPr bwMode="auto">
              <a:xfrm>
                <a:off x="9926077" y="4063064"/>
                <a:ext cx="168182" cy="109550"/>
              </a:xfrm>
              <a:custGeom>
                <a:avLst/>
                <a:gdLst>
                  <a:gd name="T0" fmla="*/ 42 w 46"/>
                  <a:gd name="T1" fmla="*/ 15 h 30"/>
                  <a:gd name="T2" fmla="*/ 16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8" y="6"/>
                      <a:pt x="26" y="0"/>
                      <a:pt x="16" y="0"/>
                    </a:cubicBezTo>
                    <a:cubicBezTo>
                      <a:pt x="6" y="0"/>
                      <a:pt x="0" y="6"/>
                      <a:pt x="4" y="15"/>
                    </a:cubicBezTo>
                    <a:cubicBezTo>
                      <a:pt x="8" y="23"/>
                      <a:pt x="20" y="30"/>
                      <a:pt x="31" y="30"/>
                    </a:cubicBezTo>
                    <a:cubicBezTo>
                      <a:pt x="41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0" name="îṡļiḍe">
                <a:extLst>
                  <a:ext uri="{FF2B5EF4-FFF2-40B4-BE49-F238E27FC236}">
                    <a16:creationId xmlns:a16="http://schemas.microsoft.com/office/drawing/2014/main" id="{58ACE0B4-49BD-4E71-91FA-E90B8AAD0163}"/>
                  </a:ext>
                </a:extLst>
              </p:cNvPr>
              <p:cNvSpPr/>
              <p:nvPr/>
            </p:nvSpPr>
            <p:spPr bwMode="auto">
              <a:xfrm>
                <a:off x="10094259" y="4063064"/>
                <a:ext cx="168182" cy="109550"/>
              </a:xfrm>
              <a:custGeom>
                <a:avLst/>
                <a:gdLst>
                  <a:gd name="T0" fmla="*/ 42 w 46"/>
                  <a:gd name="T1" fmla="*/ 15 h 30"/>
                  <a:gd name="T2" fmla="*/ 15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8" y="6"/>
                      <a:pt x="26" y="0"/>
                      <a:pt x="15" y="0"/>
                    </a:cubicBezTo>
                    <a:cubicBezTo>
                      <a:pt x="5" y="0"/>
                      <a:pt x="0" y="6"/>
                      <a:pt x="4" y="15"/>
                    </a:cubicBezTo>
                    <a:cubicBezTo>
                      <a:pt x="9" y="23"/>
                      <a:pt x="20" y="30"/>
                      <a:pt x="31" y="30"/>
                    </a:cubicBezTo>
                    <a:cubicBezTo>
                      <a:pt x="41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1" name="iṧľíďe">
                <a:extLst>
                  <a:ext uri="{FF2B5EF4-FFF2-40B4-BE49-F238E27FC236}">
                    <a16:creationId xmlns:a16="http://schemas.microsoft.com/office/drawing/2014/main" id="{A8658169-67B4-4AFD-9F94-0BB95FCEE8F0}"/>
                  </a:ext>
                </a:extLst>
              </p:cNvPr>
              <p:cNvSpPr/>
              <p:nvPr/>
            </p:nvSpPr>
            <p:spPr bwMode="auto">
              <a:xfrm>
                <a:off x="10262440" y="4063064"/>
                <a:ext cx="166638" cy="109550"/>
              </a:xfrm>
              <a:custGeom>
                <a:avLst/>
                <a:gdLst>
                  <a:gd name="T0" fmla="*/ 42 w 46"/>
                  <a:gd name="T1" fmla="*/ 15 h 30"/>
                  <a:gd name="T2" fmla="*/ 15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5"/>
                    </a:cubicBezTo>
                    <a:cubicBezTo>
                      <a:pt x="9" y="23"/>
                      <a:pt x="21" y="30"/>
                      <a:pt x="31" y="30"/>
                    </a:cubicBezTo>
                    <a:cubicBezTo>
                      <a:pt x="42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2" name="ísļiḍé">
                <a:extLst>
                  <a:ext uri="{FF2B5EF4-FFF2-40B4-BE49-F238E27FC236}">
                    <a16:creationId xmlns:a16="http://schemas.microsoft.com/office/drawing/2014/main" id="{4165D53B-A029-4939-BC7E-3BFFB2D04311}"/>
                  </a:ext>
                </a:extLst>
              </p:cNvPr>
              <p:cNvSpPr/>
              <p:nvPr/>
            </p:nvSpPr>
            <p:spPr bwMode="auto">
              <a:xfrm>
                <a:off x="10429078" y="4063064"/>
                <a:ext cx="168182" cy="109550"/>
              </a:xfrm>
              <a:custGeom>
                <a:avLst/>
                <a:gdLst>
                  <a:gd name="T0" fmla="*/ 42 w 46"/>
                  <a:gd name="T1" fmla="*/ 15 h 30"/>
                  <a:gd name="T2" fmla="*/ 15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5"/>
                    </a:cubicBezTo>
                    <a:cubicBezTo>
                      <a:pt x="9" y="23"/>
                      <a:pt x="21" y="30"/>
                      <a:pt x="31" y="30"/>
                    </a:cubicBezTo>
                    <a:cubicBezTo>
                      <a:pt x="42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3" name="íṧ1îde">
                <a:extLst>
                  <a:ext uri="{FF2B5EF4-FFF2-40B4-BE49-F238E27FC236}">
                    <a16:creationId xmlns:a16="http://schemas.microsoft.com/office/drawing/2014/main" id="{D02E3A86-4A27-4AF8-8CFD-B646113E0CC9}"/>
                  </a:ext>
                </a:extLst>
              </p:cNvPr>
              <p:cNvSpPr/>
              <p:nvPr/>
            </p:nvSpPr>
            <p:spPr bwMode="auto">
              <a:xfrm>
                <a:off x="10597259" y="4063064"/>
                <a:ext cx="171268" cy="109550"/>
              </a:xfrm>
              <a:custGeom>
                <a:avLst/>
                <a:gdLst>
                  <a:gd name="T0" fmla="*/ 42 w 47"/>
                  <a:gd name="T1" fmla="*/ 15 h 30"/>
                  <a:gd name="T2" fmla="*/ 14 w 47"/>
                  <a:gd name="T3" fmla="*/ 0 h 30"/>
                  <a:gd name="T4" fmla="*/ 4 w 47"/>
                  <a:gd name="T5" fmla="*/ 15 h 30"/>
                  <a:gd name="T6" fmla="*/ 32 w 47"/>
                  <a:gd name="T7" fmla="*/ 30 h 30"/>
                  <a:gd name="T8" fmla="*/ 42 w 47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0">
                    <a:moveTo>
                      <a:pt x="42" y="15"/>
                    </a:moveTo>
                    <a:cubicBezTo>
                      <a:pt x="37" y="6"/>
                      <a:pt x="25" y="0"/>
                      <a:pt x="14" y="0"/>
                    </a:cubicBezTo>
                    <a:cubicBezTo>
                      <a:pt x="4" y="0"/>
                      <a:pt x="0" y="6"/>
                      <a:pt x="4" y="15"/>
                    </a:cubicBezTo>
                    <a:cubicBezTo>
                      <a:pt x="9" y="23"/>
                      <a:pt x="21" y="30"/>
                      <a:pt x="32" y="30"/>
                    </a:cubicBezTo>
                    <a:cubicBezTo>
                      <a:pt x="42" y="30"/>
                      <a:pt x="47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4" name="î$ḻïḋê">
                <a:extLst>
                  <a:ext uri="{FF2B5EF4-FFF2-40B4-BE49-F238E27FC236}">
                    <a16:creationId xmlns:a16="http://schemas.microsoft.com/office/drawing/2014/main" id="{BC4CDB80-76EA-484E-908F-5A5583CA3775}"/>
                  </a:ext>
                </a:extLst>
              </p:cNvPr>
              <p:cNvSpPr/>
              <p:nvPr/>
            </p:nvSpPr>
            <p:spPr bwMode="auto">
              <a:xfrm>
                <a:off x="9652976" y="4198843"/>
                <a:ext cx="166638" cy="112636"/>
              </a:xfrm>
              <a:custGeom>
                <a:avLst/>
                <a:gdLst>
                  <a:gd name="T0" fmla="*/ 42 w 46"/>
                  <a:gd name="T1" fmla="*/ 15 h 31"/>
                  <a:gd name="T2" fmla="*/ 16 w 46"/>
                  <a:gd name="T3" fmla="*/ 0 h 31"/>
                  <a:gd name="T4" fmla="*/ 4 w 46"/>
                  <a:gd name="T5" fmla="*/ 15 h 31"/>
                  <a:gd name="T6" fmla="*/ 30 w 46"/>
                  <a:gd name="T7" fmla="*/ 31 h 31"/>
                  <a:gd name="T8" fmla="*/ 42 w 4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1">
                    <a:moveTo>
                      <a:pt x="42" y="15"/>
                    </a:moveTo>
                    <a:cubicBezTo>
                      <a:pt x="38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4" y="15"/>
                    </a:cubicBezTo>
                    <a:cubicBezTo>
                      <a:pt x="8" y="24"/>
                      <a:pt x="20" y="31"/>
                      <a:pt x="30" y="31"/>
                    </a:cubicBezTo>
                    <a:cubicBezTo>
                      <a:pt x="41" y="31"/>
                      <a:pt x="46" y="24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5" name="íṧliḑè">
                <a:extLst>
                  <a:ext uri="{FF2B5EF4-FFF2-40B4-BE49-F238E27FC236}">
                    <a16:creationId xmlns:a16="http://schemas.microsoft.com/office/drawing/2014/main" id="{E47AEE04-EFF9-4D3A-973E-6815C2853901}"/>
                  </a:ext>
                </a:extLst>
              </p:cNvPr>
              <p:cNvSpPr/>
              <p:nvPr/>
            </p:nvSpPr>
            <p:spPr bwMode="auto">
              <a:xfrm>
                <a:off x="9824243" y="4198843"/>
                <a:ext cx="168182" cy="112636"/>
              </a:xfrm>
              <a:custGeom>
                <a:avLst/>
                <a:gdLst>
                  <a:gd name="T0" fmla="*/ 42 w 46"/>
                  <a:gd name="T1" fmla="*/ 15 h 31"/>
                  <a:gd name="T2" fmla="*/ 16 w 46"/>
                  <a:gd name="T3" fmla="*/ 0 h 31"/>
                  <a:gd name="T4" fmla="*/ 4 w 46"/>
                  <a:gd name="T5" fmla="*/ 15 h 31"/>
                  <a:gd name="T6" fmla="*/ 30 w 46"/>
                  <a:gd name="T7" fmla="*/ 31 h 31"/>
                  <a:gd name="T8" fmla="*/ 42 w 4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1">
                    <a:moveTo>
                      <a:pt x="42" y="15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8" y="24"/>
                      <a:pt x="20" y="31"/>
                      <a:pt x="30" y="31"/>
                    </a:cubicBezTo>
                    <a:cubicBezTo>
                      <a:pt x="41" y="31"/>
                      <a:pt x="46" y="24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6" name="ïślíḑe">
                <a:extLst>
                  <a:ext uri="{FF2B5EF4-FFF2-40B4-BE49-F238E27FC236}">
                    <a16:creationId xmlns:a16="http://schemas.microsoft.com/office/drawing/2014/main" id="{A8C75020-A159-4B7F-A526-8DA92DC31A58}"/>
                  </a:ext>
                </a:extLst>
              </p:cNvPr>
              <p:cNvSpPr/>
              <p:nvPr/>
            </p:nvSpPr>
            <p:spPr bwMode="auto">
              <a:xfrm>
                <a:off x="9992424" y="4198843"/>
                <a:ext cx="171268" cy="112636"/>
              </a:xfrm>
              <a:custGeom>
                <a:avLst/>
                <a:gdLst>
                  <a:gd name="T0" fmla="*/ 43 w 47"/>
                  <a:gd name="T1" fmla="*/ 15 h 31"/>
                  <a:gd name="T2" fmla="*/ 16 w 47"/>
                  <a:gd name="T3" fmla="*/ 0 h 31"/>
                  <a:gd name="T4" fmla="*/ 4 w 47"/>
                  <a:gd name="T5" fmla="*/ 15 h 31"/>
                  <a:gd name="T6" fmla="*/ 31 w 47"/>
                  <a:gd name="T7" fmla="*/ 31 h 31"/>
                  <a:gd name="T8" fmla="*/ 43 w 47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1">
                    <a:moveTo>
                      <a:pt x="43" y="15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9" y="24"/>
                      <a:pt x="21" y="31"/>
                      <a:pt x="31" y="31"/>
                    </a:cubicBezTo>
                    <a:cubicBezTo>
                      <a:pt x="42" y="31"/>
                      <a:pt x="47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7" name="isḻîde">
                <a:extLst>
                  <a:ext uri="{FF2B5EF4-FFF2-40B4-BE49-F238E27FC236}">
                    <a16:creationId xmlns:a16="http://schemas.microsoft.com/office/drawing/2014/main" id="{22396508-07D4-4321-B90A-B99CD8E6DF44}"/>
                  </a:ext>
                </a:extLst>
              </p:cNvPr>
              <p:cNvSpPr/>
              <p:nvPr/>
            </p:nvSpPr>
            <p:spPr bwMode="auto">
              <a:xfrm>
                <a:off x="10163691" y="4198843"/>
                <a:ext cx="171268" cy="112636"/>
              </a:xfrm>
              <a:custGeom>
                <a:avLst/>
                <a:gdLst>
                  <a:gd name="T0" fmla="*/ 42 w 47"/>
                  <a:gd name="T1" fmla="*/ 15 h 31"/>
                  <a:gd name="T2" fmla="*/ 15 w 47"/>
                  <a:gd name="T3" fmla="*/ 0 h 31"/>
                  <a:gd name="T4" fmla="*/ 4 w 47"/>
                  <a:gd name="T5" fmla="*/ 15 h 31"/>
                  <a:gd name="T6" fmla="*/ 31 w 47"/>
                  <a:gd name="T7" fmla="*/ 31 h 31"/>
                  <a:gd name="T8" fmla="*/ 42 w 47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1">
                    <a:moveTo>
                      <a:pt x="42" y="15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8" y="24"/>
                      <a:pt x="20" y="31"/>
                      <a:pt x="31" y="31"/>
                    </a:cubicBezTo>
                    <a:cubicBezTo>
                      <a:pt x="42" y="31"/>
                      <a:pt x="47" y="24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8" name="îS1íḍe">
                <a:extLst>
                  <a:ext uri="{FF2B5EF4-FFF2-40B4-BE49-F238E27FC236}">
                    <a16:creationId xmlns:a16="http://schemas.microsoft.com/office/drawing/2014/main" id="{4412B8E6-0932-4C5D-961D-AEADCDA89D49}"/>
                  </a:ext>
                </a:extLst>
              </p:cNvPr>
              <p:cNvSpPr/>
              <p:nvPr/>
            </p:nvSpPr>
            <p:spPr bwMode="auto">
              <a:xfrm>
                <a:off x="10330329" y="4198843"/>
                <a:ext cx="175896" cy="112636"/>
              </a:xfrm>
              <a:custGeom>
                <a:avLst/>
                <a:gdLst>
                  <a:gd name="T0" fmla="*/ 43 w 48"/>
                  <a:gd name="T1" fmla="*/ 15 h 31"/>
                  <a:gd name="T2" fmla="*/ 16 w 48"/>
                  <a:gd name="T3" fmla="*/ 0 h 31"/>
                  <a:gd name="T4" fmla="*/ 5 w 48"/>
                  <a:gd name="T5" fmla="*/ 15 h 31"/>
                  <a:gd name="T6" fmla="*/ 32 w 48"/>
                  <a:gd name="T7" fmla="*/ 31 h 31"/>
                  <a:gd name="T8" fmla="*/ 43 w 48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1">
                    <a:moveTo>
                      <a:pt x="43" y="15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5" y="15"/>
                    </a:cubicBezTo>
                    <a:cubicBezTo>
                      <a:pt x="9" y="24"/>
                      <a:pt x="21" y="31"/>
                      <a:pt x="32" y="31"/>
                    </a:cubicBezTo>
                    <a:cubicBezTo>
                      <a:pt x="43" y="31"/>
                      <a:pt x="48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9" name="işlíḑe">
                <a:extLst>
                  <a:ext uri="{FF2B5EF4-FFF2-40B4-BE49-F238E27FC236}">
                    <a16:creationId xmlns:a16="http://schemas.microsoft.com/office/drawing/2014/main" id="{EB7B1A83-0E50-40CC-84AE-6657088D7208}"/>
                  </a:ext>
                </a:extLst>
              </p:cNvPr>
              <p:cNvSpPr/>
              <p:nvPr/>
            </p:nvSpPr>
            <p:spPr bwMode="auto">
              <a:xfrm>
                <a:off x="10503139" y="4198843"/>
                <a:ext cx="171268" cy="112636"/>
              </a:xfrm>
              <a:custGeom>
                <a:avLst/>
                <a:gdLst>
                  <a:gd name="T0" fmla="*/ 43 w 47"/>
                  <a:gd name="T1" fmla="*/ 15 h 31"/>
                  <a:gd name="T2" fmla="*/ 15 w 47"/>
                  <a:gd name="T3" fmla="*/ 0 h 31"/>
                  <a:gd name="T4" fmla="*/ 4 w 47"/>
                  <a:gd name="T5" fmla="*/ 15 h 31"/>
                  <a:gd name="T6" fmla="*/ 32 w 47"/>
                  <a:gd name="T7" fmla="*/ 31 h 31"/>
                  <a:gd name="T8" fmla="*/ 43 w 47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1">
                    <a:moveTo>
                      <a:pt x="43" y="15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9" y="24"/>
                      <a:pt x="21" y="31"/>
                      <a:pt x="32" y="31"/>
                    </a:cubicBezTo>
                    <a:cubicBezTo>
                      <a:pt x="43" y="31"/>
                      <a:pt x="47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0" name="iśľîde">
                <a:extLst>
                  <a:ext uri="{FF2B5EF4-FFF2-40B4-BE49-F238E27FC236}">
                    <a16:creationId xmlns:a16="http://schemas.microsoft.com/office/drawing/2014/main" id="{D440B304-701A-4C31-BD81-1E3E35BA2F98}"/>
                  </a:ext>
                </a:extLst>
              </p:cNvPr>
              <p:cNvSpPr/>
              <p:nvPr/>
            </p:nvSpPr>
            <p:spPr bwMode="auto">
              <a:xfrm>
                <a:off x="10669777" y="4198843"/>
                <a:ext cx="175896" cy="112636"/>
              </a:xfrm>
              <a:custGeom>
                <a:avLst/>
                <a:gdLst>
                  <a:gd name="T0" fmla="*/ 43 w 48"/>
                  <a:gd name="T1" fmla="*/ 15 h 31"/>
                  <a:gd name="T2" fmla="*/ 15 w 48"/>
                  <a:gd name="T3" fmla="*/ 0 h 31"/>
                  <a:gd name="T4" fmla="*/ 5 w 48"/>
                  <a:gd name="T5" fmla="*/ 15 h 31"/>
                  <a:gd name="T6" fmla="*/ 33 w 48"/>
                  <a:gd name="T7" fmla="*/ 31 h 31"/>
                  <a:gd name="T8" fmla="*/ 43 w 48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1">
                    <a:moveTo>
                      <a:pt x="43" y="15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5" y="15"/>
                    </a:cubicBezTo>
                    <a:cubicBezTo>
                      <a:pt x="10" y="24"/>
                      <a:pt x="22" y="31"/>
                      <a:pt x="33" y="31"/>
                    </a:cubicBezTo>
                    <a:cubicBezTo>
                      <a:pt x="44" y="31"/>
                      <a:pt x="48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1" name="ïsļiḍe">
                <a:extLst>
                  <a:ext uri="{FF2B5EF4-FFF2-40B4-BE49-F238E27FC236}">
                    <a16:creationId xmlns:a16="http://schemas.microsoft.com/office/drawing/2014/main" id="{DF6B40B2-25B3-419B-B7B3-01CFFCD09E74}"/>
                  </a:ext>
                </a:extLst>
              </p:cNvPr>
              <p:cNvSpPr/>
              <p:nvPr/>
            </p:nvSpPr>
            <p:spPr bwMode="auto">
              <a:xfrm>
                <a:off x="9543426" y="4337708"/>
                <a:ext cx="166638" cy="115721"/>
              </a:xfrm>
              <a:custGeom>
                <a:avLst/>
                <a:gdLst>
                  <a:gd name="T0" fmla="*/ 42 w 46"/>
                  <a:gd name="T1" fmla="*/ 16 h 32"/>
                  <a:gd name="T2" fmla="*/ 16 w 46"/>
                  <a:gd name="T3" fmla="*/ 0 h 32"/>
                  <a:gd name="T4" fmla="*/ 4 w 46"/>
                  <a:gd name="T5" fmla="*/ 16 h 32"/>
                  <a:gd name="T6" fmla="*/ 30 w 46"/>
                  <a:gd name="T7" fmla="*/ 32 h 32"/>
                  <a:gd name="T8" fmla="*/ 42 w 46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2">
                    <a:moveTo>
                      <a:pt x="42" y="16"/>
                    </a:moveTo>
                    <a:cubicBezTo>
                      <a:pt x="38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4" y="16"/>
                    </a:cubicBezTo>
                    <a:cubicBezTo>
                      <a:pt x="7" y="25"/>
                      <a:pt x="19" y="32"/>
                      <a:pt x="30" y="32"/>
                    </a:cubicBezTo>
                    <a:cubicBezTo>
                      <a:pt x="41" y="32"/>
                      <a:pt x="46" y="25"/>
                      <a:pt x="4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2" name="íSlïḑe">
                <a:extLst>
                  <a:ext uri="{FF2B5EF4-FFF2-40B4-BE49-F238E27FC236}">
                    <a16:creationId xmlns:a16="http://schemas.microsoft.com/office/drawing/2014/main" id="{EDE01A30-2303-442A-B6A3-7FD8FA105DC2}"/>
                  </a:ext>
                </a:extLst>
              </p:cNvPr>
              <p:cNvSpPr/>
              <p:nvPr/>
            </p:nvSpPr>
            <p:spPr bwMode="auto">
              <a:xfrm>
                <a:off x="9714694" y="4337708"/>
                <a:ext cx="171268" cy="115721"/>
              </a:xfrm>
              <a:custGeom>
                <a:avLst/>
                <a:gdLst>
                  <a:gd name="T0" fmla="*/ 43 w 47"/>
                  <a:gd name="T1" fmla="*/ 16 h 32"/>
                  <a:gd name="T2" fmla="*/ 16 w 47"/>
                  <a:gd name="T3" fmla="*/ 0 h 32"/>
                  <a:gd name="T4" fmla="*/ 4 w 47"/>
                  <a:gd name="T5" fmla="*/ 16 h 32"/>
                  <a:gd name="T6" fmla="*/ 31 w 47"/>
                  <a:gd name="T7" fmla="*/ 32 h 32"/>
                  <a:gd name="T8" fmla="*/ 43 w 47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2">
                    <a:moveTo>
                      <a:pt x="43" y="16"/>
                    </a:moveTo>
                    <a:cubicBezTo>
                      <a:pt x="39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4" y="16"/>
                    </a:cubicBezTo>
                    <a:cubicBezTo>
                      <a:pt x="8" y="25"/>
                      <a:pt x="20" y="32"/>
                      <a:pt x="31" y="32"/>
                    </a:cubicBezTo>
                    <a:cubicBezTo>
                      <a:pt x="41" y="32"/>
                      <a:pt x="47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3" name="iš1îḍè">
                <a:extLst>
                  <a:ext uri="{FF2B5EF4-FFF2-40B4-BE49-F238E27FC236}">
                    <a16:creationId xmlns:a16="http://schemas.microsoft.com/office/drawing/2014/main" id="{A2BAB5C1-3187-4B3E-B354-4446F0860201}"/>
                  </a:ext>
                </a:extLst>
              </p:cNvPr>
              <p:cNvSpPr/>
              <p:nvPr/>
            </p:nvSpPr>
            <p:spPr bwMode="auto">
              <a:xfrm>
                <a:off x="9885961" y="4337708"/>
                <a:ext cx="174353" cy="115721"/>
              </a:xfrm>
              <a:custGeom>
                <a:avLst/>
                <a:gdLst>
                  <a:gd name="T0" fmla="*/ 43 w 48"/>
                  <a:gd name="T1" fmla="*/ 16 h 32"/>
                  <a:gd name="T2" fmla="*/ 16 w 48"/>
                  <a:gd name="T3" fmla="*/ 0 h 32"/>
                  <a:gd name="T4" fmla="*/ 5 w 48"/>
                  <a:gd name="T5" fmla="*/ 16 h 32"/>
                  <a:gd name="T6" fmla="*/ 31 w 48"/>
                  <a:gd name="T7" fmla="*/ 32 h 32"/>
                  <a:gd name="T8" fmla="*/ 43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3" y="16"/>
                    </a:moveTo>
                    <a:cubicBezTo>
                      <a:pt x="39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5" y="16"/>
                    </a:cubicBezTo>
                    <a:cubicBezTo>
                      <a:pt x="9" y="25"/>
                      <a:pt x="21" y="32"/>
                      <a:pt x="31" y="32"/>
                    </a:cubicBezTo>
                    <a:cubicBezTo>
                      <a:pt x="42" y="32"/>
                      <a:pt x="48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4" name="ïSliďé">
                <a:extLst>
                  <a:ext uri="{FF2B5EF4-FFF2-40B4-BE49-F238E27FC236}">
                    <a16:creationId xmlns:a16="http://schemas.microsoft.com/office/drawing/2014/main" id="{0CCF8B6C-83A8-4A8C-839C-F19A1A17FA3F}"/>
                  </a:ext>
                </a:extLst>
              </p:cNvPr>
              <p:cNvSpPr/>
              <p:nvPr/>
            </p:nvSpPr>
            <p:spPr bwMode="auto">
              <a:xfrm>
                <a:off x="10060314" y="4337708"/>
                <a:ext cx="172810" cy="115721"/>
              </a:xfrm>
              <a:custGeom>
                <a:avLst/>
                <a:gdLst>
                  <a:gd name="T0" fmla="*/ 43 w 47"/>
                  <a:gd name="T1" fmla="*/ 16 h 32"/>
                  <a:gd name="T2" fmla="*/ 16 w 47"/>
                  <a:gd name="T3" fmla="*/ 0 h 32"/>
                  <a:gd name="T4" fmla="*/ 4 w 47"/>
                  <a:gd name="T5" fmla="*/ 16 h 32"/>
                  <a:gd name="T6" fmla="*/ 31 w 47"/>
                  <a:gd name="T7" fmla="*/ 32 h 32"/>
                  <a:gd name="T8" fmla="*/ 43 w 47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2">
                    <a:moveTo>
                      <a:pt x="43" y="16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6"/>
                    </a:cubicBezTo>
                    <a:cubicBezTo>
                      <a:pt x="8" y="25"/>
                      <a:pt x="20" y="32"/>
                      <a:pt x="31" y="32"/>
                    </a:cubicBezTo>
                    <a:cubicBezTo>
                      <a:pt x="42" y="32"/>
                      <a:pt x="47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5" name="iṡḷidè">
                <a:extLst>
                  <a:ext uri="{FF2B5EF4-FFF2-40B4-BE49-F238E27FC236}">
                    <a16:creationId xmlns:a16="http://schemas.microsoft.com/office/drawing/2014/main" id="{E8EF4A62-32F2-46EF-B3EE-C6F87C58FA8D}"/>
                  </a:ext>
                </a:extLst>
              </p:cNvPr>
              <p:cNvSpPr/>
              <p:nvPr/>
            </p:nvSpPr>
            <p:spPr bwMode="auto">
              <a:xfrm>
                <a:off x="10233124" y="4337708"/>
                <a:ext cx="174353" cy="115721"/>
              </a:xfrm>
              <a:custGeom>
                <a:avLst/>
                <a:gdLst>
                  <a:gd name="T0" fmla="*/ 43 w 48"/>
                  <a:gd name="T1" fmla="*/ 16 h 32"/>
                  <a:gd name="T2" fmla="*/ 16 w 48"/>
                  <a:gd name="T3" fmla="*/ 0 h 32"/>
                  <a:gd name="T4" fmla="*/ 4 w 48"/>
                  <a:gd name="T5" fmla="*/ 16 h 32"/>
                  <a:gd name="T6" fmla="*/ 32 w 48"/>
                  <a:gd name="T7" fmla="*/ 32 h 32"/>
                  <a:gd name="T8" fmla="*/ 43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3" y="16"/>
                    </a:moveTo>
                    <a:cubicBezTo>
                      <a:pt x="39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6"/>
                    </a:cubicBezTo>
                    <a:cubicBezTo>
                      <a:pt x="9" y="25"/>
                      <a:pt x="21" y="32"/>
                      <a:pt x="32" y="32"/>
                    </a:cubicBezTo>
                    <a:cubicBezTo>
                      <a:pt x="43" y="32"/>
                      <a:pt x="48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6" name="îṣ1ïḓe">
                <a:extLst>
                  <a:ext uri="{FF2B5EF4-FFF2-40B4-BE49-F238E27FC236}">
                    <a16:creationId xmlns:a16="http://schemas.microsoft.com/office/drawing/2014/main" id="{8EF6713B-AC71-4CEC-9782-E2E87CE7C32D}"/>
                  </a:ext>
                </a:extLst>
              </p:cNvPr>
              <p:cNvSpPr/>
              <p:nvPr/>
            </p:nvSpPr>
            <p:spPr bwMode="auto">
              <a:xfrm>
                <a:off x="10404391" y="4337708"/>
                <a:ext cx="174353" cy="115721"/>
              </a:xfrm>
              <a:custGeom>
                <a:avLst/>
                <a:gdLst>
                  <a:gd name="T0" fmla="*/ 44 w 48"/>
                  <a:gd name="T1" fmla="*/ 16 h 32"/>
                  <a:gd name="T2" fmla="*/ 16 w 48"/>
                  <a:gd name="T3" fmla="*/ 0 h 32"/>
                  <a:gd name="T4" fmla="*/ 5 w 48"/>
                  <a:gd name="T5" fmla="*/ 16 h 32"/>
                  <a:gd name="T6" fmla="*/ 33 w 48"/>
                  <a:gd name="T7" fmla="*/ 32 h 32"/>
                  <a:gd name="T8" fmla="*/ 44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4" y="16"/>
                    </a:moveTo>
                    <a:cubicBezTo>
                      <a:pt x="39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5" y="16"/>
                    </a:cubicBezTo>
                    <a:cubicBezTo>
                      <a:pt x="10" y="25"/>
                      <a:pt x="22" y="32"/>
                      <a:pt x="33" y="32"/>
                    </a:cubicBezTo>
                    <a:cubicBezTo>
                      <a:pt x="44" y="32"/>
                      <a:pt x="48" y="25"/>
                      <a:pt x="44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7" name="îśļïdè">
                <a:extLst>
                  <a:ext uri="{FF2B5EF4-FFF2-40B4-BE49-F238E27FC236}">
                    <a16:creationId xmlns:a16="http://schemas.microsoft.com/office/drawing/2014/main" id="{DEA33B45-A87F-4D54-ACC2-8A938CF86A8E}"/>
                  </a:ext>
                </a:extLst>
              </p:cNvPr>
              <p:cNvSpPr/>
              <p:nvPr/>
            </p:nvSpPr>
            <p:spPr bwMode="auto">
              <a:xfrm>
                <a:off x="10578744" y="4337708"/>
                <a:ext cx="175896" cy="115721"/>
              </a:xfrm>
              <a:custGeom>
                <a:avLst/>
                <a:gdLst>
                  <a:gd name="T0" fmla="*/ 43 w 48"/>
                  <a:gd name="T1" fmla="*/ 16 h 32"/>
                  <a:gd name="T2" fmla="*/ 15 w 48"/>
                  <a:gd name="T3" fmla="*/ 0 h 32"/>
                  <a:gd name="T4" fmla="*/ 4 w 48"/>
                  <a:gd name="T5" fmla="*/ 16 h 32"/>
                  <a:gd name="T6" fmla="*/ 33 w 48"/>
                  <a:gd name="T7" fmla="*/ 32 h 32"/>
                  <a:gd name="T8" fmla="*/ 43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3" y="16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4" y="0"/>
                      <a:pt x="0" y="7"/>
                      <a:pt x="4" y="16"/>
                    </a:cubicBezTo>
                    <a:cubicBezTo>
                      <a:pt x="9" y="25"/>
                      <a:pt x="22" y="32"/>
                      <a:pt x="33" y="32"/>
                    </a:cubicBezTo>
                    <a:cubicBezTo>
                      <a:pt x="43" y="32"/>
                      <a:pt x="48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8" name="i$ľiḋé">
                <a:extLst>
                  <a:ext uri="{FF2B5EF4-FFF2-40B4-BE49-F238E27FC236}">
                    <a16:creationId xmlns:a16="http://schemas.microsoft.com/office/drawing/2014/main" id="{92111CEC-211F-4A0C-B0F5-0E1FD17BCC0D}"/>
                  </a:ext>
                </a:extLst>
              </p:cNvPr>
              <p:cNvSpPr/>
              <p:nvPr/>
            </p:nvSpPr>
            <p:spPr bwMode="auto">
              <a:xfrm>
                <a:off x="10750011" y="4337708"/>
                <a:ext cx="178982" cy="115721"/>
              </a:xfrm>
              <a:custGeom>
                <a:avLst/>
                <a:gdLst>
                  <a:gd name="T0" fmla="*/ 43 w 49"/>
                  <a:gd name="T1" fmla="*/ 16 h 32"/>
                  <a:gd name="T2" fmla="*/ 15 w 49"/>
                  <a:gd name="T3" fmla="*/ 0 h 32"/>
                  <a:gd name="T4" fmla="*/ 5 w 49"/>
                  <a:gd name="T5" fmla="*/ 16 h 32"/>
                  <a:gd name="T6" fmla="*/ 33 w 49"/>
                  <a:gd name="T7" fmla="*/ 32 h 32"/>
                  <a:gd name="T8" fmla="*/ 43 w 4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2">
                    <a:moveTo>
                      <a:pt x="43" y="16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4" y="0"/>
                      <a:pt x="0" y="7"/>
                      <a:pt x="5" y="16"/>
                    </a:cubicBezTo>
                    <a:cubicBezTo>
                      <a:pt x="10" y="25"/>
                      <a:pt x="22" y="32"/>
                      <a:pt x="33" y="32"/>
                    </a:cubicBezTo>
                    <a:cubicBezTo>
                      <a:pt x="44" y="32"/>
                      <a:pt x="49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9" name="iṩḻiḑê">
                <a:extLst>
                  <a:ext uri="{FF2B5EF4-FFF2-40B4-BE49-F238E27FC236}">
                    <a16:creationId xmlns:a16="http://schemas.microsoft.com/office/drawing/2014/main" id="{37D91E19-7244-4288-A4A3-AA196819BFF7}"/>
                  </a:ext>
                </a:extLst>
              </p:cNvPr>
              <p:cNvSpPr/>
              <p:nvPr/>
            </p:nvSpPr>
            <p:spPr bwMode="auto">
              <a:xfrm>
                <a:off x="10922821" y="4337708"/>
                <a:ext cx="177439" cy="115721"/>
              </a:xfrm>
              <a:custGeom>
                <a:avLst/>
                <a:gdLst>
                  <a:gd name="T0" fmla="*/ 44 w 49"/>
                  <a:gd name="T1" fmla="*/ 16 h 32"/>
                  <a:gd name="T2" fmla="*/ 15 w 49"/>
                  <a:gd name="T3" fmla="*/ 0 h 32"/>
                  <a:gd name="T4" fmla="*/ 5 w 49"/>
                  <a:gd name="T5" fmla="*/ 16 h 32"/>
                  <a:gd name="T6" fmla="*/ 34 w 49"/>
                  <a:gd name="T7" fmla="*/ 32 h 32"/>
                  <a:gd name="T8" fmla="*/ 44 w 4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2">
                    <a:moveTo>
                      <a:pt x="44" y="16"/>
                    </a:moveTo>
                    <a:cubicBezTo>
                      <a:pt x="39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5" y="16"/>
                    </a:cubicBezTo>
                    <a:cubicBezTo>
                      <a:pt x="10" y="25"/>
                      <a:pt x="23" y="32"/>
                      <a:pt x="34" y="32"/>
                    </a:cubicBezTo>
                    <a:cubicBezTo>
                      <a:pt x="45" y="32"/>
                      <a:pt x="49" y="25"/>
                      <a:pt x="44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0" name="ïṧlïḋe">
                <a:extLst>
                  <a:ext uri="{FF2B5EF4-FFF2-40B4-BE49-F238E27FC236}">
                    <a16:creationId xmlns:a16="http://schemas.microsoft.com/office/drawing/2014/main" id="{810CCFD2-BBD2-499D-98D9-D1800111B3FA}"/>
                  </a:ext>
                </a:extLst>
              </p:cNvPr>
              <p:cNvSpPr/>
              <p:nvPr/>
            </p:nvSpPr>
            <p:spPr bwMode="auto">
              <a:xfrm>
                <a:off x="9779498" y="4479659"/>
                <a:ext cx="172810" cy="123436"/>
              </a:xfrm>
              <a:custGeom>
                <a:avLst/>
                <a:gdLst>
                  <a:gd name="T0" fmla="*/ 43 w 47"/>
                  <a:gd name="T1" fmla="*/ 17 h 34"/>
                  <a:gd name="T2" fmla="*/ 16 w 47"/>
                  <a:gd name="T3" fmla="*/ 0 h 34"/>
                  <a:gd name="T4" fmla="*/ 4 w 47"/>
                  <a:gd name="T5" fmla="*/ 17 h 34"/>
                  <a:gd name="T6" fmla="*/ 31 w 47"/>
                  <a:gd name="T7" fmla="*/ 34 h 34"/>
                  <a:gd name="T8" fmla="*/ 43 w 47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4">
                    <a:moveTo>
                      <a:pt x="43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6"/>
                      <a:pt x="20" y="34"/>
                      <a:pt x="31" y="34"/>
                    </a:cubicBezTo>
                    <a:cubicBezTo>
                      <a:pt x="42" y="34"/>
                      <a:pt x="47" y="26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1" name="í$ḻïḋê">
                <a:extLst>
                  <a:ext uri="{FF2B5EF4-FFF2-40B4-BE49-F238E27FC236}">
                    <a16:creationId xmlns:a16="http://schemas.microsoft.com/office/drawing/2014/main" id="{7DCCB83B-8270-4D47-AF1B-9ABB03FA4E67}"/>
                  </a:ext>
                </a:extLst>
              </p:cNvPr>
              <p:cNvSpPr/>
              <p:nvPr/>
            </p:nvSpPr>
            <p:spPr bwMode="auto">
              <a:xfrm>
                <a:off x="9955394" y="4479659"/>
                <a:ext cx="174353" cy="123436"/>
              </a:xfrm>
              <a:custGeom>
                <a:avLst/>
                <a:gdLst>
                  <a:gd name="T0" fmla="*/ 43 w 48"/>
                  <a:gd name="T1" fmla="*/ 17 h 34"/>
                  <a:gd name="T2" fmla="*/ 16 w 48"/>
                  <a:gd name="T3" fmla="*/ 0 h 34"/>
                  <a:gd name="T4" fmla="*/ 4 w 48"/>
                  <a:gd name="T5" fmla="*/ 17 h 34"/>
                  <a:gd name="T6" fmla="*/ 31 w 48"/>
                  <a:gd name="T7" fmla="*/ 34 h 34"/>
                  <a:gd name="T8" fmla="*/ 43 w 48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4">
                    <a:moveTo>
                      <a:pt x="43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6"/>
                      <a:pt x="21" y="34"/>
                      <a:pt x="31" y="34"/>
                    </a:cubicBezTo>
                    <a:cubicBezTo>
                      <a:pt x="42" y="34"/>
                      <a:pt x="48" y="26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2" name="ïś1ide">
                <a:extLst>
                  <a:ext uri="{FF2B5EF4-FFF2-40B4-BE49-F238E27FC236}">
                    <a16:creationId xmlns:a16="http://schemas.microsoft.com/office/drawing/2014/main" id="{DF509197-92C7-4470-AF7E-E31934EBBC8C}"/>
                  </a:ext>
                </a:extLst>
              </p:cNvPr>
              <p:cNvSpPr/>
              <p:nvPr/>
            </p:nvSpPr>
            <p:spPr bwMode="auto">
              <a:xfrm>
                <a:off x="10129746" y="4479659"/>
                <a:ext cx="175896" cy="123436"/>
              </a:xfrm>
              <a:custGeom>
                <a:avLst/>
                <a:gdLst>
                  <a:gd name="T0" fmla="*/ 44 w 48"/>
                  <a:gd name="T1" fmla="*/ 17 h 34"/>
                  <a:gd name="T2" fmla="*/ 16 w 48"/>
                  <a:gd name="T3" fmla="*/ 0 h 34"/>
                  <a:gd name="T4" fmla="*/ 4 w 48"/>
                  <a:gd name="T5" fmla="*/ 17 h 34"/>
                  <a:gd name="T6" fmla="*/ 32 w 48"/>
                  <a:gd name="T7" fmla="*/ 34 h 34"/>
                  <a:gd name="T8" fmla="*/ 44 w 48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4">
                    <a:moveTo>
                      <a:pt x="44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9" y="26"/>
                      <a:pt x="21" y="34"/>
                      <a:pt x="32" y="34"/>
                    </a:cubicBezTo>
                    <a:cubicBezTo>
                      <a:pt x="43" y="34"/>
                      <a:pt x="48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3" name="îş1ïdé">
                <a:extLst>
                  <a:ext uri="{FF2B5EF4-FFF2-40B4-BE49-F238E27FC236}">
                    <a16:creationId xmlns:a16="http://schemas.microsoft.com/office/drawing/2014/main" id="{1EAAAE77-B962-43F7-A6C4-0D90EBF72A40}"/>
                  </a:ext>
                </a:extLst>
              </p:cNvPr>
              <p:cNvSpPr/>
              <p:nvPr/>
            </p:nvSpPr>
            <p:spPr bwMode="auto">
              <a:xfrm>
                <a:off x="10305642" y="4479659"/>
                <a:ext cx="178982" cy="123436"/>
              </a:xfrm>
              <a:custGeom>
                <a:avLst/>
                <a:gdLst>
                  <a:gd name="T0" fmla="*/ 44 w 49"/>
                  <a:gd name="T1" fmla="*/ 17 h 34"/>
                  <a:gd name="T2" fmla="*/ 16 w 49"/>
                  <a:gd name="T3" fmla="*/ 0 h 34"/>
                  <a:gd name="T4" fmla="*/ 4 w 49"/>
                  <a:gd name="T5" fmla="*/ 17 h 34"/>
                  <a:gd name="T6" fmla="*/ 33 w 49"/>
                  <a:gd name="T7" fmla="*/ 34 h 34"/>
                  <a:gd name="T8" fmla="*/ 44 w 4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4">
                    <a:moveTo>
                      <a:pt x="44" y="17"/>
                    </a:moveTo>
                    <a:cubicBezTo>
                      <a:pt x="39" y="8"/>
                      <a:pt x="26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9" y="26"/>
                      <a:pt x="22" y="34"/>
                      <a:pt x="33" y="34"/>
                    </a:cubicBezTo>
                    <a:cubicBezTo>
                      <a:pt x="44" y="34"/>
                      <a:pt x="49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4" name="iš1ïďé">
                <a:extLst>
                  <a:ext uri="{FF2B5EF4-FFF2-40B4-BE49-F238E27FC236}">
                    <a16:creationId xmlns:a16="http://schemas.microsoft.com/office/drawing/2014/main" id="{B5DB1951-D43E-4F4F-9CB1-45DF1BF8A9E0}"/>
                  </a:ext>
                </a:extLst>
              </p:cNvPr>
              <p:cNvSpPr/>
              <p:nvPr/>
            </p:nvSpPr>
            <p:spPr bwMode="auto">
              <a:xfrm>
                <a:off x="10479995" y="4479659"/>
                <a:ext cx="178982" cy="123436"/>
              </a:xfrm>
              <a:custGeom>
                <a:avLst/>
                <a:gdLst>
                  <a:gd name="T0" fmla="*/ 44 w 49"/>
                  <a:gd name="T1" fmla="*/ 17 h 34"/>
                  <a:gd name="T2" fmla="*/ 16 w 49"/>
                  <a:gd name="T3" fmla="*/ 0 h 34"/>
                  <a:gd name="T4" fmla="*/ 5 w 49"/>
                  <a:gd name="T5" fmla="*/ 17 h 34"/>
                  <a:gd name="T6" fmla="*/ 33 w 49"/>
                  <a:gd name="T7" fmla="*/ 34 h 34"/>
                  <a:gd name="T8" fmla="*/ 44 w 4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4">
                    <a:moveTo>
                      <a:pt x="44" y="17"/>
                    </a:moveTo>
                    <a:cubicBezTo>
                      <a:pt x="39" y="8"/>
                      <a:pt x="26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9" y="26"/>
                      <a:pt x="22" y="34"/>
                      <a:pt x="33" y="34"/>
                    </a:cubicBezTo>
                    <a:cubicBezTo>
                      <a:pt x="44" y="34"/>
                      <a:pt x="49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5" name="íṥḻide">
                <a:extLst>
                  <a:ext uri="{FF2B5EF4-FFF2-40B4-BE49-F238E27FC236}">
                    <a16:creationId xmlns:a16="http://schemas.microsoft.com/office/drawing/2014/main" id="{62F2E6E0-14EC-445D-81AF-AD11D0E48B1B}"/>
                  </a:ext>
                </a:extLst>
              </p:cNvPr>
              <p:cNvSpPr/>
              <p:nvPr/>
            </p:nvSpPr>
            <p:spPr bwMode="auto">
              <a:xfrm>
                <a:off x="10655891" y="4479659"/>
                <a:ext cx="178982" cy="123436"/>
              </a:xfrm>
              <a:custGeom>
                <a:avLst/>
                <a:gdLst>
                  <a:gd name="T0" fmla="*/ 44 w 49"/>
                  <a:gd name="T1" fmla="*/ 17 h 34"/>
                  <a:gd name="T2" fmla="*/ 15 w 49"/>
                  <a:gd name="T3" fmla="*/ 0 h 34"/>
                  <a:gd name="T4" fmla="*/ 5 w 49"/>
                  <a:gd name="T5" fmla="*/ 17 h 34"/>
                  <a:gd name="T6" fmla="*/ 34 w 49"/>
                  <a:gd name="T7" fmla="*/ 34 h 34"/>
                  <a:gd name="T8" fmla="*/ 44 w 4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4">
                    <a:moveTo>
                      <a:pt x="44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6"/>
                      <a:pt x="23" y="34"/>
                      <a:pt x="34" y="34"/>
                    </a:cubicBezTo>
                    <a:cubicBezTo>
                      <a:pt x="45" y="34"/>
                      <a:pt x="49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6" name="ïŝ1îḍê">
                <a:extLst>
                  <a:ext uri="{FF2B5EF4-FFF2-40B4-BE49-F238E27FC236}">
                    <a16:creationId xmlns:a16="http://schemas.microsoft.com/office/drawing/2014/main" id="{1A81E327-1130-488A-8BC1-1E491B1AFE95}"/>
                  </a:ext>
                </a:extLst>
              </p:cNvPr>
              <p:cNvSpPr/>
              <p:nvPr/>
            </p:nvSpPr>
            <p:spPr bwMode="auto">
              <a:xfrm>
                <a:off x="10830244" y="4479659"/>
                <a:ext cx="183611" cy="123436"/>
              </a:xfrm>
              <a:custGeom>
                <a:avLst/>
                <a:gdLst>
                  <a:gd name="T0" fmla="*/ 44 w 50"/>
                  <a:gd name="T1" fmla="*/ 17 h 34"/>
                  <a:gd name="T2" fmla="*/ 15 w 50"/>
                  <a:gd name="T3" fmla="*/ 0 h 34"/>
                  <a:gd name="T4" fmla="*/ 5 w 50"/>
                  <a:gd name="T5" fmla="*/ 17 h 34"/>
                  <a:gd name="T6" fmla="*/ 34 w 50"/>
                  <a:gd name="T7" fmla="*/ 34 h 34"/>
                  <a:gd name="T8" fmla="*/ 44 w 5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4">
                    <a:moveTo>
                      <a:pt x="44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6"/>
                      <a:pt x="23" y="34"/>
                      <a:pt x="34" y="34"/>
                    </a:cubicBezTo>
                    <a:cubicBezTo>
                      <a:pt x="45" y="34"/>
                      <a:pt x="50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7" name="ísḻíḋê">
                <a:extLst>
                  <a:ext uri="{FF2B5EF4-FFF2-40B4-BE49-F238E27FC236}">
                    <a16:creationId xmlns:a16="http://schemas.microsoft.com/office/drawing/2014/main" id="{8B5F4D46-E73F-4D68-B7C5-C51FE565D457}"/>
                  </a:ext>
                </a:extLst>
              </p:cNvPr>
              <p:cNvSpPr/>
              <p:nvPr/>
            </p:nvSpPr>
            <p:spPr bwMode="auto">
              <a:xfrm>
                <a:off x="11006140" y="4479659"/>
                <a:ext cx="182068" cy="123436"/>
              </a:xfrm>
              <a:custGeom>
                <a:avLst/>
                <a:gdLst>
                  <a:gd name="T0" fmla="*/ 45 w 50"/>
                  <a:gd name="T1" fmla="*/ 17 h 34"/>
                  <a:gd name="T2" fmla="*/ 15 w 50"/>
                  <a:gd name="T3" fmla="*/ 0 h 34"/>
                  <a:gd name="T4" fmla="*/ 5 w 50"/>
                  <a:gd name="T5" fmla="*/ 17 h 34"/>
                  <a:gd name="T6" fmla="*/ 35 w 50"/>
                  <a:gd name="T7" fmla="*/ 34 h 34"/>
                  <a:gd name="T8" fmla="*/ 45 w 5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4">
                    <a:moveTo>
                      <a:pt x="45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5" y="17"/>
                    </a:cubicBezTo>
                    <a:cubicBezTo>
                      <a:pt x="11" y="26"/>
                      <a:pt x="24" y="34"/>
                      <a:pt x="35" y="34"/>
                    </a:cubicBezTo>
                    <a:cubicBezTo>
                      <a:pt x="46" y="34"/>
                      <a:pt x="50" y="26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8" name="î$ľïḑé">
                <a:extLst>
                  <a:ext uri="{FF2B5EF4-FFF2-40B4-BE49-F238E27FC236}">
                    <a16:creationId xmlns:a16="http://schemas.microsoft.com/office/drawing/2014/main" id="{5AEA158A-DB49-4AD4-A044-58B5AFB42909}"/>
                  </a:ext>
                </a:extLst>
              </p:cNvPr>
              <p:cNvSpPr/>
              <p:nvPr/>
            </p:nvSpPr>
            <p:spPr bwMode="auto">
              <a:xfrm>
                <a:off x="11180493" y="4479659"/>
                <a:ext cx="186697" cy="123436"/>
              </a:xfrm>
              <a:custGeom>
                <a:avLst/>
                <a:gdLst>
                  <a:gd name="T0" fmla="*/ 45 w 51"/>
                  <a:gd name="T1" fmla="*/ 17 h 34"/>
                  <a:gd name="T2" fmla="*/ 15 w 51"/>
                  <a:gd name="T3" fmla="*/ 0 h 34"/>
                  <a:gd name="T4" fmla="*/ 6 w 51"/>
                  <a:gd name="T5" fmla="*/ 17 h 34"/>
                  <a:gd name="T6" fmla="*/ 35 w 51"/>
                  <a:gd name="T7" fmla="*/ 34 h 34"/>
                  <a:gd name="T8" fmla="*/ 45 w 51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4">
                    <a:moveTo>
                      <a:pt x="45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6" y="17"/>
                    </a:cubicBezTo>
                    <a:cubicBezTo>
                      <a:pt x="11" y="26"/>
                      <a:pt x="24" y="34"/>
                      <a:pt x="35" y="34"/>
                    </a:cubicBezTo>
                    <a:cubicBezTo>
                      <a:pt x="46" y="34"/>
                      <a:pt x="51" y="26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9" name="ïšḷíḓè">
                <a:extLst>
                  <a:ext uri="{FF2B5EF4-FFF2-40B4-BE49-F238E27FC236}">
                    <a16:creationId xmlns:a16="http://schemas.microsoft.com/office/drawing/2014/main" id="{8F0794A4-483C-4430-8160-C30AB8173955}"/>
                  </a:ext>
                </a:extLst>
              </p:cNvPr>
              <p:cNvSpPr/>
              <p:nvPr/>
            </p:nvSpPr>
            <p:spPr bwMode="auto">
              <a:xfrm>
                <a:off x="9845844" y="4629324"/>
                <a:ext cx="174353" cy="128065"/>
              </a:xfrm>
              <a:custGeom>
                <a:avLst/>
                <a:gdLst>
                  <a:gd name="T0" fmla="*/ 44 w 48"/>
                  <a:gd name="T1" fmla="*/ 17 h 35"/>
                  <a:gd name="T2" fmla="*/ 16 w 48"/>
                  <a:gd name="T3" fmla="*/ 0 h 35"/>
                  <a:gd name="T4" fmla="*/ 4 w 48"/>
                  <a:gd name="T5" fmla="*/ 17 h 35"/>
                  <a:gd name="T6" fmla="*/ 32 w 48"/>
                  <a:gd name="T7" fmla="*/ 35 h 35"/>
                  <a:gd name="T8" fmla="*/ 44 w 48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5">
                    <a:moveTo>
                      <a:pt x="44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7"/>
                      <a:pt x="21" y="35"/>
                      <a:pt x="32" y="35"/>
                    </a:cubicBezTo>
                    <a:cubicBezTo>
                      <a:pt x="43" y="35"/>
                      <a:pt x="48" y="27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0" name="ïṩľíḑé">
                <a:extLst>
                  <a:ext uri="{FF2B5EF4-FFF2-40B4-BE49-F238E27FC236}">
                    <a16:creationId xmlns:a16="http://schemas.microsoft.com/office/drawing/2014/main" id="{B5723F96-E0A4-4909-83F3-F7C826726F00}"/>
                  </a:ext>
                </a:extLst>
              </p:cNvPr>
              <p:cNvSpPr/>
              <p:nvPr/>
            </p:nvSpPr>
            <p:spPr bwMode="auto">
              <a:xfrm>
                <a:off x="10024826" y="4629324"/>
                <a:ext cx="178982" cy="128065"/>
              </a:xfrm>
              <a:custGeom>
                <a:avLst/>
                <a:gdLst>
                  <a:gd name="T0" fmla="*/ 44 w 49"/>
                  <a:gd name="T1" fmla="*/ 17 h 35"/>
                  <a:gd name="T2" fmla="*/ 16 w 49"/>
                  <a:gd name="T3" fmla="*/ 0 h 35"/>
                  <a:gd name="T4" fmla="*/ 4 w 49"/>
                  <a:gd name="T5" fmla="*/ 17 h 35"/>
                  <a:gd name="T6" fmla="*/ 32 w 49"/>
                  <a:gd name="T7" fmla="*/ 35 h 35"/>
                  <a:gd name="T8" fmla="*/ 44 w 49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5">
                    <a:moveTo>
                      <a:pt x="44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7"/>
                      <a:pt x="21" y="35"/>
                      <a:pt x="32" y="35"/>
                    </a:cubicBezTo>
                    <a:cubicBezTo>
                      <a:pt x="43" y="35"/>
                      <a:pt x="49" y="27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1" name="iŝliḋè">
                <a:extLst>
                  <a:ext uri="{FF2B5EF4-FFF2-40B4-BE49-F238E27FC236}">
                    <a16:creationId xmlns:a16="http://schemas.microsoft.com/office/drawing/2014/main" id="{82FC964E-7E9C-417E-9F3E-AFC0139E8C4B}"/>
                  </a:ext>
                </a:extLst>
              </p:cNvPr>
              <p:cNvSpPr/>
              <p:nvPr/>
            </p:nvSpPr>
            <p:spPr bwMode="auto">
              <a:xfrm>
                <a:off x="10199179" y="4629324"/>
                <a:ext cx="183611" cy="128065"/>
              </a:xfrm>
              <a:custGeom>
                <a:avLst/>
                <a:gdLst>
                  <a:gd name="T0" fmla="*/ 45 w 50"/>
                  <a:gd name="T1" fmla="*/ 17 h 35"/>
                  <a:gd name="T2" fmla="*/ 17 w 50"/>
                  <a:gd name="T3" fmla="*/ 0 h 35"/>
                  <a:gd name="T4" fmla="*/ 5 w 50"/>
                  <a:gd name="T5" fmla="*/ 17 h 35"/>
                  <a:gd name="T6" fmla="*/ 33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8" y="0"/>
                      <a:pt x="17" y="0"/>
                    </a:cubicBezTo>
                    <a:cubicBezTo>
                      <a:pt x="6" y="0"/>
                      <a:pt x="0" y="8"/>
                      <a:pt x="5" y="17"/>
                    </a:cubicBezTo>
                    <a:cubicBezTo>
                      <a:pt x="10" y="27"/>
                      <a:pt x="22" y="35"/>
                      <a:pt x="33" y="35"/>
                    </a:cubicBezTo>
                    <a:cubicBezTo>
                      <a:pt x="45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2" name="ïsļíḍe">
                <a:extLst>
                  <a:ext uri="{FF2B5EF4-FFF2-40B4-BE49-F238E27FC236}">
                    <a16:creationId xmlns:a16="http://schemas.microsoft.com/office/drawing/2014/main" id="{E2685F88-D307-4813-937E-B9A564E8F5AF}"/>
                  </a:ext>
                </a:extLst>
              </p:cNvPr>
              <p:cNvSpPr/>
              <p:nvPr/>
            </p:nvSpPr>
            <p:spPr bwMode="auto">
              <a:xfrm>
                <a:off x="10378161" y="4629324"/>
                <a:ext cx="182068" cy="128065"/>
              </a:xfrm>
              <a:custGeom>
                <a:avLst/>
                <a:gdLst>
                  <a:gd name="T0" fmla="*/ 45 w 50"/>
                  <a:gd name="T1" fmla="*/ 17 h 35"/>
                  <a:gd name="T2" fmla="*/ 16 w 50"/>
                  <a:gd name="T3" fmla="*/ 0 h 35"/>
                  <a:gd name="T4" fmla="*/ 5 w 50"/>
                  <a:gd name="T5" fmla="*/ 17 h 35"/>
                  <a:gd name="T6" fmla="*/ 34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7"/>
                      <a:pt x="23" y="35"/>
                      <a:pt x="34" y="35"/>
                    </a:cubicBezTo>
                    <a:cubicBezTo>
                      <a:pt x="45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3" name="îŝļiḋé">
                <a:extLst>
                  <a:ext uri="{FF2B5EF4-FFF2-40B4-BE49-F238E27FC236}">
                    <a16:creationId xmlns:a16="http://schemas.microsoft.com/office/drawing/2014/main" id="{6AB2012F-3C82-45AE-A4FB-E55C01D94386}"/>
                  </a:ext>
                </a:extLst>
              </p:cNvPr>
              <p:cNvSpPr/>
              <p:nvPr/>
            </p:nvSpPr>
            <p:spPr bwMode="auto">
              <a:xfrm>
                <a:off x="10557143" y="4629324"/>
                <a:ext cx="182068" cy="128065"/>
              </a:xfrm>
              <a:custGeom>
                <a:avLst/>
                <a:gdLst>
                  <a:gd name="T0" fmla="*/ 45 w 50"/>
                  <a:gd name="T1" fmla="*/ 17 h 35"/>
                  <a:gd name="T2" fmla="*/ 16 w 50"/>
                  <a:gd name="T3" fmla="*/ 0 h 35"/>
                  <a:gd name="T4" fmla="*/ 5 w 50"/>
                  <a:gd name="T5" fmla="*/ 17 h 35"/>
                  <a:gd name="T6" fmla="*/ 34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7"/>
                      <a:pt x="23" y="35"/>
                      <a:pt x="34" y="35"/>
                    </a:cubicBezTo>
                    <a:cubicBezTo>
                      <a:pt x="45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4" name="iś1íḋe">
                <a:extLst>
                  <a:ext uri="{FF2B5EF4-FFF2-40B4-BE49-F238E27FC236}">
                    <a16:creationId xmlns:a16="http://schemas.microsoft.com/office/drawing/2014/main" id="{A65C4146-2F73-4198-BBB7-61FA2C1F4A02}"/>
                  </a:ext>
                </a:extLst>
              </p:cNvPr>
              <p:cNvSpPr/>
              <p:nvPr/>
            </p:nvSpPr>
            <p:spPr bwMode="auto">
              <a:xfrm>
                <a:off x="10736125" y="4629324"/>
                <a:ext cx="182068" cy="128065"/>
              </a:xfrm>
              <a:custGeom>
                <a:avLst/>
                <a:gdLst>
                  <a:gd name="T0" fmla="*/ 45 w 50"/>
                  <a:gd name="T1" fmla="*/ 17 h 35"/>
                  <a:gd name="T2" fmla="*/ 16 w 50"/>
                  <a:gd name="T3" fmla="*/ 0 h 35"/>
                  <a:gd name="T4" fmla="*/ 5 w 50"/>
                  <a:gd name="T5" fmla="*/ 17 h 35"/>
                  <a:gd name="T6" fmla="*/ 35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7"/>
                      <a:pt x="23" y="35"/>
                      <a:pt x="35" y="35"/>
                    </a:cubicBezTo>
                    <a:cubicBezTo>
                      <a:pt x="46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5" name="íṡḻïḑê">
                <a:extLst>
                  <a:ext uri="{FF2B5EF4-FFF2-40B4-BE49-F238E27FC236}">
                    <a16:creationId xmlns:a16="http://schemas.microsoft.com/office/drawing/2014/main" id="{D4BF6F09-0135-45C5-95AA-5064A5F501F9}"/>
                  </a:ext>
                </a:extLst>
              </p:cNvPr>
              <p:cNvSpPr/>
              <p:nvPr/>
            </p:nvSpPr>
            <p:spPr bwMode="auto">
              <a:xfrm>
                <a:off x="10915106" y="4629324"/>
                <a:ext cx="185154" cy="128065"/>
              </a:xfrm>
              <a:custGeom>
                <a:avLst/>
                <a:gdLst>
                  <a:gd name="T0" fmla="*/ 45 w 51"/>
                  <a:gd name="T1" fmla="*/ 17 h 35"/>
                  <a:gd name="T2" fmla="*/ 15 w 51"/>
                  <a:gd name="T3" fmla="*/ 0 h 35"/>
                  <a:gd name="T4" fmla="*/ 5 w 51"/>
                  <a:gd name="T5" fmla="*/ 17 h 35"/>
                  <a:gd name="T6" fmla="*/ 35 w 51"/>
                  <a:gd name="T7" fmla="*/ 35 h 35"/>
                  <a:gd name="T8" fmla="*/ 45 w 5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5">
                    <a:moveTo>
                      <a:pt x="45" y="17"/>
                    </a:moveTo>
                    <a:cubicBezTo>
                      <a:pt x="40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5" y="17"/>
                    </a:cubicBezTo>
                    <a:cubicBezTo>
                      <a:pt x="10" y="27"/>
                      <a:pt x="24" y="35"/>
                      <a:pt x="35" y="35"/>
                    </a:cubicBezTo>
                    <a:cubicBezTo>
                      <a:pt x="46" y="35"/>
                      <a:pt x="51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6" name="ísľíḍé">
                <a:extLst>
                  <a:ext uri="{FF2B5EF4-FFF2-40B4-BE49-F238E27FC236}">
                    <a16:creationId xmlns:a16="http://schemas.microsoft.com/office/drawing/2014/main" id="{BEBFDBB1-87E8-4745-8E7F-00039F612CE2}"/>
                  </a:ext>
                </a:extLst>
              </p:cNvPr>
              <p:cNvSpPr/>
              <p:nvPr/>
            </p:nvSpPr>
            <p:spPr bwMode="auto">
              <a:xfrm>
                <a:off x="11094088" y="4629324"/>
                <a:ext cx="185154" cy="128065"/>
              </a:xfrm>
              <a:custGeom>
                <a:avLst/>
                <a:gdLst>
                  <a:gd name="T0" fmla="*/ 45 w 51"/>
                  <a:gd name="T1" fmla="*/ 17 h 35"/>
                  <a:gd name="T2" fmla="*/ 15 w 51"/>
                  <a:gd name="T3" fmla="*/ 0 h 35"/>
                  <a:gd name="T4" fmla="*/ 5 w 51"/>
                  <a:gd name="T5" fmla="*/ 17 h 35"/>
                  <a:gd name="T6" fmla="*/ 35 w 51"/>
                  <a:gd name="T7" fmla="*/ 35 h 35"/>
                  <a:gd name="T8" fmla="*/ 45 w 5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5">
                    <a:moveTo>
                      <a:pt x="45" y="17"/>
                    </a:moveTo>
                    <a:cubicBezTo>
                      <a:pt x="40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5" y="17"/>
                    </a:cubicBezTo>
                    <a:cubicBezTo>
                      <a:pt x="11" y="27"/>
                      <a:pt x="24" y="35"/>
                      <a:pt x="35" y="35"/>
                    </a:cubicBezTo>
                    <a:cubicBezTo>
                      <a:pt x="46" y="35"/>
                      <a:pt x="51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7" name="îṣ1idè">
                <a:extLst>
                  <a:ext uri="{FF2B5EF4-FFF2-40B4-BE49-F238E27FC236}">
                    <a16:creationId xmlns:a16="http://schemas.microsoft.com/office/drawing/2014/main" id="{10E90751-31D7-4E76-8B1A-DA1E5D0A5DA8}"/>
                  </a:ext>
                </a:extLst>
              </p:cNvPr>
              <p:cNvSpPr/>
              <p:nvPr/>
            </p:nvSpPr>
            <p:spPr bwMode="auto">
              <a:xfrm>
                <a:off x="9910648" y="4783619"/>
                <a:ext cx="183611" cy="131151"/>
              </a:xfrm>
              <a:custGeom>
                <a:avLst/>
                <a:gdLst>
                  <a:gd name="T0" fmla="*/ 45 w 50"/>
                  <a:gd name="T1" fmla="*/ 18 h 36"/>
                  <a:gd name="T2" fmla="*/ 17 w 50"/>
                  <a:gd name="T3" fmla="*/ 0 h 36"/>
                  <a:gd name="T4" fmla="*/ 5 w 50"/>
                  <a:gd name="T5" fmla="*/ 18 h 36"/>
                  <a:gd name="T6" fmla="*/ 33 w 50"/>
                  <a:gd name="T7" fmla="*/ 36 h 36"/>
                  <a:gd name="T8" fmla="*/ 45 w 50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6">
                    <a:moveTo>
                      <a:pt x="45" y="18"/>
                    </a:moveTo>
                    <a:cubicBezTo>
                      <a:pt x="41" y="8"/>
                      <a:pt x="28" y="0"/>
                      <a:pt x="17" y="0"/>
                    </a:cubicBezTo>
                    <a:cubicBezTo>
                      <a:pt x="6" y="0"/>
                      <a:pt x="0" y="8"/>
                      <a:pt x="5" y="18"/>
                    </a:cubicBezTo>
                    <a:cubicBezTo>
                      <a:pt x="9" y="28"/>
                      <a:pt x="22" y="36"/>
                      <a:pt x="33" y="36"/>
                    </a:cubicBezTo>
                    <a:cubicBezTo>
                      <a:pt x="44" y="36"/>
                      <a:pt x="50" y="28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8" name="iṣľîḓe">
                <a:extLst>
                  <a:ext uri="{FF2B5EF4-FFF2-40B4-BE49-F238E27FC236}">
                    <a16:creationId xmlns:a16="http://schemas.microsoft.com/office/drawing/2014/main" id="{69D891C2-6485-4C4A-92A3-2AA85C7216FE}"/>
                  </a:ext>
                </a:extLst>
              </p:cNvPr>
              <p:cNvSpPr/>
              <p:nvPr/>
            </p:nvSpPr>
            <p:spPr bwMode="auto">
              <a:xfrm>
                <a:off x="10819444" y="4783619"/>
                <a:ext cx="186697" cy="131151"/>
              </a:xfrm>
              <a:custGeom>
                <a:avLst/>
                <a:gdLst>
                  <a:gd name="T0" fmla="*/ 46 w 51"/>
                  <a:gd name="T1" fmla="*/ 18 h 36"/>
                  <a:gd name="T2" fmla="*/ 16 w 51"/>
                  <a:gd name="T3" fmla="*/ 0 h 36"/>
                  <a:gd name="T4" fmla="*/ 5 w 51"/>
                  <a:gd name="T5" fmla="*/ 18 h 36"/>
                  <a:gd name="T6" fmla="*/ 35 w 51"/>
                  <a:gd name="T7" fmla="*/ 36 h 36"/>
                  <a:gd name="T8" fmla="*/ 46 w 51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6">
                    <a:moveTo>
                      <a:pt x="46" y="18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8"/>
                    </a:cubicBezTo>
                    <a:cubicBezTo>
                      <a:pt x="10" y="28"/>
                      <a:pt x="24" y="36"/>
                      <a:pt x="35" y="36"/>
                    </a:cubicBezTo>
                    <a:cubicBezTo>
                      <a:pt x="47" y="36"/>
                      <a:pt x="51" y="28"/>
                      <a:pt x="46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9" name="ïṧlîḋè">
                <a:extLst>
                  <a:ext uri="{FF2B5EF4-FFF2-40B4-BE49-F238E27FC236}">
                    <a16:creationId xmlns:a16="http://schemas.microsoft.com/office/drawing/2014/main" id="{EBFA48F8-3E77-4F6C-B9EE-47098BA8F869}"/>
                  </a:ext>
                </a:extLst>
              </p:cNvPr>
              <p:cNvSpPr/>
              <p:nvPr/>
            </p:nvSpPr>
            <p:spPr bwMode="auto">
              <a:xfrm>
                <a:off x="10998426" y="4783619"/>
                <a:ext cx="189783" cy="131151"/>
              </a:xfrm>
              <a:custGeom>
                <a:avLst/>
                <a:gdLst>
                  <a:gd name="T0" fmla="*/ 47 w 52"/>
                  <a:gd name="T1" fmla="*/ 18 h 36"/>
                  <a:gd name="T2" fmla="*/ 16 w 52"/>
                  <a:gd name="T3" fmla="*/ 0 h 36"/>
                  <a:gd name="T4" fmla="*/ 6 w 52"/>
                  <a:gd name="T5" fmla="*/ 18 h 36"/>
                  <a:gd name="T6" fmla="*/ 36 w 52"/>
                  <a:gd name="T7" fmla="*/ 36 h 36"/>
                  <a:gd name="T8" fmla="*/ 47 w 52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6">
                    <a:moveTo>
                      <a:pt x="47" y="18"/>
                    </a:moveTo>
                    <a:cubicBezTo>
                      <a:pt x="41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6" y="18"/>
                    </a:cubicBezTo>
                    <a:cubicBezTo>
                      <a:pt x="11" y="28"/>
                      <a:pt x="25" y="36"/>
                      <a:pt x="36" y="36"/>
                    </a:cubicBezTo>
                    <a:cubicBezTo>
                      <a:pt x="48" y="36"/>
                      <a:pt x="52" y="28"/>
                      <a:pt x="47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0" name="îŝľiḓê">
                <a:extLst>
                  <a:ext uri="{FF2B5EF4-FFF2-40B4-BE49-F238E27FC236}">
                    <a16:creationId xmlns:a16="http://schemas.microsoft.com/office/drawing/2014/main" id="{9CCEA7AD-8C74-4E75-ABB3-91925DBBA9F4}"/>
                  </a:ext>
                </a:extLst>
              </p:cNvPr>
              <p:cNvSpPr/>
              <p:nvPr/>
            </p:nvSpPr>
            <p:spPr bwMode="auto">
              <a:xfrm>
                <a:off x="11180493" y="4783619"/>
                <a:ext cx="189783" cy="131151"/>
              </a:xfrm>
              <a:custGeom>
                <a:avLst/>
                <a:gdLst>
                  <a:gd name="T0" fmla="*/ 47 w 52"/>
                  <a:gd name="T1" fmla="*/ 18 h 36"/>
                  <a:gd name="T2" fmla="*/ 16 w 52"/>
                  <a:gd name="T3" fmla="*/ 0 h 36"/>
                  <a:gd name="T4" fmla="*/ 6 w 52"/>
                  <a:gd name="T5" fmla="*/ 18 h 36"/>
                  <a:gd name="T6" fmla="*/ 37 w 52"/>
                  <a:gd name="T7" fmla="*/ 36 h 36"/>
                  <a:gd name="T8" fmla="*/ 47 w 52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6">
                    <a:moveTo>
                      <a:pt x="47" y="18"/>
                    </a:moveTo>
                    <a:cubicBezTo>
                      <a:pt x="41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6" y="18"/>
                    </a:cubicBezTo>
                    <a:cubicBezTo>
                      <a:pt x="12" y="28"/>
                      <a:pt x="25" y="36"/>
                      <a:pt x="37" y="36"/>
                    </a:cubicBezTo>
                    <a:cubicBezTo>
                      <a:pt x="48" y="36"/>
                      <a:pt x="52" y="28"/>
                      <a:pt x="47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1" name="íSļîďè">
                <a:extLst>
                  <a:ext uri="{FF2B5EF4-FFF2-40B4-BE49-F238E27FC236}">
                    <a16:creationId xmlns:a16="http://schemas.microsoft.com/office/drawing/2014/main" id="{36F339C1-E102-4CFE-A7FC-EC7F6215B9AD}"/>
                  </a:ext>
                </a:extLst>
              </p:cNvPr>
              <p:cNvSpPr/>
              <p:nvPr/>
            </p:nvSpPr>
            <p:spPr bwMode="auto">
              <a:xfrm>
                <a:off x="11089459" y="4944086"/>
                <a:ext cx="194411" cy="134237"/>
              </a:xfrm>
              <a:custGeom>
                <a:avLst/>
                <a:gdLst>
                  <a:gd name="T0" fmla="*/ 47 w 53"/>
                  <a:gd name="T1" fmla="*/ 18 h 37"/>
                  <a:gd name="T2" fmla="*/ 16 w 53"/>
                  <a:gd name="T3" fmla="*/ 0 h 37"/>
                  <a:gd name="T4" fmla="*/ 6 w 53"/>
                  <a:gd name="T5" fmla="*/ 18 h 37"/>
                  <a:gd name="T6" fmla="*/ 37 w 53"/>
                  <a:gd name="T7" fmla="*/ 37 h 37"/>
                  <a:gd name="T8" fmla="*/ 47 w 53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37">
                    <a:moveTo>
                      <a:pt x="47" y="18"/>
                    </a:moveTo>
                    <a:cubicBezTo>
                      <a:pt x="41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6" y="18"/>
                    </a:cubicBezTo>
                    <a:cubicBezTo>
                      <a:pt x="11" y="29"/>
                      <a:pt x="25" y="37"/>
                      <a:pt x="37" y="37"/>
                    </a:cubicBezTo>
                    <a:cubicBezTo>
                      <a:pt x="48" y="37"/>
                      <a:pt x="53" y="29"/>
                      <a:pt x="47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2" name="îṩlïḍé">
                <a:extLst>
                  <a:ext uri="{FF2B5EF4-FFF2-40B4-BE49-F238E27FC236}">
                    <a16:creationId xmlns:a16="http://schemas.microsoft.com/office/drawing/2014/main" id="{37B0898D-43FC-4FEC-8084-735341D5A517}"/>
                  </a:ext>
                </a:extLst>
              </p:cNvPr>
              <p:cNvSpPr/>
              <p:nvPr/>
            </p:nvSpPr>
            <p:spPr bwMode="auto">
              <a:xfrm>
                <a:off x="11180493" y="5107638"/>
                <a:ext cx="197497" cy="138865"/>
              </a:xfrm>
              <a:custGeom>
                <a:avLst/>
                <a:gdLst>
                  <a:gd name="T0" fmla="*/ 48 w 54"/>
                  <a:gd name="T1" fmla="*/ 19 h 38"/>
                  <a:gd name="T2" fmla="*/ 17 w 54"/>
                  <a:gd name="T3" fmla="*/ 0 h 38"/>
                  <a:gd name="T4" fmla="*/ 6 w 54"/>
                  <a:gd name="T5" fmla="*/ 19 h 38"/>
                  <a:gd name="T6" fmla="*/ 38 w 54"/>
                  <a:gd name="T7" fmla="*/ 38 h 38"/>
                  <a:gd name="T8" fmla="*/ 48 w 54"/>
                  <a:gd name="T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38">
                    <a:moveTo>
                      <a:pt x="48" y="19"/>
                    </a:moveTo>
                    <a:cubicBezTo>
                      <a:pt x="42" y="9"/>
                      <a:pt x="28" y="0"/>
                      <a:pt x="17" y="0"/>
                    </a:cubicBezTo>
                    <a:cubicBezTo>
                      <a:pt x="5" y="0"/>
                      <a:pt x="0" y="9"/>
                      <a:pt x="6" y="19"/>
                    </a:cubicBezTo>
                    <a:cubicBezTo>
                      <a:pt x="12" y="30"/>
                      <a:pt x="26" y="38"/>
                      <a:pt x="38" y="38"/>
                    </a:cubicBezTo>
                    <a:cubicBezTo>
                      <a:pt x="50" y="38"/>
                      <a:pt x="54" y="30"/>
                      <a:pt x="48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3" name="îşlîḋé">
                <a:extLst>
                  <a:ext uri="{FF2B5EF4-FFF2-40B4-BE49-F238E27FC236}">
                    <a16:creationId xmlns:a16="http://schemas.microsoft.com/office/drawing/2014/main" id="{1CF700A8-7A5F-4CC6-B649-EBF88521FB38}"/>
                  </a:ext>
                </a:extLst>
              </p:cNvPr>
              <p:cNvSpPr/>
              <p:nvPr/>
            </p:nvSpPr>
            <p:spPr bwMode="auto">
              <a:xfrm>
                <a:off x="2999791" y="2907396"/>
                <a:ext cx="135779" cy="84863"/>
              </a:xfrm>
              <a:custGeom>
                <a:avLst/>
                <a:gdLst>
                  <a:gd name="T0" fmla="*/ 34 w 37"/>
                  <a:gd name="T1" fmla="*/ 11 h 23"/>
                  <a:gd name="T2" fmla="*/ 22 w 37"/>
                  <a:gd name="T3" fmla="*/ 0 h 23"/>
                  <a:gd name="T4" fmla="*/ 2 w 37"/>
                  <a:gd name="T5" fmla="*/ 11 h 23"/>
                  <a:gd name="T6" fmla="*/ 14 w 37"/>
                  <a:gd name="T7" fmla="*/ 23 h 23"/>
                  <a:gd name="T8" fmla="*/ 34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4" y="11"/>
                    </a:moveTo>
                    <a:cubicBezTo>
                      <a:pt x="37" y="5"/>
                      <a:pt x="31" y="0"/>
                      <a:pt x="22" y="0"/>
                    </a:cubicBezTo>
                    <a:cubicBezTo>
                      <a:pt x="13" y="0"/>
                      <a:pt x="4" y="5"/>
                      <a:pt x="2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2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4" name="îṣļïdê">
                <a:extLst>
                  <a:ext uri="{FF2B5EF4-FFF2-40B4-BE49-F238E27FC236}">
                    <a16:creationId xmlns:a16="http://schemas.microsoft.com/office/drawing/2014/main" id="{61DB99A0-E20C-4FBA-BC97-14060EC0C6AC}"/>
                  </a:ext>
                </a:extLst>
              </p:cNvPr>
              <p:cNvSpPr/>
              <p:nvPr/>
            </p:nvSpPr>
            <p:spPr bwMode="auto">
              <a:xfrm>
                <a:off x="2959674" y="3010774"/>
                <a:ext cx="135779" cy="83319"/>
              </a:xfrm>
              <a:custGeom>
                <a:avLst/>
                <a:gdLst>
                  <a:gd name="T0" fmla="*/ 35 w 37"/>
                  <a:gd name="T1" fmla="*/ 11 h 23"/>
                  <a:gd name="T2" fmla="*/ 23 w 37"/>
                  <a:gd name="T3" fmla="*/ 0 h 23"/>
                  <a:gd name="T4" fmla="*/ 2 w 37"/>
                  <a:gd name="T5" fmla="*/ 11 h 23"/>
                  <a:gd name="T6" fmla="*/ 14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7" y="5"/>
                      <a:pt x="32" y="0"/>
                      <a:pt x="23" y="0"/>
                    </a:cubicBezTo>
                    <a:cubicBezTo>
                      <a:pt x="14" y="0"/>
                      <a:pt x="5" y="5"/>
                      <a:pt x="2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5" name="îŝḻiḑê">
                <a:extLst>
                  <a:ext uri="{FF2B5EF4-FFF2-40B4-BE49-F238E27FC236}">
                    <a16:creationId xmlns:a16="http://schemas.microsoft.com/office/drawing/2014/main" id="{5FDBC750-AEE5-47FD-946A-5BBEE630EB18}"/>
                  </a:ext>
                </a:extLst>
              </p:cNvPr>
              <p:cNvSpPr/>
              <p:nvPr/>
            </p:nvSpPr>
            <p:spPr bwMode="auto">
              <a:xfrm>
                <a:off x="3106254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23 w 38"/>
                  <a:gd name="T3" fmla="*/ 0 h 23"/>
                  <a:gd name="T4" fmla="*/ 3 w 38"/>
                  <a:gd name="T5" fmla="*/ 11 h 23"/>
                  <a:gd name="T6" fmla="*/ 15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4" y="0"/>
                      <a:pt x="5" y="5"/>
                      <a:pt x="3" y="11"/>
                    </a:cubicBezTo>
                    <a:cubicBezTo>
                      <a:pt x="0" y="18"/>
                      <a:pt x="6" y="23"/>
                      <a:pt x="15" y="23"/>
                    </a:cubicBezTo>
                    <a:cubicBezTo>
                      <a:pt x="24" y="23"/>
                      <a:pt x="33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6" name="iṩḻiďe">
                <a:extLst>
                  <a:ext uri="{FF2B5EF4-FFF2-40B4-BE49-F238E27FC236}">
                    <a16:creationId xmlns:a16="http://schemas.microsoft.com/office/drawing/2014/main" id="{3671868F-00AD-4D51-9E14-81E7E8B20700}"/>
                  </a:ext>
                </a:extLst>
              </p:cNvPr>
              <p:cNvSpPr/>
              <p:nvPr/>
            </p:nvSpPr>
            <p:spPr bwMode="auto">
              <a:xfrm>
                <a:off x="3660172" y="4337708"/>
                <a:ext cx="157381" cy="115721"/>
              </a:xfrm>
              <a:custGeom>
                <a:avLst/>
                <a:gdLst>
                  <a:gd name="T0" fmla="*/ 41 w 43"/>
                  <a:gd name="T1" fmla="*/ 16 h 32"/>
                  <a:gd name="T2" fmla="*/ 26 w 43"/>
                  <a:gd name="T3" fmla="*/ 0 h 32"/>
                  <a:gd name="T4" fmla="*/ 3 w 43"/>
                  <a:gd name="T5" fmla="*/ 16 h 32"/>
                  <a:gd name="T6" fmla="*/ 18 w 43"/>
                  <a:gd name="T7" fmla="*/ 32 h 32"/>
                  <a:gd name="T8" fmla="*/ 41 w 43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2">
                    <a:moveTo>
                      <a:pt x="41" y="16"/>
                    </a:moveTo>
                    <a:cubicBezTo>
                      <a:pt x="43" y="7"/>
                      <a:pt x="36" y="0"/>
                      <a:pt x="26" y="0"/>
                    </a:cubicBezTo>
                    <a:cubicBezTo>
                      <a:pt x="15" y="0"/>
                      <a:pt x="5" y="7"/>
                      <a:pt x="3" y="16"/>
                    </a:cubicBezTo>
                    <a:cubicBezTo>
                      <a:pt x="0" y="25"/>
                      <a:pt x="7" y="32"/>
                      <a:pt x="18" y="32"/>
                    </a:cubicBezTo>
                    <a:cubicBezTo>
                      <a:pt x="29" y="32"/>
                      <a:pt x="39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7" name="ïṣḷiḋe">
                <a:extLst>
                  <a:ext uri="{FF2B5EF4-FFF2-40B4-BE49-F238E27FC236}">
                    <a16:creationId xmlns:a16="http://schemas.microsoft.com/office/drawing/2014/main" id="{B63C6BFF-92BC-4ABE-9080-A0A74B16EE91}"/>
                  </a:ext>
                </a:extLst>
              </p:cNvPr>
              <p:cNvSpPr/>
              <p:nvPr/>
            </p:nvSpPr>
            <p:spPr bwMode="auto">
              <a:xfrm>
                <a:off x="3510506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9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19" y="0"/>
                    </a:cubicBezTo>
                    <a:cubicBezTo>
                      <a:pt x="11" y="0"/>
                      <a:pt x="3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8" name="ïṧľîdè">
                <a:extLst>
                  <a:ext uri="{FF2B5EF4-FFF2-40B4-BE49-F238E27FC236}">
                    <a16:creationId xmlns:a16="http://schemas.microsoft.com/office/drawing/2014/main" id="{24A1B477-D986-49A2-BCD7-EEDF17601FAE}"/>
                  </a:ext>
                </a:extLst>
              </p:cNvPr>
              <p:cNvSpPr/>
              <p:nvPr/>
            </p:nvSpPr>
            <p:spPr bwMode="auto">
              <a:xfrm>
                <a:off x="2941159" y="2356565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4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5"/>
                      <a:pt x="5" y="19"/>
                      <a:pt x="14" y="19"/>
                    </a:cubicBezTo>
                    <a:cubicBezTo>
                      <a:pt x="22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9" name="iSļîḍe">
                <a:extLst>
                  <a:ext uri="{FF2B5EF4-FFF2-40B4-BE49-F238E27FC236}">
                    <a16:creationId xmlns:a16="http://schemas.microsoft.com/office/drawing/2014/main" id="{7A33D33A-9CDB-4679-9C5E-7AA8C65FC23B}"/>
                  </a:ext>
                </a:extLst>
              </p:cNvPr>
              <p:cNvSpPr/>
              <p:nvPr/>
            </p:nvSpPr>
            <p:spPr bwMode="auto">
              <a:xfrm>
                <a:off x="3076938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4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5"/>
                      <a:pt x="5" y="19"/>
                      <a:pt x="14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0" name="iṩḻïḓe">
                <a:extLst>
                  <a:ext uri="{FF2B5EF4-FFF2-40B4-BE49-F238E27FC236}">
                    <a16:creationId xmlns:a16="http://schemas.microsoft.com/office/drawing/2014/main" id="{B244516F-CAEC-49F6-9D37-D9E2C184B5EC}"/>
                  </a:ext>
                </a:extLst>
              </p:cNvPr>
              <p:cNvSpPr/>
              <p:nvPr/>
            </p:nvSpPr>
            <p:spPr bwMode="auto">
              <a:xfrm>
                <a:off x="3212717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1" name="íṡḻîḓê">
                <a:extLst>
                  <a:ext uri="{FF2B5EF4-FFF2-40B4-BE49-F238E27FC236}">
                    <a16:creationId xmlns:a16="http://schemas.microsoft.com/office/drawing/2014/main" id="{03160B62-EF2C-4184-9C97-DA80AA88079E}"/>
                  </a:ext>
                </a:extLst>
              </p:cNvPr>
              <p:cNvSpPr/>
              <p:nvPr/>
            </p:nvSpPr>
            <p:spPr bwMode="auto">
              <a:xfrm>
                <a:off x="3346953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0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2" name="îṩ1iḓé">
                <a:extLst>
                  <a:ext uri="{FF2B5EF4-FFF2-40B4-BE49-F238E27FC236}">
                    <a16:creationId xmlns:a16="http://schemas.microsoft.com/office/drawing/2014/main" id="{693027B1-3B72-4B5A-AD45-7373DA4C2629}"/>
                  </a:ext>
                </a:extLst>
              </p:cNvPr>
              <p:cNvSpPr/>
              <p:nvPr/>
            </p:nvSpPr>
            <p:spPr bwMode="auto">
              <a:xfrm>
                <a:off x="3482732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3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3" name="ïṣľídè">
                <a:extLst>
                  <a:ext uri="{FF2B5EF4-FFF2-40B4-BE49-F238E27FC236}">
                    <a16:creationId xmlns:a16="http://schemas.microsoft.com/office/drawing/2014/main" id="{3F5760D4-1146-4FDB-9D0C-0331A680391C}"/>
                  </a:ext>
                </a:extLst>
              </p:cNvPr>
              <p:cNvSpPr/>
              <p:nvPr/>
            </p:nvSpPr>
            <p:spPr bwMode="auto">
              <a:xfrm>
                <a:off x="3616969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9 w 33"/>
                  <a:gd name="T3" fmla="*/ 0 h 19"/>
                  <a:gd name="T4" fmla="*/ 1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4" name="ísļîdé">
                <a:extLst>
                  <a:ext uri="{FF2B5EF4-FFF2-40B4-BE49-F238E27FC236}">
                    <a16:creationId xmlns:a16="http://schemas.microsoft.com/office/drawing/2014/main" id="{372A4C67-A9F7-49CC-ADB9-82F1259256A7}"/>
                  </a:ext>
                </a:extLst>
              </p:cNvPr>
              <p:cNvSpPr/>
              <p:nvPr/>
            </p:nvSpPr>
            <p:spPr bwMode="auto">
              <a:xfrm>
                <a:off x="2905670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3 w 35"/>
                  <a:gd name="T5" fmla="*/ 10 h 20"/>
                  <a:gd name="T6" fmla="*/ 14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5"/>
                      <a:pt x="30" y="0"/>
                      <a:pt x="22" y="0"/>
                    </a:cubicBezTo>
                    <a:cubicBezTo>
                      <a:pt x="14" y="0"/>
                      <a:pt x="5" y="5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5" name="iṩ1ïdè">
                <a:extLst>
                  <a:ext uri="{FF2B5EF4-FFF2-40B4-BE49-F238E27FC236}">
                    <a16:creationId xmlns:a16="http://schemas.microsoft.com/office/drawing/2014/main" id="{6DBE2334-D13E-496D-B9C7-4DC8D86ED116}"/>
                  </a:ext>
                </a:extLst>
              </p:cNvPr>
              <p:cNvSpPr/>
              <p:nvPr/>
            </p:nvSpPr>
            <p:spPr bwMode="auto">
              <a:xfrm>
                <a:off x="3044536" y="2439884"/>
                <a:ext cx="123436" cy="74061"/>
              </a:xfrm>
              <a:custGeom>
                <a:avLst/>
                <a:gdLst>
                  <a:gd name="T0" fmla="*/ 32 w 34"/>
                  <a:gd name="T1" fmla="*/ 10 h 20"/>
                  <a:gd name="T2" fmla="*/ 21 w 34"/>
                  <a:gd name="T3" fmla="*/ 0 h 20"/>
                  <a:gd name="T4" fmla="*/ 2 w 34"/>
                  <a:gd name="T5" fmla="*/ 10 h 20"/>
                  <a:gd name="T6" fmla="*/ 13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4" y="5"/>
                      <a:pt x="29" y="0"/>
                      <a:pt x="21" y="0"/>
                    </a:cubicBezTo>
                    <a:cubicBezTo>
                      <a:pt x="13" y="0"/>
                      <a:pt x="4" y="5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0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6" name="isḷîḑê">
                <a:extLst>
                  <a:ext uri="{FF2B5EF4-FFF2-40B4-BE49-F238E27FC236}">
                    <a16:creationId xmlns:a16="http://schemas.microsoft.com/office/drawing/2014/main" id="{97D097C0-6B0B-49E9-B665-49E57B8A9F81}"/>
                  </a:ext>
                </a:extLst>
              </p:cNvPr>
              <p:cNvSpPr/>
              <p:nvPr/>
            </p:nvSpPr>
            <p:spPr bwMode="auto">
              <a:xfrm>
                <a:off x="3178772" y="2439884"/>
                <a:ext cx="124979" cy="74061"/>
              </a:xfrm>
              <a:custGeom>
                <a:avLst/>
                <a:gdLst>
                  <a:gd name="T0" fmla="*/ 32 w 34"/>
                  <a:gd name="T1" fmla="*/ 10 h 20"/>
                  <a:gd name="T2" fmla="*/ 21 w 34"/>
                  <a:gd name="T3" fmla="*/ 0 h 20"/>
                  <a:gd name="T4" fmla="*/ 2 w 34"/>
                  <a:gd name="T5" fmla="*/ 10 h 20"/>
                  <a:gd name="T6" fmla="*/ 14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4" y="5"/>
                      <a:pt x="29" y="0"/>
                      <a:pt x="21" y="0"/>
                    </a:cubicBezTo>
                    <a:cubicBezTo>
                      <a:pt x="13" y="0"/>
                      <a:pt x="4" y="5"/>
                      <a:pt x="2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0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7" name="íś1íďé">
                <a:extLst>
                  <a:ext uri="{FF2B5EF4-FFF2-40B4-BE49-F238E27FC236}">
                    <a16:creationId xmlns:a16="http://schemas.microsoft.com/office/drawing/2014/main" id="{0662DFE3-E18F-4552-82EE-1DDF3EAC5C3C}"/>
                  </a:ext>
                </a:extLst>
              </p:cNvPr>
              <p:cNvSpPr/>
              <p:nvPr/>
            </p:nvSpPr>
            <p:spPr bwMode="auto">
              <a:xfrm>
                <a:off x="3314552" y="2439884"/>
                <a:ext cx="123436" cy="74061"/>
              </a:xfrm>
              <a:custGeom>
                <a:avLst/>
                <a:gdLst>
                  <a:gd name="T0" fmla="*/ 33 w 34"/>
                  <a:gd name="T1" fmla="*/ 10 h 20"/>
                  <a:gd name="T2" fmla="*/ 21 w 34"/>
                  <a:gd name="T3" fmla="*/ 0 h 20"/>
                  <a:gd name="T4" fmla="*/ 2 w 34"/>
                  <a:gd name="T5" fmla="*/ 10 h 20"/>
                  <a:gd name="T6" fmla="*/ 14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4" y="5"/>
                      <a:pt x="29" y="0"/>
                      <a:pt x="21" y="0"/>
                    </a:cubicBezTo>
                    <a:cubicBezTo>
                      <a:pt x="13" y="0"/>
                      <a:pt x="4" y="5"/>
                      <a:pt x="2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8" name="išlïďê">
                <a:extLst>
                  <a:ext uri="{FF2B5EF4-FFF2-40B4-BE49-F238E27FC236}">
                    <a16:creationId xmlns:a16="http://schemas.microsoft.com/office/drawing/2014/main" id="{F4E3D693-3510-4E98-9605-E1C9108956EF}"/>
                  </a:ext>
                </a:extLst>
              </p:cNvPr>
              <p:cNvSpPr/>
              <p:nvPr/>
            </p:nvSpPr>
            <p:spPr bwMode="auto">
              <a:xfrm>
                <a:off x="2868640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4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5" y="4"/>
                      <a:pt x="2" y="10"/>
                    </a:cubicBezTo>
                    <a:cubicBezTo>
                      <a:pt x="0" y="15"/>
                      <a:pt x="5" y="20"/>
                      <a:pt x="14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9" name="îṧľîḍé">
                <a:extLst>
                  <a:ext uri="{FF2B5EF4-FFF2-40B4-BE49-F238E27FC236}">
                    <a16:creationId xmlns:a16="http://schemas.microsoft.com/office/drawing/2014/main" id="{53002FB9-268C-4379-A0BC-D4CB90FC600E}"/>
                  </a:ext>
                </a:extLst>
              </p:cNvPr>
              <p:cNvSpPr/>
              <p:nvPr/>
            </p:nvSpPr>
            <p:spPr bwMode="auto">
              <a:xfrm>
                <a:off x="3007505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1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1" y="0"/>
                    </a:cubicBezTo>
                    <a:cubicBezTo>
                      <a:pt x="13" y="0"/>
                      <a:pt x="4" y="4"/>
                      <a:pt x="2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0" name="íšlíḋè">
                <a:extLst>
                  <a:ext uri="{FF2B5EF4-FFF2-40B4-BE49-F238E27FC236}">
                    <a16:creationId xmlns:a16="http://schemas.microsoft.com/office/drawing/2014/main" id="{1E5CFD57-CBD7-4EC7-A3CD-5DE9945FD037}"/>
                  </a:ext>
                </a:extLst>
              </p:cNvPr>
              <p:cNvSpPr/>
              <p:nvPr/>
            </p:nvSpPr>
            <p:spPr bwMode="auto">
              <a:xfrm>
                <a:off x="3146370" y="2532461"/>
                <a:ext cx="128065" cy="72519"/>
              </a:xfrm>
              <a:custGeom>
                <a:avLst/>
                <a:gdLst>
                  <a:gd name="T0" fmla="*/ 32 w 35"/>
                  <a:gd name="T1" fmla="*/ 10 h 20"/>
                  <a:gd name="T2" fmla="*/ 21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2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2" y="10"/>
                    </a:moveTo>
                    <a:cubicBezTo>
                      <a:pt x="35" y="4"/>
                      <a:pt x="29" y="0"/>
                      <a:pt x="21" y="0"/>
                    </a:cubicBezTo>
                    <a:cubicBezTo>
                      <a:pt x="12" y="0"/>
                      <a:pt x="4" y="4"/>
                      <a:pt x="2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0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1" name="ïṧľîdé">
                <a:extLst>
                  <a:ext uri="{FF2B5EF4-FFF2-40B4-BE49-F238E27FC236}">
                    <a16:creationId xmlns:a16="http://schemas.microsoft.com/office/drawing/2014/main" id="{C2BCE99F-F2C9-40C5-BD2C-E86E5C5667A6}"/>
                  </a:ext>
                </a:extLst>
              </p:cNvPr>
              <p:cNvSpPr/>
              <p:nvPr/>
            </p:nvSpPr>
            <p:spPr bwMode="auto">
              <a:xfrm>
                <a:off x="2828523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3" y="20"/>
                      <a:pt x="32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2" name="ï$1îdê">
                <a:extLst>
                  <a:ext uri="{FF2B5EF4-FFF2-40B4-BE49-F238E27FC236}">
                    <a16:creationId xmlns:a16="http://schemas.microsoft.com/office/drawing/2014/main" id="{C4A69F55-C99F-45B4-BB5A-64E162ED9BCE}"/>
                  </a:ext>
                </a:extLst>
              </p:cNvPr>
              <p:cNvSpPr/>
              <p:nvPr/>
            </p:nvSpPr>
            <p:spPr bwMode="auto">
              <a:xfrm>
                <a:off x="2970474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4" y="4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3" name="iS1iḍè">
                <a:extLst>
                  <a:ext uri="{FF2B5EF4-FFF2-40B4-BE49-F238E27FC236}">
                    <a16:creationId xmlns:a16="http://schemas.microsoft.com/office/drawing/2014/main" id="{EA8EB7CF-C4A2-4458-B8E5-53EC2CCEABAD}"/>
                  </a:ext>
                </a:extLst>
              </p:cNvPr>
              <p:cNvSpPr/>
              <p:nvPr/>
            </p:nvSpPr>
            <p:spPr bwMode="auto">
              <a:xfrm>
                <a:off x="3109339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4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4" y="4"/>
                      <a:pt x="2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4" name="iśļiḋe">
                <a:extLst>
                  <a:ext uri="{FF2B5EF4-FFF2-40B4-BE49-F238E27FC236}">
                    <a16:creationId xmlns:a16="http://schemas.microsoft.com/office/drawing/2014/main" id="{080337CD-9629-473B-97AB-9B125B2F1BC7}"/>
                  </a:ext>
                </a:extLst>
              </p:cNvPr>
              <p:cNvSpPr/>
              <p:nvPr/>
            </p:nvSpPr>
            <p:spPr bwMode="auto">
              <a:xfrm>
                <a:off x="2793036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22 w 36"/>
                  <a:gd name="T3" fmla="*/ 0 h 22"/>
                  <a:gd name="T4" fmla="*/ 2 w 36"/>
                  <a:gd name="T5" fmla="*/ 11 h 22"/>
                  <a:gd name="T6" fmla="*/ 13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6" y="5"/>
                      <a:pt x="31" y="0"/>
                      <a:pt x="22" y="0"/>
                    </a:cubicBezTo>
                    <a:cubicBezTo>
                      <a:pt x="14" y="0"/>
                      <a:pt x="4" y="5"/>
                      <a:pt x="2" y="11"/>
                    </a:cubicBezTo>
                    <a:cubicBezTo>
                      <a:pt x="0" y="17"/>
                      <a:pt x="5" y="22"/>
                      <a:pt x="13" y="22"/>
                    </a:cubicBezTo>
                    <a:cubicBezTo>
                      <a:pt x="22" y="22"/>
                      <a:pt x="31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5" name="ïśḷiḋé">
                <a:extLst>
                  <a:ext uri="{FF2B5EF4-FFF2-40B4-BE49-F238E27FC236}">
                    <a16:creationId xmlns:a16="http://schemas.microsoft.com/office/drawing/2014/main" id="{6132159B-D39E-4E18-923B-BF63F67980FB}"/>
                  </a:ext>
                </a:extLst>
              </p:cNvPr>
              <p:cNvSpPr/>
              <p:nvPr/>
            </p:nvSpPr>
            <p:spPr bwMode="auto">
              <a:xfrm>
                <a:off x="2930358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23 w 37"/>
                  <a:gd name="T3" fmla="*/ 0 h 22"/>
                  <a:gd name="T4" fmla="*/ 3 w 37"/>
                  <a:gd name="T5" fmla="*/ 11 h 22"/>
                  <a:gd name="T6" fmla="*/ 14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7" y="5"/>
                      <a:pt x="31" y="0"/>
                      <a:pt x="23" y="0"/>
                    </a:cubicBezTo>
                    <a:cubicBezTo>
                      <a:pt x="14" y="0"/>
                      <a:pt x="5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6" name="îşḻïḍe">
                <a:extLst>
                  <a:ext uri="{FF2B5EF4-FFF2-40B4-BE49-F238E27FC236}">
                    <a16:creationId xmlns:a16="http://schemas.microsoft.com/office/drawing/2014/main" id="{58ED74AE-3F69-4574-8122-25ABB0FED10F}"/>
                  </a:ext>
                </a:extLst>
              </p:cNvPr>
              <p:cNvSpPr/>
              <p:nvPr/>
            </p:nvSpPr>
            <p:spPr bwMode="auto">
              <a:xfrm>
                <a:off x="2894870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22 w 36"/>
                  <a:gd name="T3" fmla="*/ 0 h 22"/>
                  <a:gd name="T4" fmla="*/ 2 w 36"/>
                  <a:gd name="T5" fmla="*/ 11 h 22"/>
                  <a:gd name="T6" fmla="*/ 14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6" y="5"/>
                      <a:pt x="31" y="0"/>
                      <a:pt x="22" y="0"/>
                    </a:cubicBezTo>
                    <a:cubicBezTo>
                      <a:pt x="14" y="0"/>
                      <a:pt x="4" y="5"/>
                      <a:pt x="2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7" name="iṩḷîḋé">
                <a:extLst>
                  <a:ext uri="{FF2B5EF4-FFF2-40B4-BE49-F238E27FC236}">
                    <a16:creationId xmlns:a16="http://schemas.microsoft.com/office/drawing/2014/main" id="{418A8167-7A63-4E76-BF52-3A3411172380}"/>
                  </a:ext>
                </a:extLst>
              </p:cNvPr>
              <p:cNvSpPr/>
              <p:nvPr/>
            </p:nvSpPr>
            <p:spPr bwMode="auto">
              <a:xfrm>
                <a:off x="2978189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2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8" name="ïşḷîḑè">
                <a:extLst>
                  <a:ext uri="{FF2B5EF4-FFF2-40B4-BE49-F238E27FC236}">
                    <a16:creationId xmlns:a16="http://schemas.microsoft.com/office/drawing/2014/main" id="{182EDAE6-5D24-48C1-9FAB-885F47F245D1}"/>
                  </a:ext>
                </a:extLst>
              </p:cNvPr>
              <p:cNvSpPr/>
              <p:nvPr/>
            </p:nvSpPr>
            <p:spPr bwMode="auto">
              <a:xfrm>
                <a:off x="3113969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9" name="îṩľïdê">
                <a:extLst>
                  <a:ext uri="{FF2B5EF4-FFF2-40B4-BE49-F238E27FC236}">
                    <a16:creationId xmlns:a16="http://schemas.microsoft.com/office/drawing/2014/main" id="{282FAEEC-F982-4D28-BCA4-CD581275FC50}"/>
                  </a:ext>
                </a:extLst>
              </p:cNvPr>
              <p:cNvSpPr/>
              <p:nvPr/>
            </p:nvSpPr>
            <p:spPr bwMode="auto">
              <a:xfrm>
                <a:off x="3245119" y="2271702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0" name="îšľiḓê">
                <a:extLst>
                  <a:ext uri="{FF2B5EF4-FFF2-40B4-BE49-F238E27FC236}">
                    <a16:creationId xmlns:a16="http://schemas.microsoft.com/office/drawing/2014/main" id="{93373F67-85DA-4F5B-A622-D6C907B72B4B}"/>
                  </a:ext>
                </a:extLst>
              </p:cNvPr>
              <p:cNvSpPr/>
              <p:nvPr/>
            </p:nvSpPr>
            <p:spPr bwMode="auto">
              <a:xfrm>
                <a:off x="3376270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0 w 34"/>
                  <a:gd name="T3" fmla="*/ 0 h 19"/>
                  <a:gd name="T4" fmla="*/ 2 w 34"/>
                  <a:gd name="T5" fmla="*/ 9 h 19"/>
                  <a:gd name="T6" fmla="*/ 14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1" name="ïṣḻíde">
                <a:extLst>
                  <a:ext uri="{FF2B5EF4-FFF2-40B4-BE49-F238E27FC236}">
                    <a16:creationId xmlns:a16="http://schemas.microsoft.com/office/drawing/2014/main" id="{B9B7968B-7C1B-4530-AEB5-5E0C502FDE1C}"/>
                  </a:ext>
                </a:extLst>
              </p:cNvPr>
              <p:cNvSpPr/>
              <p:nvPr/>
            </p:nvSpPr>
            <p:spPr bwMode="auto">
              <a:xfrm>
                <a:off x="333615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0 w 33"/>
                  <a:gd name="T3" fmla="*/ 0 h 17"/>
                  <a:gd name="T4" fmla="*/ 2 w 33"/>
                  <a:gd name="T5" fmla="*/ 9 h 17"/>
                  <a:gd name="T6" fmla="*/ 13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2" name="ïṡļïḓê">
                <a:extLst>
                  <a:ext uri="{FF2B5EF4-FFF2-40B4-BE49-F238E27FC236}">
                    <a16:creationId xmlns:a16="http://schemas.microsoft.com/office/drawing/2014/main" id="{241DC4D4-7D6B-43CF-BB06-73AA4465163D}"/>
                  </a:ext>
                </a:extLst>
              </p:cNvPr>
              <p:cNvSpPr/>
              <p:nvPr/>
            </p:nvSpPr>
            <p:spPr bwMode="auto">
              <a:xfrm>
                <a:off x="3467303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9 w 31"/>
                  <a:gd name="T3" fmla="*/ 0 h 17"/>
                  <a:gd name="T4" fmla="*/ 1 w 31"/>
                  <a:gd name="T5" fmla="*/ 9 h 17"/>
                  <a:gd name="T6" fmla="*/ 12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3" name="îṣ1ïḋè">
                <a:extLst>
                  <a:ext uri="{FF2B5EF4-FFF2-40B4-BE49-F238E27FC236}">
                    <a16:creationId xmlns:a16="http://schemas.microsoft.com/office/drawing/2014/main" id="{58FE3D20-DCC0-4717-BB81-328FCB1331D1}"/>
                  </a:ext>
                </a:extLst>
              </p:cNvPr>
              <p:cNvSpPr/>
              <p:nvPr/>
            </p:nvSpPr>
            <p:spPr bwMode="auto">
              <a:xfrm>
                <a:off x="3306837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20 w 33"/>
                  <a:gd name="T3" fmla="*/ 0 h 18"/>
                  <a:gd name="T4" fmla="*/ 2 w 33"/>
                  <a:gd name="T5" fmla="*/ 9 h 18"/>
                  <a:gd name="T6" fmla="*/ 13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4" name="íṩḷíḑê">
                <a:extLst>
                  <a:ext uri="{FF2B5EF4-FFF2-40B4-BE49-F238E27FC236}">
                    <a16:creationId xmlns:a16="http://schemas.microsoft.com/office/drawing/2014/main" id="{04D11F72-0617-4559-84AA-F92913CEAD7E}"/>
                  </a:ext>
                </a:extLst>
              </p:cNvPr>
              <p:cNvSpPr/>
              <p:nvPr/>
            </p:nvSpPr>
            <p:spPr bwMode="auto">
              <a:xfrm>
                <a:off x="3437988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9 w 32"/>
                  <a:gd name="T3" fmla="*/ 0 h 18"/>
                  <a:gd name="T4" fmla="*/ 1 w 32"/>
                  <a:gd name="T5" fmla="*/ 9 h 18"/>
                  <a:gd name="T6" fmla="*/ 13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5" name="iŝḻidé">
                <a:extLst>
                  <a:ext uri="{FF2B5EF4-FFF2-40B4-BE49-F238E27FC236}">
                    <a16:creationId xmlns:a16="http://schemas.microsoft.com/office/drawing/2014/main" id="{C44D794E-E352-4B47-9C5F-3CE15FE6E7C9}"/>
                  </a:ext>
                </a:extLst>
              </p:cNvPr>
              <p:cNvSpPr/>
              <p:nvPr/>
            </p:nvSpPr>
            <p:spPr bwMode="auto">
              <a:xfrm>
                <a:off x="3566052" y="2108150"/>
                <a:ext cx="117264" cy="64804"/>
              </a:xfrm>
              <a:custGeom>
                <a:avLst/>
                <a:gdLst>
                  <a:gd name="T0" fmla="*/ 31 w 32"/>
                  <a:gd name="T1" fmla="*/ 9 h 18"/>
                  <a:gd name="T2" fmla="*/ 19 w 32"/>
                  <a:gd name="T3" fmla="*/ 0 h 18"/>
                  <a:gd name="T4" fmla="*/ 2 w 32"/>
                  <a:gd name="T5" fmla="*/ 9 h 18"/>
                  <a:gd name="T6" fmla="*/ 13 w 32"/>
                  <a:gd name="T7" fmla="*/ 18 h 18"/>
                  <a:gd name="T8" fmla="*/ 31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1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6" name="ïSḷïḓé">
                <a:extLst>
                  <a:ext uri="{FF2B5EF4-FFF2-40B4-BE49-F238E27FC236}">
                    <a16:creationId xmlns:a16="http://schemas.microsoft.com/office/drawing/2014/main" id="{01F49C44-FD15-4C18-A9CA-18BE3962CE51}"/>
                  </a:ext>
                </a:extLst>
              </p:cNvPr>
              <p:cNvSpPr/>
              <p:nvPr/>
            </p:nvSpPr>
            <p:spPr bwMode="auto">
              <a:xfrm>
                <a:off x="3697203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8 w 32"/>
                  <a:gd name="T3" fmla="*/ 0 h 18"/>
                  <a:gd name="T4" fmla="*/ 1 w 32"/>
                  <a:gd name="T5" fmla="*/ 9 h 18"/>
                  <a:gd name="T6" fmla="*/ 13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32" y="4"/>
                      <a:pt x="26" y="0"/>
                      <a:pt x="18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7" name="îṥḻîḓe">
                <a:extLst>
                  <a:ext uri="{FF2B5EF4-FFF2-40B4-BE49-F238E27FC236}">
                    <a16:creationId xmlns:a16="http://schemas.microsoft.com/office/drawing/2014/main" id="{F8F63AA1-D8DE-4BFC-B2C7-C562BDCCFF56}"/>
                  </a:ext>
                </a:extLst>
              </p:cNvPr>
              <p:cNvSpPr/>
              <p:nvPr/>
            </p:nvSpPr>
            <p:spPr bwMode="auto">
              <a:xfrm>
                <a:off x="3015220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8" name="îṥļîḋé">
                <a:extLst>
                  <a:ext uri="{FF2B5EF4-FFF2-40B4-BE49-F238E27FC236}">
                    <a16:creationId xmlns:a16="http://schemas.microsoft.com/office/drawing/2014/main" id="{C8DDBF5C-143C-464F-A92A-8EFC5820C798}"/>
                  </a:ext>
                </a:extLst>
              </p:cNvPr>
              <p:cNvSpPr/>
              <p:nvPr/>
            </p:nvSpPr>
            <p:spPr bwMode="auto">
              <a:xfrm>
                <a:off x="3277521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9" name="ïṧļiḑè">
                <a:extLst>
                  <a:ext uri="{FF2B5EF4-FFF2-40B4-BE49-F238E27FC236}">
                    <a16:creationId xmlns:a16="http://schemas.microsoft.com/office/drawing/2014/main" id="{5D4B8592-39A1-48F7-8B0F-2A4701D3BBA1}"/>
                  </a:ext>
                </a:extLst>
              </p:cNvPr>
              <p:cNvSpPr/>
              <p:nvPr/>
            </p:nvSpPr>
            <p:spPr bwMode="auto">
              <a:xfrm>
                <a:off x="3408671" y="2188383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9 w 32"/>
                  <a:gd name="T3" fmla="*/ 0 h 19"/>
                  <a:gd name="T4" fmla="*/ 1 w 32"/>
                  <a:gd name="T5" fmla="*/ 9 h 19"/>
                  <a:gd name="T6" fmla="*/ 13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0" name="iṩḻidè">
                <a:extLst>
                  <a:ext uri="{FF2B5EF4-FFF2-40B4-BE49-F238E27FC236}">
                    <a16:creationId xmlns:a16="http://schemas.microsoft.com/office/drawing/2014/main" id="{1005D4B6-979A-4B78-A323-7C1702B27B29}"/>
                  </a:ext>
                </a:extLst>
              </p:cNvPr>
              <p:cNvSpPr/>
              <p:nvPr/>
            </p:nvSpPr>
            <p:spPr bwMode="auto">
              <a:xfrm>
                <a:off x="3539822" y="2188383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9 w 32"/>
                  <a:gd name="T3" fmla="*/ 0 h 19"/>
                  <a:gd name="T4" fmla="*/ 1 w 32"/>
                  <a:gd name="T5" fmla="*/ 9 h 19"/>
                  <a:gd name="T6" fmla="*/ 13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1" name="išliḋé">
                <a:extLst>
                  <a:ext uri="{FF2B5EF4-FFF2-40B4-BE49-F238E27FC236}">
                    <a16:creationId xmlns:a16="http://schemas.microsoft.com/office/drawing/2014/main" id="{27E66E37-B57E-4D92-8AF1-45D2FBCD9F09}"/>
                  </a:ext>
                </a:extLst>
              </p:cNvPr>
              <p:cNvSpPr/>
              <p:nvPr/>
            </p:nvSpPr>
            <p:spPr bwMode="auto">
              <a:xfrm>
                <a:off x="3667886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4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30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2" name="iṧḷîdé">
                <a:extLst>
                  <a:ext uri="{FF2B5EF4-FFF2-40B4-BE49-F238E27FC236}">
                    <a16:creationId xmlns:a16="http://schemas.microsoft.com/office/drawing/2014/main" id="{54252C3C-1CE5-4039-8E9A-107E5074EFF7}"/>
                  </a:ext>
                </a:extLst>
              </p:cNvPr>
              <p:cNvSpPr/>
              <p:nvPr/>
            </p:nvSpPr>
            <p:spPr bwMode="auto">
              <a:xfrm>
                <a:off x="3799037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9 w 33"/>
                  <a:gd name="T3" fmla="*/ 0 h 19"/>
                  <a:gd name="T4" fmla="*/ 2 w 33"/>
                  <a:gd name="T5" fmla="*/ 9 h 19"/>
                  <a:gd name="T6" fmla="*/ 14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2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30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3" name="íṧḷîḓe">
                <a:extLst>
                  <a:ext uri="{FF2B5EF4-FFF2-40B4-BE49-F238E27FC236}">
                    <a16:creationId xmlns:a16="http://schemas.microsoft.com/office/drawing/2014/main" id="{2B2952B7-48D7-4F8A-A069-3844AF3174C7}"/>
                  </a:ext>
                </a:extLst>
              </p:cNvPr>
              <p:cNvSpPr/>
              <p:nvPr/>
            </p:nvSpPr>
            <p:spPr bwMode="auto">
              <a:xfrm>
                <a:off x="3424101" y="1804190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3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4" name="iŝľíḋè">
                <a:extLst>
                  <a:ext uri="{FF2B5EF4-FFF2-40B4-BE49-F238E27FC236}">
                    <a16:creationId xmlns:a16="http://schemas.microsoft.com/office/drawing/2014/main" id="{4EF5B54C-4FC4-4028-AB66-52A6E2C491C7}"/>
                  </a:ext>
                </a:extLst>
              </p:cNvPr>
              <p:cNvSpPr/>
              <p:nvPr/>
            </p:nvSpPr>
            <p:spPr bwMode="auto">
              <a:xfrm>
                <a:off x="3394785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3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5" name="ïṥľíḓè">
                <a:extLst>
                  <a:ext uri="{FF2B5EF4-FFF2-40B4-BE49-F238E27FC236}">
                    <a16:creationId xmlns:a16="http://schemas.microsoft.com/office/drawing/2014/main" id="{2D9C0CA6-151B-49FE-90A0-B7C576B42CFF}"/>
                  </a:ext>
                </a:extLst>
              </p:cNvPr>
              <p:cNvSpPr/>
              <p:nvPr/>
            </p:nvSpPr>
            <p:spPr bwMode="auto">
              <a:xfrm>
                <a:off x="3522849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8 w 31"/>
                  <a:gd name="T3" fmla="*/ 0 h 17"/>
                  <a:gd name="T4" fmla="*/ 1 w 31"/>
                  <a:gd name="T5" fmla="*/ 9 h 17"/>
                  <a:gd name="T6" fmla="*/ 12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6" y="0"/>
                      <a:pt x="18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6" name="îṥľîḍê">
                <a:extLst>
                  <a:ext uri="{FF2B5EF4-FFF2-40B4-BE49-F238E27FC236}">
                    <a16:creationId xmlns:a16="http://schemas.microsoft.com/office/drawing/2014/main" id="{F99B0104-594B-4201-814D-352BEB45EF51}"/>
                  </a:ext>
                </a:extLst>
              </p:cNvPr>
              <p:cNvSpPr/>
              <p:nvPr/>
            </p:nvSpPr>
            <p:spPr bwMode="auto">
              <a:xfrm>
                <a:off x="3368554" y="1953855"/>
                <a:ext cx="114178" cy="63261"/>
              </a:xfrm>
              <a:custGeom>
                <a:avLst/>
                <a:gdLst>
                  <a:gd name="T0" fmla="*/ 30 w 31"/>
                  <a:gd name="T1" fmla="*/ 8 h 17"/>
                  <a:gd name="T2" fmla="*/ 19 w 31"/>
                  <a:gd name="T3" fmla="*/ 0 h 17"/>
                  <a:gd name="T4" fmla="*/ 1 w 31"/>
                  <a:gd name="T5" fmla="*/ 8 h 17"/>
                  <a:gd name="T6" fmla="*/ 12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3" y="4"/>
                      <a:pt x="1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7" name="ïŝľïḍé">
                <a:extLst>
                  <a:ext uri="{FF2B5EF4-FFF2-40B4-BE49-F238E27FC236}">
                    <a16:creationId xmlns:a16="http://schemas.microsoft.com/office/drawing/2014/main" id="{37AD749B-E2CC-40DA-B56F-499EE55510ED}"/>
                  </a:ext>
                </a:extLst>
              </p:cNvPr>
              <p:cNvSpPr/>
              <p:nvPr/>
            </p:nvSpPr>
            <p:spPr bwMode="auto">
              <a:xfrm>
                <a:off x="3493534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8" name="î$ļïďê">
                <a:extLst>
                  <a:ext uri="{FF2B5EF4-FFF2-40B4-BE49-F238E27FC236}">
                    <a16:creationId xmlns:a16="http://schemas.microsoft.com/office/drawing/2014/main" id="{2ECA54DF-FBE6-47D2-BD75-F8535D154719}"/>
                  </a:ext>
                </a:extLst>
              </p:cNvPr>
              <p:cNvSpPr/>
              <p:nvPr/>
            </p:nvSpPr>
            <p:spPr bwMode="auto">
              <a:xfrm>
                <a:off x="3620055" y="1953855"/>
                <a:ext cx="114178" cy="63261"/>
              </a:xfrm>
              <a:custGeom>
                <a:avLst/>
                <a:gdLst>
                  <a:gd name="T0" fmla="*/ 30 w 31"/>
                  <a:gd name="T1" fmla="*/ 8 h 17"/>
                  <a:gd name="T2" fmla="*/ 18 w 31"/>
                  <a:gd name="T3" fmla="*/ 0 h 17"/>
                  <a:gd name="T4" fmla="*/ 1 w 31"/>
                  <a:gd name="T5" fmla="*/ 8 h 17"/>
                  <a:gd name="T6" fmla="*/ 13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31" y="4"/>
                      <a:pt x="26" y="0"/>
                      <a:pt x="18" y="0"/>
                    </a:cubicBezTo>
                    <a:cubicBezTo>
                      <a:pt x="11" y="0"/>
                      <a:pt x="3" y="4"/>
                      <a:pt x="1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9" name="îṩḷïdè">
                <a:extLst>
                  <a:ext uri="{FF2B5EF4-FFF2-40B4-BE49-F238E27FC236}">
                    <a16:creationId xmlns:a16="http://schemas.microsoft.com/office/drawing/2014/main" id="{C405EE53-95F9-4550-9252-6EBA0157F6C7}"/>
                  </a:ext>
                </a:extLst>
              </p:cNvPr>
              <p:cNvSpPr/>
              <p:nvPr/>
            </p:nvSpPr>
            <p:spPr bwMode="auto">
              <a:xfrm>
                <a:off x="3745033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8"/>
                    </a:cubicBezTo>
                    <a:cubicBezTo>
                      <a:pt x="0" y="13"/>
                      <a:pt x="6" y="17"/>
                      <a:pt x="13" y="17"/>
                    </a:cubicBezTo>
                    <a:cubicBezTo>
                      <a:pt x="21" y="17"/>
                      <a:pt x="29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0" name="ïşļïdé">
                <a:extLst>
                  <a:ext uri="{FF2B5EF4-FFF2-40B4-BE49-F238E27FC236}">
                    <a16:creationId xmlns:a16="http://schemas.microsoft.com/office/drawing/2014/main" id="{1D36BB81-FDBC-495E-9367-C5966ECF26FC}"/>
                  </a:ext>
                </a:extLst>
              </p:cNvPr>
              <p:cNvSpPr/>
              <p:nvPr/>
            </p:nvSpPr>
            <p:spPr bwMode="auto">
              <a:xfrm>
                <a:off x="3175687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3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1" name="íŝḻídé">
                <a:extLst>
                  <a:ext uri="{FF2B5EF4-FFF2-40B4-BE49-F238E27FC236}">
                    <a16:creationId xmlns:a16="http://schemas.microsoft.com/office/drawing/2014/main" id="{B86076AA-85CB-42B6-8DA0-E97A1554189F}"/>
                  </a:ext>
                </a:extLst>
              </p:cNvPr>
              <p:cNvSpPr/>
              <p:nvPr/>
            </p:nvSpPr>
            <p:spPr bwMode="auto">
              <a:xfrm>
                <a:off x="3299122" y="1804190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3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31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2" name="iṣľïḑê">
                <a:extLst>
                  <a:ext uri="{FF2B5EF4-FFF2-40B4-BE49-F238E27FC236}">
                    <a16:creationId xmlns:a16="http://schemas.microsoft.com/office/drawing/2014/main" id="{AE288497-4DE2-44AC-9F50-CA38471028A4}"/>
                  </a:ext>
                </a:extLst>
              </p:cNvPr>
              <p:cNvSpPr/>
              <p:nvPr/>
            </p:nvSpPr>
            <p:spPr bwMode="auto">
              <a:xfrm>
                <a:off x="3146370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3" name="î$ľïḑê">
                <a:extLst>
                  <a:ext uri="{FF2B5EF4-FFF2-40B4-BE49-F238E27FC236}">
                    <a16:creationId xmlns:a16="http://schemas.microsoft.com/office/drawing/2014/main" id="{A11BC5A9-05A0-458E-83CC-1D04FBD197E8}"/>
                  </a:ext>
                </a:extLst>
              </p:cNvPr>
              <p:cNvSpPr/>
              <p:nvPr/>
            </p:nvSpPr>
            <p:spPr bwMode="auto">
              <a:xfrm>
                <a:off x="3269806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3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4" name="îSḷîďè">
                <a:extLst>
                  <a:ext uri="{FF2B5EF4-FFF2-40B4-BE49-F238E27FC236}">
                    <a16:creationId xmlns:a16="http://schemas.microsoft.com/office/drawing/2014/main" id="{DDD1F8A1-C46A-47DD-9EED-B029DD9A9F88}"/>
                  </a:ext>
                </a:extLst>
              </p:cNvPr>
              <p:cNvSpPr/>
              <p:nvPr/>
            </p:nvSpPr>
            <p:spPr bwMode="auto">
              <a:xfrm>
                <a:off x="3113969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20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9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5" name="îṣľiḓè">
                <a:extLst>
                  <a:ext uri="{FF2B5EF4-FFF2-40B4-BE49-F238E27FC236}">
                    <a16:creationId xmlns:a16="http://schemas.microsoft.com/office/drawing/2014/main" id="{7F45544F-829D-4A41-8ED6-7E894A75A20F}"/>
                  </a:ext>
                </a:extLst>
              </p:cNvPr>
              <p:cNvSpPr/>
              <p:nvPr/>
            </p:nvSpPr>
            <p:spPr bwMode="auto">
              <a:xfrm>
                <a:off x="3240490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6" name="işļïḑé">
                <a:extLst>
                  <a:ext uri="{FF2B5EF4-FFF2-40B4-BE49-F238E27FC236}">
                    <a16:creationId xmlns:a16="http://schemas.microsoft.com/office/drawing/2014/main" id="{EB04E13C-0A08-4443-81FE-D1E2BE1D0258}"/>
                  </a:ext>
                </a:extLst>
              </p:cNvPr>
              <p:cNvSpPr/>
              <p:nvPr/>
            </p:nvSpPr>
            <p:spPr bwMode="auto">
              <a:xfrm>
                <a:off x="2884069" y="2188383"/>
                <a:ext cx="123436" cy="69433"/>
              </a:xfrm>
              <a:custGeom>
                <a:avLst/>
                <a:gdLst>
                  <a:gd name="T0" fmla="*/ 31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7" name="îśliḓe">
                <a:extLst>
                  <a:ext uri="{FF2B5EF4-FFF2-40B4-BE49-F238E27FC236}">
                    <a16:creationId xmlns:a16="http://schemas.microsoft.com/office/drawing/2014/main" id="{9F765E26-3D16-4E55-995E-444CD8AE1C20}"/>
                  </a:ext>
                </a:extLst>
              </p:cNvPr>
              <p:cNvSpPr/>
              <p:nvPr/>
            </p:nvSpPr>
            <p:spPr bwMode="auto">
              <a:xfrm>
                <a:off x="2847039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8" name="íṥḷîḋê">
                <a:extLst>
                  <a:ext uri="{FF2B5EF4-FFF2-40B4-BE49-F238E27FC236}">
                    <a16:creationId xmlns:a16="http://schemas.microsoft.com/office/drawing/2014/main" id="{93E19D08-64BC-4D67-9838-CED3D475D4A5}"/>
                  </a:ext>
                </a:extLst>
              </p:cNvPr>
              <p:cNvSpPr/>
              <p:nvPr/>
            </p:nvSpPr>
            <p:spPr bwMode="auto">
              <a:xfrm>
                <a:off x="2810008" y="2356565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5"/>
                      <a:pt x="4" y="19"/>
                      <a:pt x="13" y="19"/>
                    </a:cubicBezTo>
                    <a:cubicBezTo>
                      <a:pt x="21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9" name="ïşľîḋe">
                <a:extLst>
                  <a:ext uri="{FF2B5EF4-FFF2-40B4-BE49-F238E27FC236}">
                    <a16:creationId xmlns:a16="http://schemas.microsoft.com/office/drawing/2014/main" id="{7C76C381-8DAA-4B0F-9D7D-8E69AF001AB5}"/>
                  </a:ext>
                </a:extLst>
              </p:cNvPr>
              <p:cNvSpPr/>
              <p:nvPr/>
            </p:nvSpPr>
            <p:spPr bwMode="auto">
              <a:xfrm>
                <a:off x="2769891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5"/>
                      <a:pt x="30" y="0"/>
                      <a:pt x="22" y="0"/>
                    </a:cubicBezTo>
                    <a:cubicBezTo>
                      <a:pt x="14" y="0"/>
                      <a:pt x="5" y="5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0" name="ïŝḷîḓè">
                <a:extLst>
                  <a:ext uri="{FF2B5EF4-FFF2-40B4-BE49-F238E27FC236}">
                    <a16:creationId xmlns:a16="http://schemas.microsoft.com/office/drawing/2014/main" id="{23D92FFC-E24D-49B1-A773-05B75854B58A}"/>
                  </a:ext>
                </a:extLst>
              </p:cNvPr>
              <p:cNvSpPr/>
              <p:nvPr/>
            </p:nvSpPr>
            <p:spPr bwMode="auto">
              <a:xfrm>
                <a:off x="2729775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2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5"/>
                      <a:pt x="5" y="20"/>
                      <a:pt x="14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1" name="iSḷïḓé">
                <a:extLst>
                  <a:ext uri="{FF2B5EF4-FFF2-40B4-BE49-F238E27FC236}">
                    <a16:creationId xmlns:a16="http://schemas.microsoft.com/office/drawing/2014/main" id="{887ADF99-EEC5-42C1-AB1A-C5376283E4DE}"/>
                  </a:ext>
                </a:extLst>
              </p:cNvPr>
              <p:cNvSpPr/>
              <p:nvPr/>
            </p:nvSpPr>
            <p:spPr bwMode="auto">
              <a:xfrm>
                <a:off x="2689658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2" name="íšļîḍe">
                <a:extLst>
                  <a:ext uri="{FF2B5EF4-FFF2-40B4-BE49-F238E27FC236}">
                    <a16:creationId xmlns:a16="http://schemas.microsoft.com/office/drawing/2014/main" id="{EE2BB8E0-3875-4413-8AE4-818F84226CCA}"/>
                  </a:ext>
                </a:extLst>
              </p:cNvPr>
              <p:cNvSpPr/>
              <p:nvPr/>
            </p:nvSpPr>
            <p:spPr bwMode="auto">
              <a:xfrm>
                <a:off x="2649541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23 w 36"/>
                  <a:gd name="T3" fmla="*/ 0 h 22"/>
                  <a:gd name="T4" fmla="*/ 2 w 36"/>
                  <a:gd name="T5" fmla="*/ 11 h 22"/>
                  <a:gd name="T6" fmla="*/ 13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4" y="0"/>
                      <a:pt x="5" y="5"/>
                      <a:pt x="2" y="11"/>
                    </a:cubicBezTo>
                    <a:cubicBezTo>
                      <a:pt x="0" y="17"/>
                      <a:pt x="5" y="22"/>
                      <a:pt x="13" y="22"/>
                    </a:cubicBezTo>
                    <a:cubicBezTo>
                      <a:pt x="22" y="22"/>
                      <a:pt x="31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3" name="ïṣlîḋè">
                <a:extLst>
                  <a:ext uri="{FF2B5EF4-FFF2-40B4-BE49-F238E27FC236}">
                    <a16:creationId xmlns:a16="http://schemas.microsoft.com/office/drawing/2014/main" id="{4047E3E3-6E53-428B-9E9F-7EFB33FA05E2}"/>
                  </a:ext>
                </a:extLst>
              </p:cNvPr>
              <p:cNvSpPr/>
              <p:nvPr/>
            </p:nvSpPr>
            <p:spPr bwMode="auto">
              <a:xfrm>
                <a:off x="3055337" y="1804190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2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7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4" name="îšlîdê">
                <a:extLst>
                  <a:ext uri="{FF2B5EF4-FFF2-40B4-BE49-F238E27FC236}">
                    <a16:creationId xmlns:a16="http://schemas.microsoft.com/office/drawing/2014/main" id="{BF5DCF2E-D9F3-4EBA-B98A-2C20BA2CB297}"/>
                  </a:ext>
                </a:extLst>
              </p:cNvPr>
              <p:cNvSpPr/>
              <p:nvPr/>
            </p:nvSpPr>
            <p:spPr bwMode="auto">
              <a:xfrm>
                <a:off x="3022934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5" name="iṩḷîďê">
                <a:extLst>
                  <a:ext uri="{FF2B5EF4-FFF2-40B4-BE49-F238E27FC236}">
                    <a16:creationId xmlns:a16="http://schemas.microsoft.com/office/drawing/2014/main" id="{E626DCDC-53EF-457B-B2E7-F067DE8B6C88}"/>
                  </a:ext>
                </a:extLst>
              </p:cNvPr>
              <p:cNvSpPr/>
              <p:nvPr/>
            </p:nvSpPr>
            <p:spPr bwMode="auto">
              <a:xfrm>
                <a:off x="2988990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2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6" name="ïşļïďé">
                <a:extLst>
                  <a:ext uri="{FF2B5EF4-FFF2-40B4-BE49-F238E27FC236}">
                    <a16:creationId xmlns:a16="http://schemas.microsoft.com/office/drawing/2014/main" id="{29BF7E53-53EC-4121-805E-DB9AEE4E4430}"/>
                  </a:ext>
                </a:extLst>
              </p:cNvPr>
              <p:cNvSpPr/>
              <p:nvPr/>
            </p:nvSpPr>
            <p:spPr bwMode="auto">
              <a:xfrm>
                <a:off x="2964302" y="1734757"/>
                <a:ext cx="112636" cy="58632"/>
              </a:xfrm>
              <a:custGeom>
                <a:avLst/>
                <a:gdLst>
                  <a:gd name="T0" fmla="*/ 29 w 31"/>
                  <a:gd name="T1" fmla="*/ 8 h 16"/>
                  <a:gd name="T2" fmla="*/ 19 w 31"/>
                  <a:gd name="T3" fmla="*/ 0 h 16"/>
                  <a:gd name="T4" fmla="*/ 2 w 31"/>
                  <a:gd name="T5" fmla="*/ 8 h 16"/>
                  <a:gd name="T6" fmla="*/ 12 w 31"/>
                  <a:gd name="T7" fmla="*/ 16 h 16"/>
                  <a:gd name="T8" fmla="*/ 29 w 31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29" y="8"/>
                    </a:moveTo>
                    <a:cubicBezTo>
                      <a:pt x="31" y="3"/>
                      <a:pt x="27" y="0"/>
                      <a:pt x="19" y="0"/>
                    </a:cubicBezTo>
                    <a:cubicBezTo>
                      <a:pt x="12" y="0"/>
                      <a:pt x="4" y="3"/>
                      <a:pt x="2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19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7" name="íṥḷiḍè">
                <a:extLst>
                  <a:ext uri="{FF2B5EF4-FFF2-40B4-BE49-F238E27FC236}">
                    <a16:creationId xmlns:a16="http://schemas.microsoft.com/office/drawing/2014/main" id="{B7F196D7-73DC-4C0F-AB1B-70031BA93D5A}"/>
                  </a:ext>
                </a:extLst>
              </p:cNvPr>
              <p:cNvSpPr/>
              <p:nvPr/>
            </p:nvSpPr>
            <p:spPr bwMode="auto">
              <a:xfrm>
                <a:off x="2930358" y="1804190"/>
                <a:ext cx="114178" cy="61718"/>
              </a:xfrm>
              <a:custGeom>
                <a:avLst/>
                <a:gdLst>
                  <a:gd name="T0" fmla="*/ 29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2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7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8" name="íśļiďé">
                <a:extLst>
                  <a:ext uri="{FF2B5EF4-FFF2-40B4-BE49-F238E27FC236}">
                    <a16:creationId xmlns:a16="http://schemas.microsoft.com/office/drawing/2014/main" id="{83DEEA68-D31E-460B-AF26-C27F876340E9}"/>
                  </a:ext>
                </a:extLst>
              </p:cNvPr>
              <p:cNvSpPr/>
              <p:nvPr/>
            </p:nvSpPr>
            <p:spPr bwMode="auto">
              <a:xfrm>
                <a:off x="2860926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20 w 32"/>
                  <a:gd name="T3" fmla="*/ 0 h 17"/>
                  <a:gd name="T4" fmla="*/ 2 w 32"/>
                  <a:gd name="T5" fmla="*/ 8 h 17"/>
                  <a:gd name="T6" fmla="*/ 12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9" name="ïṡļidê">
                <a:extLst>
                  <a:ext uri="{FF2B5EF4-FFF2-40B4-BE49-F238E27FC236}">
                    <a16:creationId xmlns:a16="http://schemas.microsoft.com/office/drawing/2014/main" id="{D8489D10-B813-436C-A2F3-C04C3CD61F96}"/>
                  </a:ext>
                </a:extLst>
              </p:cNvPr>
              <p:cNvSpPr/>
              <p:nvPr/>
            </p:nvSpPr>
            <p:spPr bwMode="auto">
              <a:xfrm>
                <a:off x="2825437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3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0" name="iṣḻïḓè">
                <a:extLst>
                  <a:ext uri="{FF2B5EF4-FFF2-40B4-BE49-F238E27FC236}">
                    <a16:creationId xmlns:a16="http://schemas.microsoft.com/office/drawing/2014/main" id="{3AD5BB01-7E61-41EC-AEAA-CC6022960E7A}"/>
                  </a:ext>
                </a:extLst>
              </p:cNvPr>
              <p:cNvSpPr/>
              <p:nvPr/>
            </p:nvSpPr>
            <p:spPr bwMode="auto">
              <a:xfrm>
                <a:off x="2788407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21 w 34"/>
                  <a:gd name="T3" fmla="*/ 0 h 18"/>
                  <a:gd name="T4" fmla="*/ 2 w 34"/>
                  <a:gd name="T5" fmla="*/ 9 h 18"/>
                  <a:gd name="T6" fmla="*/ 13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1" name="ïṧḻîḓè">
                <a:extLst>
                  <a:ext uri="{FF2B5EF4-FFF2-40B4-BE49-F238E27FC236}">
                    <a16:creationId xmlns:a16="http://schemas.microsoft.com/office/drawing/2014/main" id="{771C7A98-9080-4212-98E7-EC4F07DE65B0}"/>
                  </a:ext>
                </a:extLst>
              </p:cNvPr>
              <p:cNvSpPr/>
              <p:nvPr/>
            </p:nvSpPr>
            <p:spPr bwMode="auto">
              <a:xfrm>
                <a:off x="2752919" y="2188383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2" name="îSḷîdé">
                <a:extLst>
                  <a:ext uri="{FF2B5EF4-FFF2-40B4-BE49-F238E27FC236}">
                    <a16:creationId xmlns:a16="http://schemas.microsoft.com/office/drawing/2014/main" id="{6905C484-05B4-426E-B7DB-11E09A5DEF3F}"/>
                  </a:ext>
                </a:extLst>
              </p:cNvPr>
              <p:cNvSpPr/>
              <p:nvPr/>
            </p:nvSpPr>
            <p:spPr bwMode="auto">
              <a:xfrm>
                <a:off x="2715889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2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3" name="îṡļïdê">
                <a:extLst>
                  <a:ext uri="{FF2B5EF4-FFF2-40B4-BE49-F238E27FC236}">
                    <a16:creationId xmlns:a16="http://schemas.microsoft.com/office/drawing/2014/main" id="{FFC0BA40-B34D-4203-B4F4-97C9EA10881C}"/>
                  </a:ext>
                </a:extLst>
              </p:cNvPr>
              <p:cNvSpPr/>
              <p:nvPr/>
            </p:nvSpPr>
            <p:spPr bwMode="auto">
              <a:xfrm>
                <a:off x="2675772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2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4" name="íşļïďé">
                <a:extLst>
                  <a:ext uri="{FF2B5EF4-FFF2-40B4-BE49-F238E27FC236}">
                    <a16:creationId xmlns:a16="http://schemas.microsoft.com/office/drawing/2014/main" id="{30668E54-2CE4-4840-8D79-F6AE0EBF82EF}"/>
                  </a:ext>
                </a:extLst>
              </p:cNvPr>
              <p:cNvSpPr/>
              <p:nvPr/>
            </p:nvSpPr>
            <p:spPr bwMode="auto">
              <a:xfrm>
                <a:off x="2635655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5"/>
                      <a:pt x="30" y="0"/>
                      <a:pt x="22" y="0"/>
                    </a:cubicBezTo>
                    <a:cubicBezTo>
                      <a:pt x="14" y="0"/>
                      <a:pt x="5" y="5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5" name="íṧḻîḓe">
                <a:extLst>
                  <a:ext uri="{FF2B5EF4-FFF2-40B4-BE49-F238E27FC236}">
                    <a16:creationId xmlns:a16="http://schemas.microsoft.com/office/drawing/2014/main" id="{C5D755A4-FA89-4E7B-A1CE-F7CD123518B9}"/>
                  </a:ext>
                </a:extLst>
              </p:cNvPr>
              <p:cNvSpPr/>
              <p:nvPr/>
            </p:nvSpPr>
            <p:spPr bwMode="auto">
              <a:xfrm>
                <a:off x="2590909" y="2532461"/>
                <a:ext cx="132693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5"/>
                      <a:pt x="5" y="20"/>
                      <a:pt x="14" y="20"/>
                    </a:cubicBezTo>
                    <a:cubicBezTo>
                      <a:pt x="22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6" name="ïṥḷíḋé">
                <a:extLst>
                  <a:ext uri="{FF2B5EF4-FFF2-40B4-BE49-F238E27FC236}">
                    <a16:creationId xmlns:a16="http://schemas.microsoft.com/office/drawing/2014/main" id="{A531D591-F576-4B4E-A107-4D4BA81F7135}"/>
                  </a:ext>
                </a:extLst>
              </p:cNvPr>
              <p:cNvSpPr/>
              <p:nvPr/>
            </p:nvSpPr>
            <p:spPr bwMode="auto">
              <a:xfrm>
                <a:off x="2550793" y="2623494"/>
                <a:ext cx="132693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7" name="îṧļiḍê">
                <a:extLst>
                  <a:ext uri="{FF2B5EF4-FFF2-40B4-BE49-F238E27FC236}">
                    <a16:creationId xmlns:a16="http://schemas.microsoft.com/office/drawing/2014/main" id="{A882A825-5B11-4792-B224-F6A9F06C734A}"/>
                  </a:ext>
                </a:extLst>
              </p:cNvPr>
              <p:cNvSpPr/>
              <p:nvPr/>
            </p:nvSpPr>
            <p:spPr bwMode="auto">
              <a:xfrm>
                <a:off x="2507590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23 w 37"/>
                  <a:gd name="T3" fmla="*/ 0 h 22"/>
                  <a:gd name="T4" fmla="*/ 3 w 37"/>
                  <a:gd name="T5" fmla="*/ 11 h 22"/>
                  <a:gd name="T6" fmla="*/ 14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7" y="5"/>
                      <a:pt x="32" y="0"/>
                      <a:pt x="23" y="0"/>
                    </a:cubicBezTo>
                    <a:cubicBezTo>
                      <a:pt x="15" y="0"/>
                      <a:pt x="5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2" y="22"/>
                      <a:pt x="32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8" name="ï$lïḑê">
                <a:extLst>
                  <a:ext uri="{FF2B5EF4-FFF2-40B4-BE49-F238E27FC236}">
                    <a16:creationId xmlns:a16="http://schemas.microsoft.com/office/drawing/2014/main" id="{F382D88B-5321-4201-9CD0-0ADB00B75C68}"/>
                  </a:ext>
                </a:extLst>
              </p:cNvPr>
              <p:cNvSpPr/>
              <p:nvPr/>
            </p:nvSpPr>
            <p:spPr bwMode="auto">
              <a:xfrm>
                <a:off x="2839324" y="1734757"/>
                <a:ext cx="117264" cy="58632"/>
              </a:xfrm>
              <a:custGeom>
                <a:avLst/>
                <a:gdLst>
                  <a:gd name="T0" fmla="*/ 30 w 32"/>
                  <a:gd name="T1" fmla="*/ 8 h 16"/>
                  <a:gd name="T2" fmla="*/ 20 w 32"/>
                  <a:gd name="T3" fmla="*/ 0 h 16"/>
                  <a:gd name="T4" fmla="*/ 2 w 32"/>
                  <a:gd name="T5" fmla="*/ 8 h 16"/>
                  <a:gd name="T6" fmla="*/ 12 w 32"/>
                  <a:gd name="T7" fmla="*/ 16 h 16"/>
                  <a:gd name="T8" fmla="*/ 30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30" y="8"/>
                    </a:moveTo>
                    <a:cubicBezTo>
                      <a:pt x="32" y="3"/>
                      <a:pt x="27" y="0"/>
                      <a:pt x="20" y="0"/>
                    </a:cubicBezTo>
                    <a:cubicBezTo>
                      <a:pt x="12" y="0"/>
                      <a:pt x="5" y="3"/>
                      <a:pt x="2" y="8"/>
                    </a:cubicBezTo>
                    <a:cubicBezTo>
                      <a:pt x="0" y="12"/>
                      <a:pt x="5" y="16"/>
                      <a:pt x="12" y="16"/>
                    </a:cubicBezTo>
                    <a:cubicBezTo>
                      <a:pt x="20" y="16"/>
                      <a:pt x="28" y="12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9" name="í$ľïḑê">
                <a:extLst>
                  <a:ext uri="{FF2B5EF4-FFF2-40B4-BE49-F238E27FC236}">
                    <a16:creationId xmlns:a16="http://schemas.microsoft.com/office/drawing/2014/main" id="{E8126F23-6429-4E80-AB04-C5769C85850E}"/>
                  </a:ext>
                </a:extLst>
              </p:cNvPr>
              <p:cNvSpPr/>
              <p:nvPr/>
            </p:nvSpPr>
            <p:spPr bwMode="auto">
              <a:xfrm>
                <a:off x="2806922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0" name="îşḻídê">
                <a:extLst>
                  <a:ext uri="{FF2B5EF4-FFF2-40B4-BE49-F238E27FC236}">
                    <a16:creationId xmlns:a16="http://schemas.microsoft.com/office/drawing/2014/main" id="{183FC77F-7622-416A-BA39-CDA18C31D543}"/>
                  </a:ext>
                </a:extLst>
              </p:cNvPr>
              <p:cNvSpPr/>
              <p:nvPr/>
            </p:nvSpPr>
            <p:spPr bwMode="auto">
              <a:xfrm>
                <a:off x="2769891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1" name="îsľîḓé">
                <a:extLst>
                  <a:ext uri="{FF2B5EF4-FFF2-40B4-BE49-F238E27FC236}">
                    <a16:creationId xmlns:a16="http://schemas.microsoft.com/office/drawing/2014/main" id="{99F71767-7566-42F6-9778-790159F27E31}"/>
                  </a:ext>
                </a:extLst>
              </p:cNvPr>
              <p:cNvSpPr/>
              <p:nvPr/>
            </p:nvSpPr>
            <p:spPr bwMode="auto">
              <a:xfrm>
                <a:off x="2734404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21 w 33"/>
                  <a:gd name="T3" fmla="*/ 0 h 17"/>
                  <a:gd name="T4" fmla="*/ 3 w 33"/>
                  <a:gd name="T5" fmla="*/ 8 h 17"/>
                  <a:gd name="T6" fmla="*/ 13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33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3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9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2" name="ïs1ïḍè">
                <a:extLst>
                  <a:ext uri="{FF2B5EF4-FFF2-40B4-BE49-F238E27FC236}">
                    <a16:creationId xmlns:a16="http://schemas.microsoft.com/office/drawing/2014/main" id="{A2E49A87-BCF6-4C59-B700-EFD530F9CE56}"/>
                  </a:ext>
                </a:extLst>
              </p:cNvPr>
              <p:cNvSpPr/>
              <p:nvPr/>
            </p:nvSpPr>
            <p:spPr bwMode="auto">
              <a:xfrm>
                <a:off x="269737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3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3" name="íSļïdé">
                <a:extLst>
                  <a:ext uri="{FF2B5EF4-FFF2-40B4-BE49-F238E27FC236}">
                    <a16:creationId xmlns:a16="http://schemas.microsoft.com/office/drawing/2014/main" id="{705F53A1-EC1E-45D4-BE05-595D4625C66B}"/>
                  </a:ext>
                </a:extLst>
              </p:cNvPr>
              <p:cNvSpPr/>
              <p:nvPr/>
            </p:nvSpPr>
            <p:spPr bwMode="auto">
              <a:xfrm>
                <a:off x="2660342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21 w 33"/>
                  <a:gd name="T3" fmla="*/ 0 h 18"/>
                  <a:gd name="T4" fmla="*/ 2 w 33"/>
                  <a:gd name="T5" fmla="*/ 9 h 18"/>
                  <a:gd name="T6" fmla="*/ 12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4" name="iṥ1iḋè">
                <a:extLst>
                  <a:ext uri="{FF2B5EF4-FFF2-40B4-BE49-F238E27FC236}">
                    <a16:creationId xmlns:a16="http://schemas.microsoft.com/office/drawing/2014/main" id="{0F529C70-0445-44D4-8910-94686D421BC2}"/>
                  </a:ext>
                </a:extLst>
              </p:cNvPr>
              <p:cNvSpPr/>
              <p:nvPr/>
            </p:nvSpPr>
            <p:spPr bwMode="auto">
              <a:xfrm>
                <a:off x="2620226" y="2188383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5" name="îšḻïďe">
                <a:extLst>
                  <a:ext uri="{FF2B5EF4-FFF2-40B4-BE49-F238E27FC236}">
                    <a16:creationId xmlns:a16="http://schemas.microsoft.com/office/drawing/2014/main" id="{D6BA973F-F8CE-4DB4-9109-8895099B72A2}"/>
                  </a:ext>
                </a:extLst>
              </p:cNvPr>
              <p:cNvSpPr/>
              <p:nvPr/>
            </p:nvSpPr>
            <p:spPr bwMode="auto">
              <a:xfrm>
                <a:off x="2580109" y="2271702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6" name="îsḷîḓè">
                <a:extLst>
                  <a:ext uri="{FF2B5EF4-FFF2-40B4-BE49-F238E27FC236}">
                    <a16:creationId xmlns:a16="http://schemas.microsoft.com/office/drawing/2014/main" id="{FD48904B-1CA9-43D3-B2FD-EA8A4C72C6F4}"/>
                  </a:ext>
                </a:extLst>
              </p:cNvPr>
              <p:cNvSpPr/>
              <p:nvPr/>
            </p:nvSpPr>
            <p:spPr bwMode="auto">
              <a:xfrm>
                <a:off x="2539993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2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7" name="íṡľîďè">
                <a:extLst>
                  <a:ext uri="{FF2B5EF4-FFF2-40B4-BE49-F238E27FC236}">
                    <a16:creationId xmlns:a16="http://schemas.microsoft.com/office/drawing/2014/main" id="{30E53E5B-41EC-4D0F-9E8C-94929F9279E7}"/>
                  </a:ext>
                </a:extLst>
              </p:cNvPr>
              <p:cNvSpPr/>
              <p:nvPr/>
            </p:nvSpPr>
            <p:spPr bwMode="auto">
              <a:xfrm>
                <a:off x="2496790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6" y="5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8" name="îṡḷiḓé">
                <a:extLst>
                  <a:ext uri="{FF2B5EF4-FFF2-40B4-BE49-F238E27FC236}">
                    <a16:creationId xmlns:a16="http://schemas.microsoft.com/office/drawing/2014/main" id="{DB57CDC1-E0DC-43A6-BE52-008D2405EA1B}"/>
                  </a:ext>
                </a:extLst>
              </p:cNvPr>
              <p:cNvSpPr/>
              <p:nvPr/>
            </p:nvSpPr>
            <p:spPr bwMode="auto">
              <a:xfrm>
                <a:off x="2456674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2 w 36"/>
                  <a:gd name="T3" fmla="*/ 0 h 20"/>
                  <a:gd name="T4" fmla="*/ 2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2" y="10"/>
                    </a:cubicBezTo>
                    <a:cubicBezTo>
                      <a:pt x="0" y="15"/>
                      <a:pt x="4" y="20"/>
                      <a:pt x="13" y="20"/>
                    </a:cubicBezTo>
                    <a:cubicBezTo>
                      <a:pt x="21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9" name="iṧḻíḋé">
                <a:extLst>
                  <a:ext uri="{FF2B5EF4-FFF2-40B4-BE49-F238E27FC236}">
                    <a16:creationId xmlns:a16="http://schemas.microsoft.com/office/drawing/2014/main" id="{EFF6CDF5-9716-4CC6-8870-A268BBDB2E06}"/>
                  </a:ext>
                </a:extLst>
              </p:cNvPr>
              <p:cNvSpPr/>
              <p:nvPr/>
            </p:nvSpPr>
            <p:spPr bwMode="auto">
              <a:xfrm>
                <a:off x="2413471" y="2623494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2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2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0" name="ïṩḷïḓê">
                <a:extLst>
                  <a:ext uri="{FF2B5EF4-FFF2-40B4-BE49-F238E27FC236}">
                    <a16:creationId xmlns:a16="http://schemas.microsoft.com/office/drawing/2014/main" id="{77F40B97-205F-4078-B78D-E8D5D38D0901}"/>
                  </a:ext>
                </a:extLst>
              </p:cNvPr>
              <p:cNvSpPr/>
              <p:nvPr/>
            </p:nvSpPr>
            <p:spPr bwMode="auto">
              <a:xfrm>
                <a:off x="2365639" y="2714528"/>
                <a:ext cx="134237" cy="80233"/>
              </a:xfrm>
              <a:custGeom>
                <a:avLst/>
                <a:gdLst>
                  <a:gd name="T0" fmla="*/ 35 w 37"/>
                  <a:gd name="T1" fmla="*/ 11 h 22"/>
                  <a:gd name="T2" fmla="*/ 24 w 37"/>
                  <a:gd name="T3" fmla="*/ 0 h 22"/>
                  <a:gd name="T4" fmla="*/ 3 w 37"/>
                  <a:gd name="T5" fmla="*/ 11 h 22"/>
                  <a:gd name="T6" fmla="*/ 14 w 37"/>
                  <a:gd name="T7" fmla="*/ 22 h 22"/>
                  <a:gd name="T8" fmla="*/ 35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5" y="11"/>
                    </a:moveTo>
                    <a:cubicBezTo>
                      <a:pt x="37" y="5"/>
                      <a:pt x="32" y="0"/>
                      <a:pt x="24" y="0"/>
                    </a:cubicBezTo>
                    <a:cubicBezTo>
                      <a:pt x="15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2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1" name="îşlïḋè">
                <a:extLst>
                  <a:ext uri="{FF2B5EF4-FFF2-40B4-BE49-F238E27FC236}">
                    <a16:creationId xmlns:a16="http://schemas.microsoft.com/office/drawing/2014/main" id="{33ADD249-8345-4BB0-9D47-85AC757CBD1C}"/>
                  </a:ext>
                </a:extLst>
              </p:cNvPr>
              <p:cNvSpPr/>
              <p:nvPr/>
            </p:nvSpPr>
            <p:spPr bwMode="auto">
              <a:xfrm>
                <a:off x="2317808" y="2810191"/>
                <a:ext cx="138865" cy="80233"/>
              </a:xfrm>
              <a:custGeom>
                <a:avLst/>
                <a:gdLst>
                  <a:gd name="T0" fmla="*/ 35 w 38"/>
                  <a:gd name="T1" fmla="*/ 11 h 22"/>
                  <a:gd name="T2" fmla="*/ 24 w 38"/>
                  <a:gd name="T3" fmla="*/ 0 h 22"/>
                  <a:gd name="T4" fmla="*/ 3 w 38"/>
                  <a:gd name="T5" fmla="*/ 11 h 22"/>
                  <a:gd name="T6" fmla="*/ 1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3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2" name="îṣľíḍé">
                <a:extLst>
                  <a:ext uri="{FF2B5EF4-FFF2-40B4-BE49-F238E27FC236}">
                    <a16:creationId xmlns:a16="http://schemas.microsoft.com/office/drawing/2014/main" id="{6DF8635D-B9EB-454C-A1AB-A195E1A181FC}"/>
                  </a:ext>
                </a:extLst>
              </p:cNvPr>
              <p:cNvSpPr/>
              <p:nvPr/>
            </p:nvSpPr>
            <p:spPr bwMode="auto">
              <a:xfrm>
                <a:off x="2269977" y="2907396"/>
                <a:ext cx="143495" cy="84863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3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3" name="iṥļîḍê">
                <a:extLst>
                  <a:ext uri="{FF2B5EF4-FFF2-40B4-BE49-F238E27FC236}">
                    <a16:creationId xmlns:a16="http://schemas.microsoft.com/office/drawing/2014/main" id="{C36AC984-9005-4B00-8651-BC3DE9DFAA7D}"/>
                  </a:ext>
                </a:extLst>
              </p:cNvPr>
              <p:cNvSpPr/>
              <p:nvPr/>
            </p:nvSpPr>
            <p:spPr bwMode="auto">
              <a:xfrm>
                <a:off x="2354839" y="1734757"/>
                <a:ext cx="115721" cy="58632"/>
              </a:xfrm>
              <a:custGeom>
                <a:avLst/>
                <a:gdLst>
                  <a:gd name="T0" fmla="*/ 29 w 32"/>
                  <a:gd name="T1" fmla="*/ 8 h 16"/>
                  <a:gd name="T2" fmla="*/ 20 w 32"/>
                  <a:gd name="T3" fmla="*/ 0 h 16"/>
                  <a:gd name="T4" fmla="*/ 2 w 32"/>
                  <a:gd name="T5" fmla="*/ 8 h 16"/>
                  <a:gd name="T6" fmla="*/ 11 w 32"/>
                  <a:gd name="T7" fmla="*/ 16 h 16"/>
                  <a:gd name="T8" fmla="*/ 29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29" y="8"/>
                    </a:moveTo>
                    <a:cubicBezTo>
                      <a:pt x="32" y="3"/>
                      <a:pt x="27" y="0"/>
                      <a:pt x="20" y="0"/>
                    </a:cubicBezTo>
                    <a:cubicBezTo>
                      <a:pt x="12" y="0"/>
                      <a:pt x="4" y="3"/>
                      <a:pt x="2" y="8"/>
                    </a:cubicBezTo>
                    <a:cubicBezTo>
                      <a:pt x="0" y="12"/>
                      <a:pt x="4" y="16"/>
                      <a:pt x="11" y="16"/>
                    </a:cubicBezTo>
                    <a:cubicBezTo>
                      <a:pt x="19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4" name="îṣ1íḓe">
                <a:extLst>
                  <a:ext uri="{FF2B5EF4-FFF2-40B4-BE49-F238E27FC236}">
                    <a16:creationId xmlns:a16="http://schemas.microsoft.com/office/drawing/2014/main" id="{452B9522-AAB4-45E2-A9DF-D396AC32FB67}"/>
                  </a:ext>
                </a:extLst>
              </p:cNvPr>
              <p:cNvSpPr/>
              <p:nvPr/>
            </p:nvSpPr>
            <p:spPr bwMode="auto">
              <a:xfrm>
                <a:off x="2475189" y="1734757"/>
                <a:ext cx="115721" cy="58632"/>
              </a:xfrm>
              <a:custGeom>
                <a:avLst/>
                <a:gdLst>
                  <a:gd name="T0" fmla="*/ 30 w 32"/>
                  <a:gd name="T1" fmla="*/ 8 h 16"/>
                  <a:gd name="T2" fmla="*/ 20 w 32"/>
                  <a:gd name="T3" fmla="*/ 0 h 16"/>
                  <a:gd name="T4" fmla="*/ 2 w 32"/>
                  <a:gd name="T5" fmla="*/ 8 h 16"/>
                  <a:gd name="T6" fmla="*/ 12 w 32"/>
                  <a:gd name="T7" fmla="*/ 16 h 16"/>
                  <a:gd name="T8" fmla="*/ 30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30" y="8"/>
                    </a:moveTo>
                    <a:cubicBezTo>
                      <a:pt x="32" y="3"/>
                      <a:pt x="28" y="0"/>
                      <a:pt x="20" y="0"/>
                    </a:cubicBezTo>
                    <a:cubicBezTo>
                      <a:pt x="13" y="0"/>
                      <a:pt x="5" y="3"/>
                      <a:pt x="2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19" y="16"/>
                      <a:pt x="27" y="12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5" name="íṡḻiďe">
                <a:extLst>
                  <a:ext uri="{FF2B5EF4-FFF2-40B4-BE49-F238E27FC236}">
                    <a16:creationId xmlns:a16="http://schemas.microsoft.com/office/drawing/2014/main" id="{55C5EAA3-CF11-4AC1-8910-A41DE3376B7C}"/>
                  </a:ext>
                </a:extLst>
              </p:cNvPr>
              <p:cNvSpPr/>
              <p:nvPr/>
            </p:nvSpPr>
            <p:spPr bwMode="auto">
              <a:xfrm>
                <a:off x="2595539" y="1734757"/>
                <a:ext cx="117264" cy="58632"/>
              </a:xfrm>
              <a:custGeom>
                <a:avLst/>
                <a:gdLst>
                  <a:gd name="T0" fmla="*/ 30 w 32"/>
                  <a:gd name="T1" fmla="*/ 8 h 16"/>
                  <a:gd name="T2" fmla="*/ 20 w 32"/>
                  <a:gd name="T3" fmla="*/ 0 h 16"/>
                  <a:gd name="T4" fmla="*/ 3 w 32"/>
                  <a:gd name="T5" fmla="*/ 8 h 16"/>
                  <a:gd name="T6" fmla="*/ 12 w 32"/>
                  <a:gd name="T7" fmla="*/ 16 h 16"/>
                  <a:gd name="T8" fmla="*/ 30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30" y="8"/>
                    </a:moveTo>
                    <a:cubicBezTo>
                      <a:pt x="32" y="3"/>
                      <a:pt x="28" y="0"/>
                      <a:pt x="20" y="0"/>
                    </a:cubicBezTo>
                    <a:cubicBezTo>
                      <a:pt x="13" y="0"/>
                      <a:pt x="5" y="3"/>
                      <a:pt x="3" y="8"/>
                    </a:cubicBezTo>
                    <a:cubicBezTo>
                      <a:pt x="0" y="12"/>
                      <a:pt x="5" y="16"/>
                      <a:pt x="12" y="16"/>
                    </a:cubicBezTo>
                    <a:cubicBezTo>
                      <a:pt x="20" y="16"/>
                      <a:pt x="28" y="12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6" name="îṥļîdê">
                <a:extLst>
                  <a:ext uri="{FF2B5EF4-FFF2-40B4-BE49-F238E27FC236}">
                    <a16:creationId xmlns:a16="http://schemas.microsoft.com/office/drawing/2014/main" id="{4903FA31-BF64-44DA-8264-D2E809E6E386}"/>
                  </a:ext>
                </a:extLst>
              </p:cNvPr>
              <p:cNvSpPr/>
              <p:nvPr/>
            </p:nvSpPr>
            <p:spPr bwMode="auto">
              <a:xfrm>
                <a:off x="2558508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3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7" name="iṣ1îḍe">
                <a:extLst>
                  <a:ext uri="{FF2B5EF4-FFF2-40B4-BE49-F238E27FC236}">
                    <a16:creationId xmlns:a16="http://schemas.microsoft.com/office/drawing/2014/main" id="{78CC05C8-234B-4BED-AC01-B29E7BAE556D}"/>
                  </a:ext>
                </a:extLst>
              </p:cNvPr>
              <p:cNvSpPr/>
              <p:nvPr/>
            </p:nvSpPr>
            <p:spPr bwMode="auto">
              <a:xfrm>
                <a:off x="2523020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8" name="íşlidé">
                <a:extLst>
                  <a:ext uri="{FF2B5EF4-FFF2-40B4-BE49-F238E27FC236}">
                    <a16:creationId xmlns:a16="http://schemas.microsoft.com/office/drawing/2014/main" id="{C0DE5CC9-4245-4BCA-B295-FABB558018AC}"/>
                  </a:ext>
                </a:extLst>
              </p:cNvPr>
              <p:cNvSpPr/>
              <p:nvPr/>
            </p:nvSpPr>
            <p:spPr bwMode="auto">
              <a:xfrm>
                <a:off x="248290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21 w 33"/>
                  <a:gd name="T3" fmla="*/ 0 h 17"/>
                  <a:gd name="T4" fmla="*/ 2 w 33"/>
                  <a:gd name="T5" fmla="*/ 8 h 17"/>
                  <a:gd name="T6" fmla="*/ 12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9" name="ïs1ïḋe">
                <a:extLst>
                  <a:ext uri="{FF2B5EF4-FFF2-40B4-BE49-F238E27FC236}">
                    <a16:creationId xmlns:a16="http://schemas.microsoft.com/office/drawing/2014/main" id="{EFF37D79-2755-47D4-8B46-17F8328DF9E5}"/>
                  </a:ext>
                </a:extLst>
              </p:cNvPr>
              <p:cNvSpPr/>
              <p:nvPr/>
            </p:nvSpPr>
            <p:spPr bwMode="auto">
              <a:xfrm>
                <a:off x="2442787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0" name="ïṩliḓê">
                <a:extLst>
                  <a:ext uri="{FF2B5EF4-FFF2-40B4-BE49-F238E27FC236}">
                    <a16:creationId xmlns:a16="http://schemas.microsoft.com/office/drawing/2014/main" id="{044E8985-9E79-4413-8670-16170B973D93}"/>
                  </a:ext>
                </a:extLst>
              </p:cNvPr>
              <p:cNvSpPr/>
              <p:nvPr/>
            </p:nvSpPr>
            <p:spPr bwMode="auto">
              <a:xfrm>
                <a:off x="2401127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21 w 34"/>
                  <a:gd name="T3" fmla="*/ 0 h 18"/>
                  <a:gd name="T4" fmla="*/ 2 w 34"/>
                  <a:gd name="T5" fmla="*/ 9 h 18"/>
                  <a:gd name="T6" fmla="*/ 12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1" name="íṥḷiḓê">
                <a:extLst>
                  <a:ext uri="{FF2B5EF4-FFF2-40B4-BE49-F238E27FC236}">
                    <a16:creationId xmlns:a16="http://schemas.microsoft.com/office/drawing/2014/main" id="{658CBAE7-6D09-414C-B9AA-5F9D0C7E65D6}"/>
                  </a:ext>
                </a:extLst>
              </p:cNvPr>
              <p:cNvSpPr/>
              <p:nvPr/>
            </p:nvSpPr>
            <p:spPr bwMode="auto">
              <a:xfrm>
                <a:off x="2357925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2" name="iŝļîḑê">
                <a:extLst>
                  <a:ext uri="{FF2B5EF4-FFF2-40B4-BE49-F238E27FC236}">
                    <a16:creationId xmlns:a16="http://schemas.microsoft.com/office/drawing/2014/main" id="{8980026A-CEC9-4649-B718-9EDB5A7D4BE0}"/>
                  </a:ext>
                </a:extLst>
              </p:cNvPr>
              <p:cNvSpPr/>
              <p:nvPr/>
            </p:nvSpPr>
            <p:spPr bwMode="auto">
              <a:xfrm>
                <a:off x="2314722" y="2271702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3" name="ï$1idê">
                <a:extLst>
                  <a:ext uri="{FF2B5EF4-FFF2-40B4-BE49-F238E27FC236}">
                    <a16:creationId xmlns:a16="http://schemas.microsoft.com/office/drawing/2014/main" id="{688DDA88-15B7-4381-B9A2-22757FD06A6A}"/>
                  </a:ext>
                </a:extLst>
              </p:cNvPr>
              <p:cNvSpPr/>
              <p:nvPr/>
            </p:nvSpPr>
            <p:spPr bwMode="auto">
              <a:xfrm>
                <a:off x="2269977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4" name="ïslíḋê">
                <a:extLst>
                  <a:ext uri="{FF2B5EF4-FFF2-40B4-BE49-F238E27FC236}">
                    <a16:creationId xmlns:a16="http://schemas.microsoft.com/office/drawing/2014/main" id="{35B87069-7974-4F37-A21E-5910104420A3}"/>
                  </a:ext>
                </a:extLst>
              </p:cNvPr>
              <p:cNvSpPr/>
              <p:nvPr/>
            </p:nvSpPr>
            <p:spPr bwMode="auto">
              <a:xfrm>
                <a:off x="2226774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6" y="5"/>
                      <a:pt x="3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5" name="iṣľíḓé">
                <a:extLst>
                  <a:ext uri="{FF2B5EF4-FFF2-40B4-BE49-F238E27FC236}">
                    <a16:creationId xmlns:a16="http://schemas.microsoft.com/office/drawing/2014/main" id="{56048586-91A2-4B32-AB72-8AB0D1983045}"/>
                  </a:ext>
                </a:extLst>
              </p:cNvPr>
              <p:cNvSpPr/>
              <p:nvPr/>
            </p:nvSpPr>
            <p:spPr bwMode="auto">
              <a:xfrm>
                <a:off x="2178943" y="2532461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6" name="îşḻidê">
                <a:extLst>
                  <a:ext uri="{FF2B5EF4-FFF2-40B4-BE49-F238E27FC236}">
                    <a16:creationId xmlns:a16="http://schemas.microsoft.com/office/drawing/2014/main" id="{9AE3B2AA-56C1-4042-B51C-7B4533A77A28}"/>
                  </a:ext>
                </a:extLst>
              </p:cNvPr>
              <p:cNvSpPr/>
              <p:nvPr/>
            </p:nvSpPr>
            <p:spPr bwMode="auto">
              <a:xfrm>
                <a:off x="2131111" y="2623494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7" name="íslídè">
                <a:extLst>
                  <a:ext uri="{FF2B5EF4-FFF2-40B4-BE49-F238E27FC236}">
                    <a16:creationId xmlns:a16="http://schemas.microsoft.com/office/drawing/2014/main" id="{0790826E-C592-4F23-95B8-C8D5BF1D75F8}"/>
                  </a:ext>
                </a:extLst>
              </p:cNvPr>
              <p:cNvSpPr/>
              <p:nvPr/>
            </p:nvSpPr>
            <p:spPr bwMode="auto">
              <a:xfrm>
                <a:off x="2189743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1 w 32"/>
                  <a:gd name="T3" fmla="*/ 0 h 17"/>
                  <a:gd name="T4" fmla="*/ 2 w 32"/>
                  <a:gd name="T5" fmla="*/ 9 h 17"/>
                  <a:gd name="T6" fmla="*/ 11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7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8" name="iśļidê">
                <a:extLst>
                  <a:ext uri="{FF2B5EF4-FFF2-40B4-BE49-F238E27FC236}">
                    <a16:creationId xmlns:a16="http://schemas.microsoft.com/office/drawing/2014/main" id="{F6D54907-CF91-420F-A327-991EACC13504}"/>
                  </a:ext>
                </a:extLst>
              </p:cNvPr>
              <p:cNvSpPr/>
              <p:nvPr/>
            </p:nvSpPr>
            <p:spPr bwMode="auto">
              <a:xfrm>
                <a:off x="2314722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1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7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9" name="iŝľíḍé">
                <a:extLst>
                  <a:ext uri="{FF2B5EF4-FFF2-40B4-BE49-F238E27FC236}">
                    <a16:creationId xmlns:a16="http://schemas.microsoft.com/office/drawing/2014/main" id="{8459BC8E-C87E-4752-9C1D-D5CA82378C83}"/>
                  </a:ext>
                </a:extLst>
              </p:cNvPr>
              <p:cNvSpPr/>
              <p:nvPr/>
            </p:nvSpPr>
            <p:spPr bwMode="auto">
              <a:xfrm>
                <a:off x="2435072" y="1804190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33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0" name="îSliďe">
                <a:extLst>
                  <a:ext uri="{FF2B5EF4-FFF2-40B4-BE49-F238E27FC236}">
                    <a16:creationId xmlns:a16="http://schemas.microsoft.com/office/drawing/2014/main" id="{D1E75A2A-5B92-4334-B184-A6D961E759A8}"/>
                  </a:ext>
                </a:extLst>
              </p:cNvPr>
              <p:cNvSpPr/>
              <p:nvPr/>
            </p:nvSpPr>
            <p:spPr bwMode="auto">
              <a:xfrm>
                <a:off x="1895041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1" name="îšḻïďé">
                <a:extLst>
                  <a:ext uri="{FF2B5EF4-FFF2-40B4-BE49-F238E27FC236}">
                    <a16:creationId xmlns:a16="http://schemas.microsoft.com/office/drawing/2014/main" id="{00B4C570-2CE2-440C-8552-58998CBDC1DD}"/>
                  </a:ext>
                </a:extLst>
              </p:cNvPr>
              <p:cNvSpPr/>
              <p:nvPr/>
            </p:nvSpPr>
            <p:spPr bwMode="auto">
              <a:xfrm>
                <a:off x="2023105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2" name="ïṣ1iḓê">
                <a:extLst>
                  <a:ext uri="{FF2B5EF4-FFF2-40B4-BE49-F238E27FC236}">
                    <a16:creationId xmlns:a16="http://schemas.microsoft.com/office/drawing/2014/main" id="{3709BBB8-EF28-4627-9749-7B9F7C32E5F7}"/>
                  </a:ext>
                </a:extLst>
              </p:cNvPr>
              <p:cNvSpPr/>
              <p:nvPr/>
            </p:nvSpPr>
            <p:spPr bwMode="auto">
              <a:xfrm>
                <a:off x="2146541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3" name="îṩ1ïdê">
                <a:extLst>
                  <a:ext uri="{FF2B5EF4-FFF2-40B4-BE49-F238E27FC236}">
                    <a16:creationId xmlns:a16="http://schemas.microsoft.com/office/drawing/2014/main" id="{2133E5DB-6004-4823-8CCE-EFB19DD8256D}"/>
                  </a:ext>
                </a:extLst>
              </p:cNvPr>
              <p:cNvSpPr/>
              <p:nvPr/>
            </p:nvSpPr>
            <p:spPr bwMode="auto">
              <a:xfrm>
                <a:off x="2269977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4" name="iSļíḋe">
                <a:extLst>
                  <a:ext uri="{FF2B5EF4-FFF2-40B4-BE49-F238E27FC236}">
                    <a16:creationId xmlns:a16="http://schemas.microsoft.com/office/drawing/2014/main" id="{7AA6853D-69B6-4B08-AB69-811AFBEE0606}"/>
                  </a:ext>
                </a:extLst>
              </p:cNvPr>
              <p:cNvSpPr/>
              <p:nvPr/>
            </p:nvSpPr>
            <p:spPr bwMode="auto">
              <a:xfrm>
                <a:off x="2394956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5" name="iśļíḑe">
                <a:extLst>
                  <a:ext uri="{FF2B5EF4-FFF2-40B4-BE49-F238E27FC236}">
                    <a16:creationId xmlns:a16="http://schemas.microsoft.com/office/drawing/2014/main" id="{5D2B28D6-755B-4786-A4B6-E5A990CCC77B}"/>
                  </a:ext>
                </a:extLst>
              </p:cNvPr>
              <p:cNvSpPr/>
              <p:nvPr/>
            </p:nvSpPr>
            <p:spPr bwMode="auto">
              <a:xfrm>
                <a:off x="1850295" y="1953855"/>
                <a:ext cx="124979" cy="63261"/>
              </a:xfrm>
              <a:custGeom>
                <a:avLst/>
                <a:gdLst>
                  <a:gd name="T0" fmla="*/ 31 w 34"/>
                  <a:gd name="T1" fmla="*/ 8 h 17"/>
                  <a:gd name="T2" fmla="*/ 22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6" name="î$liḓe">
                <a:extLst>
                  <a:ext uri="{FF2B5EF4-FFF2-40B4-BE49-F238E27FC236}">
                    <a16:creationId xmlns:a16="http://schemas.microsoft.com/office/drawing/2014/main" id="{5582643D-F1D2-47E2-B7CE-AEEF479877BD}"/>
                  </a:ext>
                </a:extLst>
              </p:cNvPr>
              <p:cNvSpPr/>
              <p:nvPr/>
            </p:nvSpPr>
            <p:spPr bwMode="auto">
              <a:xfrm>
                <a:off x="1975274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2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7" name="ísľiḋè">
                <a:extLst>
                  <a:ext uri="{FF2B5EF4-FFF2-40B4-BE49-F238E27FC236}">
                    <a16:creationId xmlns:a16="http://schemas.microsoft.com/office/drawing/2014/main" id="{1BFD7FE3-7366-433B-A5E2-2B377C6C7C67}"/>
                  </a:ext>
                </a:extLst>
              </p:cNvPr>
              <p:cNvSpPr/>
              <p:nvPr/>
            </p:nvSpPr>
            <p:spPr bwMode="auto">
              <a:xfrm>
                <a:off x="2103338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2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29" y="0"/>
                      <a:pt x="22" y="0"/>
                    </a:cubicBezTo>
                    <a:cubicBezTo>
                      <a:pt x="14" y="0"/>
                      <a:pt x="5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8" name="ïSḻîďê">
                <a:extLst>
                  <a:ext uri="{FF2B5EF4-FFF2-40B4-BE49-F238E27FC236}">
                    <a16:creationId xmlns:a16="http://schemas.microsoft.com/office/drawing/2014/main" id="{71AFAB51-FD6E-483B-8232-2529E3CB3DF6}"/>
                  </a:ext>
                </a:extLst>
              </p:cNvPr>
              <p:cNvSpPr/>
              <p:nvPr/>
            </p:nvSpPr>
            <p:spPr bwMode="auto">
              <a:xfrm>
                <a:off x="2229860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21 w 33"/>
                  <a:gd name="T3" fmla="*/ 0 h 17"/>
                  <a:gd name="T4" fmla="*/ 2 w 33"/>
                  <a:gd name="T5" fmla="*/ 8 h 17"/>
                  <a:gd name="T6" fmla="*/ 12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9" name="îṣḻíḓê">
                <a:extLst>
                  <a:ext uri="{FF2B5EF4-FFF2-40B4-BE49-F238E27FC236}">
                    <a16:creationId xmlns:a16="http://schemas.microsoft.com/office/drawing/2014/main" id="{0E1777BB-A017-4A3B-9BA7-3E97A1C684DC}"/>
                  </a:ext>
                </a:extLst>
              </p:cNvPr>
              <p:cNvSpPr/>
              <p:nvPr/>
            </p:nvSpPr>
            <p:spPr bwMode="auto">
              <a:xfrm>
                <a:off x="2354839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1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8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9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0" name="í$ļïďé">
                <a:extLst>
                  <a:ext uri="{FF2B5EF4-FFF2-40B4-BE49-F238E27FC236}">
                    <a16:creationId xmlns:a16="http://schemas.microsoft.com/office/drawing/2014/main" id="{181AA295-507D-436E-94E5-FFBCFFA3382A}"/>
                  </a:ext>
                </a:extLst>
              </p:cNvPr>
              <p:cNvSpPr/>
              <p:nvPr/>
            </p:nvSpPr>
            <p:spPr bwMode="auto">
              <a:xfrm>
                <a:off x="1804007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1" name="ïṥ1ïḍé">
                <a:extLst>
                  <a:ext uri="{FF2B5EF4-FFF2-40B4-BE49-F238E27FC236}">
                    <a16:creationId xmlns:a16="http://schemas.microsoft.com/office/drawing/2014/main" id="{CFF92F37-165B-4911-B80F-4017DAD40A6C}"/>
                  </a:ext>
                </a:extLst>
              </p:cNvPr>
              <p:cNvSpPr/>
              <p:nvPr/>
            </p:nvSpPr>
            <p:spPr bwMode="auto">
              <a:xfrm>
                <a:off x="1930528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2" name="îṡļïḑê">
                <a:extLst>
                  <a:ext uri="{FF2B5EF4-FFF2-40B4-BE49-F238E27FC236}">
                    <a16:creationId xmlns:a16="http://schemas.microsoft.com/office/drawing/2014/main" id="{7F888FBD-0932-4F6E-A66E-6A7B9A8F8734}"/>
                  </a:ext>
                </a:extLst>
              </p:cNvPr>
              <p:cNvSpPr/>
              <p:nvPr/>
            </p:nvSpPr>
            <p:spPr bwMode="auto">
              <a:xfrm>
                <a:off x="2058593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3" name="í$ḷiḍe">
                <a:extLst>
                  <a:ext uri="{FF2B5EF4-FFF2-40B4-BE49-F238E27FC236}">
                    <a16:creationId xmlns:a16="http://schemas.microsoft.com/office/drawing/2014/main" id="{101EF2E8-49B0-4EEF-96CA-574C0EDACF6F}"/>
                  </a:ext>
                </a:extLst>
              </p:cNvPr>
              <p:cNvSpPr/>
              <p:nvPr/>
            </p:nvSpPr>
            <p:spPr bwMode="auto">
              <a:xfrm>
                <a:off x="2186657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29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4" name="iṥlîďê">
                <a:extLst>
                  <a:ext uri="{FF2B5EF4-FFF2-40B4-BE49-F238E27FC236}">
                    <a16:creationId xmlns:a16="http://schemas.microsoft.com/office/drawing/2014/main" id="{F6ED0BFE-EBB9-487F-BE18-2C2473B92BD2}"/>
                  </a:ext>
                </a:extLst>
              </p:cNvPr>
              <p:cNvSpPr/>
              <p:nvPr/>
            </p:nvSpPr>
            <p:spPr bwMode="auto">
              <a:xfrm>
                <a:off x="2314722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1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5" name="iśľíḓé">
                <a:extLst>
                  <a:ext uri="{FF2B5EF4-FFF2-40B4-BE49-F238E27FC236}">
                    <a16:creationId xmlns:a16="http://schemas.microsoft.com/office/drawing/2014/main" id="{89A34416-9BAB-49A0-9355-CFAE8688ADA2}"/>
                  </a:ext>
                </a:extLst>
              </p:cNvPr>
              <p:cNvSpPr/>
              <p:nvPr/>
            </p:nvSpPr>
            <p:spPr bwMode="auto">
              <a:xfrm>
                <a:off x="1625025" y="2108150"/>
                <a:ext cx="128065" cy="64804"/>
              </a:xfrm>
              <a:custGeom>
                <a:avLst/>
                <a:gdLst>
                  <a:gd name="T0" fmla="*/ 32 w 35"/>
                  <a:gd name="T1" fmla="*/ 9 h 18"/>
                  <a:gd name="T2" fmla="*/ 23 w 35"/>
                  <a:gd name="T3" fmla="*/ 0 h 18"/>
                  <a:gd name="T4" fmla="*/ 3 w 35"/>
                  <a:gd name="T5" fmla="*/ 9 h 18"/>
                  <a:gd name="T6" fmla="*/ 12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6" name="îṩlïdé">
                <a:extLst>
                  <a:ext uri="{FF2B5EF4-FFF2-40B4-BE49-F238E27FC236}">
                    <a16:creationId xmlns:a16="http://schemas.microsoft.com/office/drawing/2014/main" id="{0D56049F-940C-438B-859D-26623756D8C3}"/>
                  </a:ext>
                </a:extLst>
              </p:cNvPr>
              <p:cNvSpPr/>
              <p:nvPr/>
            </p:nvSpPr>
            <p:spPr bwMode="auto">
              <a:xfrm>
                <a:off x="1753090" y="2108150"/>
                <a:ext cx="126522" cy="64804"/>
              </a:xfrm>
              <a:custGeom>
                <a:avLst/>
                <a:gdLst>
                  <a:gd name="T0" fmla="*/ 32 w 35"/>
                  <a:gd name="T1" fmla="*/ 9 h 18"/>
                  <a:gd name="T2" fmla="*/ 23 w 35"/>
                  <a:gd name="T3" fmla="*/ 0 h 18"/>
                  <a:gd name="T4" fmla="*/ 3 w 35"/>
                  <a:gd name="T5" fmla="*/ 9 h 18"/>
                  <a:gd name="T6" fmla="*/ 12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7" name="íSļíďé">
                <a:extLst>
                  <a:ext uri="{FF2B5EF4-FFF2-40B4-BE49-F238E27FC236}">
                    <a16:creationId xmlns:a16="http://schemas.microsoft.com/office/drawing/2014/main" id="{30D668FC-B04F-4D8F-8531-88073E99E97B}"/>
                  </a:ext>
                </a:extLst>
              </p:cNvPr>
              <p:cNvSpPr/>
              <p:nvPr/>
            </p:nvSpPr>
            <p:spPr bwMode="auto">
              <a:xfrm>
                <a:off x="1884240" y="2108150"/>
                <a:ext cx="123436" cy="64804"/>
              </a:xfrm>
              <a:custGeom>
                <a:avLst/>
                <a:gdLst>
                  <a:gd name="T0" fmla="*/ 32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2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8" name="íṥ1ïďé">
                <a:extLst>
                  <a:ext uri="{FF2B5EF4-FFF2-40B4-BE49-F238E27FC236}">
                    <a16:creationId xmlns:a16="http://schemas.microsoft.com/office/drawing/2014/main" id="{DAF48E20-E689-44AC-82A9-9020E143B291}"/>
                  </a:ext>
                </a:extLst>
              </p:cNvPr>
              <p:cNvSpPr/>
              <p:nvPr/>
            </p:nvSpPr>
            <p:spPr bwMode="auto">
              <a:xfrm>
                <a:off x="2010761" y="2108150"/>
                <a:ext cx="128065" cy="64804"/>
              </a:xfrm>
              <a:custGeom>
                <a:avLst/>
                <a:gdLst>
                  <a:gd name="T0" fmla="*/ 32 w 35"/>
                  <a:gd name="T1" fmla="*/ 9 h 18"/>
                  <a:gd name="T2" fmla="*/ 23 w 35"/>
                  <a:gd name="T3" fmla="*/ 0 h 18"/>
                  <a:gd name="T4" fmla="*/ 3 w 35"/>
                  <a:gd name="T5" fmla="*/ 9 h 18"/>
                  <a:gd name="T6" fmla="*/ 12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9" name="iṡḷíḓè">
                <a:extLst>
                  <a:ext uri="{FF2B5EF4-FFF2-40B4-BE49-F238E27FC236}">
                    <a16:creationId xmlns:a16="http://schemas.microsoft.com/office/drawing/2014/main" id="{70C8F5AD-9915-4EA8-8D33-4BAB5DECC9E2}"/>
                  </a:ext>
                </a:extLst>
              </p:cNvPr>
              <p:cNvSpPr/>
              <p:nvPr/>
            </p:nvSpPr>
            <p:spPr bwMode="auto">
              <a:xfrm>
                <a:off x="2143455" y="2108150"/>
                <a:ext cx="123436" cy="64804"/>
              </a:xfrm>
              <a:custGeom>
                <a:avLst/>
                <a:gdLst>
                  <a:gd name="T0" fmla="*/ 31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2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0" name="í$ḷiḓe">
                <a:extLst>
                  <a:ext uri="{FF2B5EF4-FFF2-40B4-BE49-F238E27FC236}">
                    <a16:creationId xmlns:a16="http://schemas.microsoft.com/office/drawing/2014/main" id="{AA3B032A-627F-4D46-A8DB-4373E32B8B30}"/>
                  </a:ext>
                </a:extLst>
              </p:cNvPr>
              <p:cNvSpPr/>
              <p:nvPr/>
            </p:nvSpPr>
            <p:spPr bwMode="auto">
              <a:xfrm>
                <a:off x="2269977" y="2108150"/>
                <a:ext cx="124979" cy="64804"/>
              </a:xfrm>
              <a:custGeom>
                <a:avLst/>
                <a:gdLst>
                  <a:gd name="T0" fmla="*/ 32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3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1" name="iṡļïḍe">
                <a:extLst>
                  <a:ext uri="{FF2B5EF4-FFF2-40B4-BE49-F238E27FC236}">
                    <a16:creationId xmlns:a16="http://schemas.microsoft.com/office/drawing/2014/main" id="{BDAB3843-14B1-4979-8053-8DD296901EE7}"/>
                  </a:ext>
                </a:extLst>
              </p:cNvPr>
              <p:cNvSpPr/>
              <p:nvPr/>
            </p:nvSpPr>
            <p:spPr bwMode="auto">
              <a:xfrm>
                <a:off x="1023276" y="1878251"/>
                <a:ext cx="126522" cy="61718"/>
              </a:xfrm>
              <a:custGeom>
                <a:avLst/>
                <a:gdLst>
                  <a:gd name="T0" fmla="*/ 31 w 35"/>
                  <a:gd name="T1" fmla="*/ 9 h 17"/>
                  <a:gd name="T2" fmla="*/ 23 w 35"/>
                  <a:gd name="T3" fmla="*/ 0 h 17"/>
                  <a:gd name="T4" fmla="*/ 3 w 35"/>
                  <a:gd name="T5" fmla="*/ 9 h 17"/>
                  <a:gd name="T6" fmla="*/ 11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2" name="îṣ1ïḓè">
                <a:extLst>
                  <a:ext uri="{FF2B5EF4-FFF2-40B4-BE49-F238E27FC236}">
                    <a16:creationId xmlns:a16="http://schemas.microsoft.com/office/drawing/2014/main" id="{9460BEB3-06AC-4204-8C60-1DB74EC5D0C4}"/>
                  </a:ext>
                </a:extLst>
              </p:cNvPr>
              <p:cNvSpPr/>
              <p:nvPr/>
            </p:nvSpPr>
            <p:spPr bwMode="auto">
              <a:xfrm>
                <a:off x="1146711" y="1878251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23 w 35"/>
                  <a:gd name="T3" fmla="*/ 0 h 17"/>
                  <a:gd name="T4" fmla="*/ 3 w 35"/>
                  <a:gd name="T5" fmla="*/ 9 h 17"/>
                  <a:gd name="T6" fmla="*/ 11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3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3" name="îṧļîḍè">
                <a:extLst>
                  <a:ext uri="{FF2B5EF4-FFF2-40B4-BE49-F238E27FC236}">
                    <a16:creationId xmlns:a16="http://schemas.microsoft.com/office/drawing/2014/main" id="{68B20D32-F5A7-40E5-A9B3-BD7FD0C8D5F3}"/>
                  </a:ext>
                </a:extLst>
              </p:cNvPr>
              <p:cNvSpPr/>
              <p:nvPr/>
            </p:nvSpPr>
            <p:spPr bwMode="auto">
              <a:xfrm>
                <a:off x="1270147" y="1878251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23 w 35"/>
                  <a:gd name="T3" fmla="*/ 0 h 17"/>
                  <a:gd name="T4" fmla="*/ 4 w 35"/>
                  <a:gd name="T5" fmla="*/ 9 h 17"/>
                  <a:gd name="T6" fmla="*/ 12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4" name="ïślïḋè">
                <a:extLst>
                  <a:ext uri="{FF2B5EF4-FFF2-40B4-BE49-F238E27FC236}">
                    <a16:creationId xmlns:a16="http://schemas.microsoft.com/office/drawing/2014/main" id="{D5357B51-4CC7-4D0E-9A67-935CB1FF51F7}"/>
                  </a:ext>
                </a:extLst>
              </p:cNvPr>
              <p:cNvSpPr/>
              <p:nvPr/>
            </p:nvSpPr>
            <p:spPr bwMode="auto">
              <a:xfrm>
                <a:off x="1398211" y="1878251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7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5" name="ïSļïḑê">
                <a:extLst>
                  <a:ext uri="{FF2B5EF4-FFF2-40B4-BE49-F238E27FC236}">
                    <a16:creationId xmlns:a16="http://schemas.microsoft.com/office/drawing/2014/main" id="{0DA81460-7324-4990-83DE-41A0CF7F7AE3}"/>
                  </a:ext>
                </a:extLst>
              </p:cNvPr>
              <p:cNvSpPr/>
              <p:nvPr/>
            </p:nvSpPr>
            <p:spPr bwMode="auto">
              <a:xfrm>
                <a:off x="1523190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6" name="iślíḋé">
                <a:extLst>
                  <a:ext uri="{FF2B5EF4-FFF2-40B4-BE49-F238E27FC236}">
                    <a16:creationId xmlns:a16="http://schemas.microsoft.com/office/drawing/2014/main" id="{138F28BF-DD90-4058-9495-53A81867653D}"/>
                  </a:ext>
                </a:extLst>
              </p:cNvPr>
              <p:cNvSpPr/>
              <p:nvPr/>
            </p:nvSpPr>
            <p:spPr bwMode="auto">
              <a:xfrm>
                <a:off x="1646626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7" name="ïś1ïḋè">
                <a:extLst>
                  <a:ext uri="{FF2B5EF4-FFF2-40B4-BE49-F238E27FC236}">
                    <a16:creationId xmlns:a16="http://schemas.microsoft.com/office/drawing/2014/main" id="{8FD41D5C-7511-4969-B288-A0F125E3BCAD}"/>
                  </a:ext>
                </a:extLst>
              </p:cNvPr>
              <p:cNvSpPr/>
              <p:nvPr/>
            </p:nvSpPr>
            <p:spPr bwMode="auto">
              <a:xfrm>
                <a:off x="1770062" y="1878251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8" name="ísļíďê">
                <a:extLst>
                  <a:ext uri="{FF2B5EF4-FFF2-40B4-BE49-F238E27FC236}">
                    <a16:creationId xmlns:a16="http://schemas.microsoft.com/office/drawing/2014/main" id="{006FD1E6-F64C-417A-9A0D-FFD44270C564}"/>
                  </a:ext>
                </a:extLst>
              </p:cNvPr>
              <p:cNvSpPr/>
              <p:nvPr/>
            </p:nvSpPr>
            <p:spPr bwMode="auto">
              <a:xfrm>
                <a:off x="839665" y="1953855"/>
                <a:ext cx="128065" cy="63261"/>
              </a:xfrm>
              <a:custGeom>
                <a:avLst/>
                <a:gdLst>
                  <a:gd name="T0" fmla="*/ 31 w 35"/>
                  <a:gd name="T1" fmla="*/ 8 h 17"/>
                  <a:gd name="T2" fmla="*/ 24 w 35"/>
                  <a:gd name="T3" fmla="*/ 0 h 17"/>
                  <a:gd name="T4" fmla="*/ 3 w 35"/>
                  <a:gd name="T5" fmla="*/ 8 h 17"/>
                  <a:gd name="T6" fmla="*/ 11 w 35"/>
                  <a:gd name="T7" fmla="*/ 17 h 17"/>
                  <a:gd name="T8" fmla="*/ 31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8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3" y="8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9" name="ïṣḷíḋè">
                <a:extLst>
                  <a:ext uri="{FF2B5EF4-FFF2-40B4-BE49-F238E27FC236}">
                    <a16:creationId xmlns:a16="http://schemas.microsoft.com/office/drawing/2014/main" id="{FB4596B0-ADE4-4EE5-8C10-1BFAF8CB6AF1}"/>
                  </a:ext>
                </a:extLst>
              </p:cNvPr>
              <p:cNvSpPr/>
              <p:nvPr/>
            </p:nvSpPr>
            <p:spPr bwMode="auto">
              <a:xfrm>
                <a:off x="964644" y="1953855"/>
                <a:ext cx="126522" cy="63261"/>
              </a:xfrm>
              <a:custGeom>
                <a:avLst/>
                <a:gdLst>
                  <a:gd name="T0" fmla="*/ 32 w 35"/>
                  <a:gd name="T1" fmla="*/ 8 h 17"/>
                  <a:gd name="T2" fmla="*/ 24 w 35"/>
                  <a:gd name="T3" fmla="*/ 0 h 17"/>
                  <a:gd name="T4" fmla="*/ 4 w 35"/>
                  <a:gd name="T5" fmla="*/ 8 h 17"/>
                  <a:gd name="T6" fmla="*/ 11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8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0" name="ï$lídè">
                <a:extLst>
                  <a:ext uri="{FF2B5EF4-FFF2-40B4-BE49-F238E27FC236}">
                    <a16:creationId xmlns:a16="http://schemas.microsoft.com/office/drawing/2014/main" id="{C446F0A4-D33F-472A-A4E8-6B76C694ACCB}"/>
                  </a:ext>
                </a:extLst>
              </p:cNvPr>
              <p:cNvSpPr/>
              <p:nvPr/>
            </p:nvSpPr>
            <p:spPr bwMode="auto">
              <a:xfrm>
                <a:off x="1091165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24 w 35"/>
                  <a:gd name="T3" fmla="*/ 0 h 17"/>
                  <a:gd name="T4" fmla="*/ 3 w 35"/>
                  <a:gd name="T5" fmla="*/ 8 h 17"/>
                  <a:gd name="T6" fmla="*/ 11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1" y="0"/>
                      <a:pt x="24" y="0"/>
                    </a:cubicBezTo>
                    <a:cubicBezTo>
                      <a:pt x="16" y="0"/>
                      <a:pt x="7" y="4"/>
                      <a:pt x="3" y="8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1" name="íš1iďè">
                <a:extLst>
                  <a:ext uri="{FF2B5EF4-FFF2-40B4-BE49-F238E27FC236}">
                    <a16:creationId xmlns:a16="http://schemas.microsoft.com/office/drawing/2014/main" id="{2F616E5D-09EA-4025-A9EF-A11E78F25BAE}"/>
                  </a:ext>
                </a:extLst>
              </p:cNvPr>
              <p:cNvSpPr/>
              <p:nvPr/>
            </p:nvSpPr>
            <p:spPr bwMode="auto">
              <a:xfrm>
                <a:off x="1216144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24 w 35"/>
                  <a:gd name="T3" fmla="*/ 0 h 17"/>
                  <a:gd name="T4" fmla="*/ 4 w 35"/>
                  <a:gd name="T5" fmla="*/ 8 h 17"/>
                  <a:gd name="T6" fmla="*/ 12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2" name="iSļiḓe">
                <a:extLst>
                  <a:ext uri="{FF2B5EF4-FFF2-40B4-BE49-F238E27FC236}">
                    <a16:creationId xmlns:a16="http://schemas.microsoft.com/office/drawing/2014/main" id="{252EB3B5-4377-4036-ADB8-7D175E2D2FCC}"/>
                  </a:ext>
                </a:extLst>
              </p:cNvPr>
              <p:cNvSpPr/>
              <p:nvPr/>
            </p:nvSpPr>
            <p:spPr bwMode="auto">
              <a:xfrm>
                <a:off x="1344209" y="1953855"/>
                <a:ext cx="126522" cy="63261"/>
              </a:xfrm>
              <a:custGeom>
                <a:avLst/>
                <a:gdLst>
                  <a:gd name="T0" fmla="*/ 32 w 35"/>
                  <a:gd name="T1" fmla="*/ 8 h 17"/>
                  <a:gd name="T2" fmla="*/ 23 w 35"/>
                  <a:gd name="T3" fmla="*/ 0 h 17"/>
                  <a:gd name="T4" fmla="*/ 3 w 35"/>
                  <a:gd name="T5" fmla="*/ 8 h 17"/>
                  <a:gd name="T6" fmla="*/ 12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3" name="iş1ïḍe">
                <a:extLst>
                  <a:ext uri="{FF2B5EF4-FFF2-40B4-BE49-F238E27FC236}">
                    <a16:creationId xmlns:a16="http://schemas.microsoft.com/office/drawing/2014/main" id="{324A01C2-9B78-4DD7-9064-ED599F46D17F}"/>
                  </a:ext>
                </a:extLst>
              </p:cNvPr>
              <p:cNvSpPr/>
              <p:nvPr/>
            </p:nvSpPr>
            <p:spPr bwMode="auto">
              <a:xfrm>
                <a:off x="1470730" y="1953855"/>
                <a:ext cx="124979" cy="63261"/>
              </a:xfrm>
              <a:custGeom>
                <a:avLst/>
                <a:gdLst>
                  <a:gd name="T0" fmla="*/ 31 w 34"/>
                  <a:gd name="T1" fmla="*/ 8 h 17"/>
                  <a:gd name="T2" fmla="*/ 23 w 34"/>
                  <a:gd name="T3" fmla="*/ 0 h 17"/>
                  <a:gd name="T4" fmla="*/ 3 w 34"/>
                  <a:gd name="T5" fmla="*/ 8 h 17"/>
                  <a:gd name="T6" fmla="*/ 11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3" y="0"/>
                    </a:cubicBezTo>
                    <a:cubicBezTo>
                      <a:pt x="15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4" name="îṡlîdê">
                <a:extLst>
                  <a:ext uri="{FF2B5EF4-FFF2-40B4-BE49-F238E27FC236}">
                    <a16:creationId xmlns:a16="http://schemas.microsoft.com/office/drawing/2014/main" id="{24BA1C1E-80B0-4B4D-9F8C-E6F38555B12B}"/>
                  </a:ext>
                </a:extLst>
              </p:cNvPr>
              <p:cNvSpPr/>
              <p:nvPr/>
            </p:nvSpPr>
            <p:spPr bwMode="auto">
              <a:xfrm>
                <a:off x="1595708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23 w 35"/>
                  <a:gd name="T3" fmla="*/ 0 h 17"/>
                  <a:gd name="T4" fmla="*/ 4 w 35"/>
                  <a:gd name="T5" fmla="*/ 8 h 17"/>
                  <a:gd name="T6" fmla="*/ 12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7" y="4"/>
                      <a:pt x="4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5" name="iṣ1ïḑê">
                <a:extLst>
                  <a:ext uri="{FF2B5EF4-FFF2-40B4-BE49-F238E27FC236}">
                    <a16:creationId xmlns:a16="http://schemas.microsoft.com/office/drawing/2014/main" id="{4C0D8244-CB18-44F4-9EE3-1ADE552105E3}"/>
                  </a:ext>
                </a:extLst>
              </p:cNvPr>
              <p:cNvSpPr/>
              <p:nvPr/>
            </p:nvSpPr>
            <p:spPr bwMode="auto">
              <a:xfrm>
                <a:off x="1723773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3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3" y="0"/>
                    </a:cubicBezTo>
                    <a:cubicBezTo>
                      <a:pt x="15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6" name="íṣlïḍè">
                <a:extLst>
                  <a:ext uri="{FF2B5EF4-FFF2-40B4-BE49-F238E27FC236}">
                    <a16:creationId xmlns:a16="http://schemas.microsoft.com/office/drawing/2014/main" id="{A3705005-DF3B-457D-A578-4896138CD9E2}"/>
                  </a:ext>
                </a:extLst>
              </p:cNvPr>
              <p:cNvSpPr/>
              <p:nvPr/>
            </p:nvSpPr>
            <p:spPr bwMode="auto">
              <a:xfrm>
                <a:off x="906012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25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5" y="0"/>
                    </a:cubicBezTo>
                    <a:cubicBezTo>
                      <a:pt x="17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7" name="í$liḍê">
                <a:extLst>
                  <a:ext uri="{FF2B5EF4-FFF2-40B4-BE49-F238E27FC236}">
                    <a16:creationId xmlns:a16="http://schemas.microsoft.com/office/drawing/2014/main" id="{95457F7A-3699-42E1-AA0F-25D4CA2D234B}"/>
                  </a:ext>
                </a:extLst>
              </p:cNvPr>
              <p:cNvSpPr/>
              <p:nvPr/>
            </p:nvSpPr>
            <p:spPr bwMode="auto">
              <a:xfrm>
                <a:off x="1034076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24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7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8" name="íŝḻîḋe">
                <a:extLst>
                  <a:ext uri="{FF2B5EF4-FFF2-40B4-BE49-F238E27FC236}">
                    <a16:creationId xmlns:a16="http://schemas.microsoft.com/office/drawing/2014/main" id="{642CB2E0-398E-4ABD-B451-FDD35C59305D}"/>
                  </a:ext>
                </a:extLst>
              </p:cNvPr>
              <p:cNvSpPr/>
              <p:nvPr/>
            </p:nvSpPr>
            <p:spPr bwMode="auto">
              <a:xfrm>
                <a:off x="1160597" y="2031003"/>
                <a:ext cx="132693" cy="61718"/>
              </a:xfrm>
              <a:custGeom>
                <a:avLst/>
                <a:gdLst>
                  <a:gd name="T0" fmla="*/ 32 w 36"/>
                  <a:gd name="T1" fmla="*/ 9 h 17"/>
                  <a:gd name="T2" fmla="*/ 24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9" name="íšḷiḑê">
                <a:extLst>
                  <a:ext uri="{FF2B5EF4-FFF2-40B4-BE49-F238E27FC236}">
                    <a16:creationId xmlns:a16="http://schemas.microsoft.com/office/drawing/2014/main" id="{E32A6B21-0DCD-4114-9C5E-6DE940276F1E}"/>
                  </a:ext>
                </a:extLst>
              </p:cNvPr>
              <p:cNvSpPr/>
              <p:nvPr/>
            </p:nvSpPr>
            <p:spPr bwMode="auto">
              <a:xfrm>
                <a:off x="1288663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24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0" name="iṧḷídè">
                <a:extLst>
                  <a:ext uri="{FF2B5EF4-FFF2-40B4-BE49-F238E27FC236}">
                    <a16:creationId xmlns:a16="http://schemas.microsoft.com/office/drawing/2014/main" id="{BE96E4F1-4559-4B4B-93EA-BE7B3B88BAB2}"/>
                  </a:ext>
                </a:extLst>
              </p:cNvPr>
              <p:cNvSpPr/>
              <p:nvPr/>
            </p:nvSpPr>
            <p:spPr bwMode="auto">
              <a:xfrm>
                <a:off x="1416727" y="2031003"/>
                <a:ext cx="128065" cy="61718"/>
              </a:xfrm>
              <a:custGeom>
                <a:avLst/>
                <a:gdLst>
                  <a:gd name="T0" fmla="*/ 32 w 35"/>
                  <a:gd name="T1" fmla="*/ 9 h 17"/>
                  <a:gd name="T2" fmla="*/ 24 w 35"/>
                  <a:gd name="T3" fmla="*/ 0 h 17"/>
                  <a:gd name="T4" fmla="*/ 4 w 35"/>
                  <a:gd name="T5" fmla="*/ 9 h 17"/>
                  <a:gd name="T6" fmla="*/ 12 w 35"/>
                  <a:gd name="T7" fmla="*/ 17 h 17"/>
                  <a:gd name="T8" fmla="*/ 32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9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1" name="í$ľîḑe">
                <a:extLst>
                  <a:ext uri="{FF2B5EF4-FFF2-40B4-BE49-F238E27FC236}">
                    <a16:creationId xmlns:a16="http://schemas.microsoft.com/office/drawing/2014/main" id="{75444DEC-D08C-4685-95F7-998CC178C2BE}"/>
                  </a:ext>
                </a:extLst>
              </p:cNvPr>
              <p:cNvSpPr/>
              <p:nvPr/>
            </p:nvSpPr>
            <p:spPr bwMode="auto">
              <a:xfrm>
                <a:off x="1547878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3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2" name="ïśļîḓe">
                <a:extLst>
                  <a:ext uri="{FF2B5EF4-FFF2-40B4-BE49-F238E27FC236}">
                    <a16:creationId xmlns:a16="http://schemas.microsoft.com/office/drawing/2014/main" id="{3614E15C-8593-444C-84B7-D4A4C53B2855}"/>
                  </a:ext>
                </a:extLst>
              </p:cNvPr>
              <p:cNvSpPr/>
              <p:nvPr/>
            </p:nvSpPr>
            <p:spPr bwMode="auto">
              <a:xfrm>
                <a:off x="1675942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3" name="ïṣḻíḍè">
                <a:extLst>
                  <a:ext uri="{FF2B5EF4-FFF2-40B4-BE49-F238E27FC236}">
                    <a16:creationId xmlns:a16="http://schemas.microsoft.com/office/drawing/2014/main" id="{1C1BD041-68A2-41A8-A1ED-DF6E13BC3DAB}"/>
                  </a:ext>
                </a:extLst>
              </p:cNvPr>
              <p:cNvSpPr/>
              <p:nvPr/>
            </p:nvSpPr>
            <p:spPr bwMode="auto">
              <a:xfrm>
                <a:off x="975444" y="2108150"/>
                <a:ext cx="131151" cy="64804"/>
              </a:xfrm>
              <a:custGeom>
                <a:avLst/>
                <a:gdLst>
                  <a:gd name="T0" fmla="*/ 33 w 36"/>
                  <a:gd name="T1" fmla="*/ 9 h 18"/>
                  <a:gd name="T2" fmla="*/ 25 w 36"/>
                  <a:gd name="T3" fmla="*/ 0 h 18"/>
                  <a:gd name="T4" fmla="*/ 4 w 36"/>
                  <a:gd name="T5" fmla="*/ 9 h 18"/>
                  <a:gd name="T6" fmla="*/ 12 w 36"/>
                  <a:gd name="T7" fmla="*/ 18 h 18"/>
                  <a:gd name="T8" fmla="*/ 33 w 36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8">
                    <a:moveTo>
                      <a:pt x="33" y="9"/>
                    </a:moveTo>
                    <a:cubicBezTo>
                      <a:pt x="36" y="4"/>
                      <a:pt x="33" y="0"/>
                      <a:pt x="25" y="0"/>
                    </a:cubicBezTo>
                    <a:cubicBezTo>
                      <a:pt x="17" y="0"/>
                      <a:pt x="8" y="4"/>
                      <a:pt x="4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4" name="ïṡľïḍê">
                <a:extLst>
                  <a:ext uri="{FF2B5EF4-FFF2-40B4-BE49-F238E27FC236}">
                    <a16:creationId xmlns:a16="http://schemas.microsoft.com/office/drawing/2014/main" id="{C0DBE9B6-1E37-4D88-BAFD-367375421B20}"/>
                  </a:ext>
                </a:extLst>
              </p:cNvPr>
              <p:cNvSpPr/>
              <p:nvPr/>
            </p:nvSpPr>
            <p:spPr bwMode="auto">
              <a:xfrm>
                <a:off x="1106595" y="2108150"/>
                <a:ext cx="131151" cy="64804"/>
              </a:xfrm>
              <a:custGeom>
                <a:avLst/>
                <a:gdLst>
                  <a:gd name="T0" fmla="*/ 32 w 36"/>
                  <a:gd name="T1" fmla="*/ 9 h 18"/>
                  <a:gd name="T2" fmla="*/ 24 w 36"/>
                  <a:gd name="T3" fmla="*/ 0 h 18"/>
                  <a:gd name="T4" fmla="*/ 3 w 36"/>
                  <a:gd name="T5" fmla="*/ 9 h 18"/>
                  <a:gd name="T6" fmla="*/ 11 w 36"/>
                  <a:gd name="T7" fmla="*/ 18 h 18"/>
                  <a:gd name="T8" fmla="*/ 32 w 36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8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3" y="9"/>
                    </a:cubicBezTo>
                    <a:cubicBezTo>
                      <a:pt x="0" y="14"/>
                      <a:pt x="3" y="18"/>
                      <a:pt x="11" y="18"/>
                    </a:cubicBezTo>
                    <a:cubicBezTo>
                      <a:pt x="19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5" name="i$1íḑé">
                <a:extLst>
                  <a:ext uri="{FF2B5EF4-FFF2-40B4-BE49-F238E27FC236}">
                    <a16:creationId xmlns:a16="http://schemas.microsoft.com/office/drawing/2014/main" id="{A629771D-637A-404F-8D7F-E92523FBBD39}"/>
                  </a:ext>
                </a:extLst>
              </p:cNvPr>
              <p:cNvSpPr/>
              <p:nvPr/>
            </p:nvSpPr>
            <p:spPr bwMode="auto">
              <a:xfrm>
                <a:off x="654511" y="2188383"/>
                <a:ext cx="134237" cy="69433"/>
              </a:xfrm>
              <a:custGeom>
                <a:avLst/>
                <a:gdLst>
                  <a:gd name="T0" fmla="*/ 33 w 37"/>
                  <a:gd name="T1" fmla="*/ 9 h 19"/>
                  <a:gd name="T2" fmla="*/ 26 w 37"/>
                  <a:gd name="T3" fmla="*/ 0 h 19"/>
                  <a:gd name="T4" fmla="*/ 4 w 37"/>
                  <a:gd name="T5" fmla="*/ 9 h 19"/>
                  <a:gd name="T6" fmla="*/ 12 w 37"/>
                  <a:gd name="T7" fmla="*/ 19 h 19"/>
                  <a:gd name="T8" fmla="*/ 33 w 37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9">
                    <a:moveTo>
                      <a:pt x="33" y="9"/>
                    </a:moveTo>
                    <a:cubicBezTo>
                      <a:pt x="37" y="4"/>
                      <a:pt x="34" y="0"/>
                      <a:pt x="26" y="0"/>
                    </a:cubicBezTo>
                    <a:cubicBezTo>
                      <a:pt x="18" y="0"/>
                      <a:pt x="8" y="4"/>
                      <a:pt x="4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6" name="îS1ïḓe">
                <a:extLst>
                  <a:ext uri="{FF2B5EF4-FFF2-40B4-BE49-F238E27FC236}">
                    <a16:creationId xmlns:a16="http://schemas.microsoft.com/office/drawing/2014/main" id="{3958EC54-2244-4355-B0FF-9C2BB048F1B9}"/>
                  </a:ext>
                </a:extLst>
              </p:cNvPr>
              <p:cNvSpPr/>
              <p:nvPr/>
            </p:nvSpPr>
            <p:spPr bwMode="auto">
              <a:xfrm>
                <a:off x="785662" y="2188383"/>
                <a:ext cx="134237" cy="69433"/>
              </a:xfrm>
              <a:custGeom>
                <a:avLst/>
                <a:gdLst>
                  <a:gd name="T0" fmla="*/ 33 w 37"/>
                  <a:gd name="T1" fmla="*/ 9 h 19"/>
                  <a:gd name="T2" fmla="*/ 25 w 37"/>
                  <a:gd name="T3" fmla="*/ 0 h 19"/>
                  <a:gd name="T4" fmla="*/ 4 w 37"/>
                  <a:gd name="T5" fmla="*/ 9 h 19"/>
                  <a:gd name="T6" fmla="*/ 12 w 37"/>
                  <a:gd name="T7" fmla="*/ 19 h 19"/>
                  <a:gd name="T8" fmla="*/ 33 w 37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9">
                    <a:moveTo>
                      <a:pt x="33" y="9"/>
                    </a:moveTo>
                    <a:cubicBezTo>
                      <a:pt x="37" y="4"/>
                      <a:pt x="33" y="0"/>
                      <a:pt x="25" y="0"/>
                    </a:cubicBezTo>
                    <a:cubicBezTo>
                      <a:pt x="17" y="0"/>
                      <a:pt x="8" y="4"/>
                      <a:pt x="4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7" name="íŝ1ïďê">
                <a:extLst>
                  <a:ext uri="{FF2B5EF4-FFF2-40B4-BE49-F238E27FC236}">
                    <a16:creationId xmlns:a16="http://schemas.microsoft.com/office/drawing/2014/main" id="{14E4A2D6-9940-405E-B2F6-CDF7BF058D87}"/>
                  </a:ext>
                </a:extLst>
              </p:cNvPr>
              <p:cNvSpPr/>
              <p:nvPr/>
            </p:nvSpPr>
            <p:spPr bwMode="auto">
              <a:xfrm>
                <a:off x="1836408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8" name="îŝlîḍê">
                <a:extLst>
                  <a:ext uri="{FF2B5EF4-FFF2-40B4-BE49-F238E27FC236}">
                    <a16:creationId xmlns:a16="http://schemas.microsoft.com/office/drawing/2014/main" id="{8E8B841A-4617-4675-B001-595DD1603DB2}"/>
                  </a:ext>
                </a:extLst>
              </p:cNvPr>
              <p:cNvSpPr/>
              <p:nvPr/>
            </p:nvSpPr>
            <p:spPr bwMode="auto">
              <a:xfrm>
                <a:off x="1964473" y="2188383"/>
                <a:ext cx="126522" cy="69433"/>
              </a:xfrm>
              <a:custGeom>
                <a:avLst/>
                <a:gdLst>
                  <a:gd name="T0" fmla="*/ 33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9" name="ïṧľíḍê">
                <a:extLst>
                  <a:ext uri="{FF2B5EF4-FFF2-40B4-BE49-F238E27FC236}">
                    <a16:creationId xmlns:a16="http://schemas.microsoft.com/office/drawing/2014/main" id="{2CB18205-918D-4ED7-9F66-1F23B307862B}"/>
                  </a:ext>
                </a:extLst>
              </p:cNvPr>
              <p:cNvSpPr/>
              <p:nvPr/>
            </p:nvSpPr>
            <p:spPr bwMode="auto">
              <a:xfrm>
                <a:off x="2095623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0" name="ïṩḷîḑè">
                <a:extLst>
                  <a:ext uri="{FF2B5EF4-FFF2-40B4-BE49-F238E27FC236}">
                    <a16:creationId xmlns:a16="http://schemas.microsoft.com/office/drawing/2014/main" id="{B7C3D1EB-7EA3-4AAB-A871-3258EC45E333}"/>
                  </a:ext>
                </a:extLst>
              </p:cNvPr>
              <p:cNvSpPr/>
              <p:nvPr/>
            </p:nvSpPr>
            <p:spPr bwMode="auto">
              <a:xfrm>
                <a:off x="2226774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1" name="iṩḷïdé">
                <a:extLst>
                  <a:ext uri="{FF2B5EF4-FFF2-40B4-BE49-F238E27FC236}">
                    <a16:creationId xmlns:a16="http://schemas.microsoft.com/office/drawing/2014/main" id="{4ACAE91A-EE04-4B68-A9A4-3F19FC55BF58}"/>
                  </a:ext>
                </a:extLst>
              </p:cNvPr>
              <p:cNvSpPr/>
              <p:nvPr/>
            </p:nvSpPr>
            <p:spPr bwMode="auto">
              <a:xfrm>
                <a:off x="1785491" y="2271702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2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2" name="išḷîďé">
                <a:extLst>
                  <a:ext uri="{FF2B5EF4-FFF2-40B4-BE49-F238E27FC236}">
                    <a16:creationId xmlns:a16="http://schemas.microsoft.com/office/drawing/2014/main" id="{EAD9F36E-954A-40C5-8601-DB34DCA16397}"/>
                  </a:ext>
                </a:extLst>
              </p:cNvPr>
              <p:cNvSpPr/>
              <p:nvPr/>
            </p:nvSpPr>
            <p:spPr bwMode="auto">
              <a:xfrm>
                <a:off x="1916641" y="2271702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2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3" y="19"/>
                    </a:cubicBezTo>
                    <a:cubicBezTo>
                      <a:pt x="21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3" name="iSļíḋé">
                <a:extLst>
                  <a:ext uri="{FF2B5EF4-FFF2-40B4-BE49-F238E27FC236}">
                    <a16:creationId xmlns:a16="http://schemas.microsoft.com/office/drawing/2014/main" id="{16C84859-4046-4458-9914-6BD995573DE4}"/>
                  </a:ext>
                </a:extLst>
              </p:cNvPr>
              <p:cNvSpPr/>
              <p:nvPr/>
            </p:nvSpPr>
            <p:spPr bwMode="auto">
              <a:xfrm>
                <a:off x="2050878" y="2271702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4" name="îṥḻiḑê">
                <a:extLst>
                  <a:ext uri="{FF2B5EF4-FFF2-40B4-BE49-F238E27FC236}">
                    <a16:creationId xmlns:a16="http://schemas.microsoft.com/office/drawing/2014/main" id="{85A6C4FE-B6BE-4C05-8AE1-2062AEA8D2FC}"/>
                  </a:ext>
                </a:extLst>
              </p:cNvPr>
              <p:cNvSpPr/>
              <p:nvPr/>
            </p:nvSpPr>
            <p:spPr bwMode="auto">
              <a:xfrm>
                <a:off x="2183571" y="2271702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5" name="í$ļíďè">
                <a:extLst>
                  <a:ext uri="{FF2B5EF4-FFF2-40B4-BE49-F238E27FC236}">
                    <a16:creationId xmlns:a16="http://schemas.microsoft.com/office/drawing/2014/main" id="{088EA9DC-0E75-41D9-9D88-085F88284699}"/>
                  </a:ext>
                </a:extLst>
              </p:cNvPr>
              <p:cNvSpPr/>
              <p:nvPr/>
            </p:nvSpPr>
            <p:spPr bwMode="auto">
              <a:xfrm>
                <a:off x="1868810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2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2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4" y="19"/>
                      <a:pt x="12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6" name="íṧlîďè">
                <a:extLst>
                  <a:ext uri="{FF2B5EF4-FFF2-40B4-BE49-F238E27FC236}">
                    <a16:creationId xmlns:a16="http://schemas.microsoft.com/office/drawing/2014/main" id="{6EBA2E48-0336-47A3-A832-01DF9A60A830}"/>
                  </a:ext>
                </a:extLst>
              </p:cNvPr>
              <p:cNvSpPr/>
              <p:nvPr/>
            </p:nvSpPr>
            <p:spPr bwMode="auto">
              <a:xfrm>
                <a:off x="2004590" y="2356565"/>
                <a:ext cx="126522" cy="69433"/>
              </a:xfrm>
              <a:custGeom>
                <a:avLst/>
                <a:gdLst>
                  <a:gd name="T0" fmla="*/ 33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2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4" y="19"/>
                      <a:pt x="12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7" name="íšļîḍè">
                <a:extLst>
                  <a:ext uri="{FF2B5EF4-FFF2-40B4-BE49-F238E27FC236}">
                    <a16:creationId xmlns:a16="http://schemas.microsoft.com/office/drawing/2014/main" id="{740E49FC-AFA7-4291-9B42-7F9DE1372051}"/>
                  </a:ext>
                </a:extLst>
              </p:cNvPr>
              <p:cNvSpPr/>
              <p:nvPr/>
            </p:nvSpPr>
            <p:spPr bwMode="auto">
              <a:xfrm>
                <a:off x="2135740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2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1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8" name="isḻïdè">
                <a:extLst>
                  <a:ext uri="{FF2B5EF4-FFF2-40B4-BE49-F238E27FC236}">
                    <a16:creationId xmlns:a16="http://schemas.microsoft.com/office/drawing/2014/main" id="{BEC41EBF-EAAE-4805-AC36-DE4654D8E2B4}"/>
                  </a:ext>
                </a:extLst>
              </p:cNvPr>
              <p:cNvSpPr/>
              <p:nvPr/>
            </p:nvSpPr>
            <p:spPr bwMode="auto">
              <a:xfrm>
                <a:off x="1817893" y="2439884"/>
                <a:ext cx="135779" cy="74061"/>
              </a:xfrm>
              <a:custGeom>
                <a:avLst/>
                <a:gdLst>
                  <a:gd name="T0" fmla="*/ 33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3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3" y="10"/>
                    </a:moveTo>
                    <a:cubicBezTo>
                      <a:pt x="37" y="5"/>
                      <a:pt x="32" y="0"/>
                      <a:pt x="24" y="0"/>
                    </a:cubicBezTo>
                    <a:cubicBezTo>
                      <a:pt x="16" y="0"/>
                      <a:pt x="6" y="5"/>
                      <a:pt x="3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9" name="íṣlidê">
                <a:extLst>
                  <a:ext uri="{FF2B5EF4-FFF2-40B4-BE49-F238E27FC236}">
                    <a16:creationId xmlns:a16="http://schemas.microsoft.com/office/drawing/2014/main" id="{C32D0418-1820-4F9A-9C55-45E680C5F201}"/>
                  </a:ext>
                </a:extLst>
              </p:cNvPr>
              <p:cNvSpPr/>
              <p:nvPr/>
            </p:nvSpPr>
            <p:spPr bwMode="auto">
              <a:xfrm>
                <a:off x="1953672" y="2439884"/>
                <a:ext cx="134237" cy="74061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5"/>
                      <a:pt x="32" y="0"/>
                      <a:pt x="24" y="0"/>
                    </a:cubicBezTo>
                    <a:cubicBezTo>
                      <a:pt x="16" y="0"/>
                      <a:pt x="6" y="5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1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0" name="îşḻïḑê">
                <a:extLst>
                  <a:ext uri="{FF2B5EF4-FFF2-40B4-BE49-F238E27FC236}">
                    <a16:creationId xmlns:a16="http://schemas.microsoft.com/office/drawing/2014/main" id="{1F891DDD-9901-4F6B-B998-7D4E28C74010}"/>
                  </a:ext>
                </a:extLst>
              </p:cNvPr>
              <p:cNvSpPr/>
              <p:nvPr/>
            </p:nvSpPr>
            <p:spPr bwMode="auto">
              <a:xfrm>
                <a:off x="2090995" y="2439884"/>
                <a:ext cx="132693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2 w 36"/>
                  <a:gd name="T5" fmla="*/ 10 h 20"/>
                  <a:gd name="T6" fmla="*/ 1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5" y="5"/>
                      <a:pt x="2" y="10"/>
                    </a:cubicBezTo>
                    <a:cubicBezTo>
                      <a:pt x="0" y="16"/>
                      <a:pt x="4" y="20"/>
                      <a:pt x="12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1" name="išḻîḋe">
                <a:extLst>
                  <a:ext uri="{FF2B5EF4-FFF2-40B4-BE49-F238E27FC236}">
                    <a16:creationId xmlns:a16="http://schemas.microsoft.com/office/drawing/2014/main" id="{668789CE-91B3-4E36-A16A-7DBB8C7A1CAB}"/>
                  </a:ext>
                </a:extLst>
              </p:cNvPr>
              <p:cNvSpPr/>
              <p:nvPr/>
            </p:nvSpPr>
            <p:spPr bwMode="auto">
              <a:xfrm>
                <a:off x="1766976" y="2532461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3" y="0"/>
                      <a:pt x="24" y="0"/>
                    </a:cubicBezTo>
                    <a:cubicBezTo>
                      <a:pt x="16" y="0"/>
                      <a:pt x="6" y="4"/>
                      <a:pt x="3" y="10"/>
                    </a:cubicBezTo>
                    <a:cubicBezTo>
                      <a:pt x="0" y="15"/>
                      <a:pt x="4" y="20"/>
                      <a:pt x="13" y="20"/>
                    </a:cubicBezTo>
                    <a:cubicBezTo>
                      <a:pt x="21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2" name="íṥlidè">
                <a:extLst>
                  <a:ext uri="{FF2B5EF4-FFF2-40B4-BE49-F238E27FC236}">
                    <a16:creationId xmlns:a16="http://schemas.microsoft.com/office/drawing/2014/main" id="{5A282EC7-ABDE-4C67-A1C1-7F45E5D3CA31}"/>
                  </a:ext>
                </a:extLst>
              </p:cNvPr>
              <p:cNvSpPr/>
              <p:nvPr/>
            </p:nvSpPr>
            <p:spPr bwMode="auto">
              <a:xfrm>
                <a:off x="1905841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4 w 36"/>
                  <a:gd name="T3" fmla="*/ 0 h 20"/>
                  <a:gd name="T4" fmla="*/ 3 w 36"/>
                  <a:gd name="T5" fmla="*/ 10 h 20"/>
                  <a:gd name="T6" fmla="*/ 1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5"/>
                      <a:pt x="4" y="20"/>
                      <a:pt x="12" y="20"/>
                    </a:cubicBezTo>
                    <a:cubicBezTo>
                      <a:pt x="21" y="20"/>
                      <a:pt x="30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3" name="iş1íďé">
                <a:extLst>
                  <a:ext uri="{FF2B5EF4-FFF2-40B4-BE49-F238E27FC236}">
                    <a16:creationId xmlns:a16="http://schemas.microsoft.com/office/drawing/2014/main" id="{94D4C0D1-EDD8-46A5-B88C-3D3D379A5327}"/>
                  </a:ext>
                </a:extLst>
              </p:cNvPr>
              <p:cNvSpPr/>
              <p:nvPr/>
            </p:nvSpPr>
            <p:spPr bwMode="auto">
              <a:xfrm>
                <a:off x="2040077" y="2532461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3" y="0"/>
                      <a:pt x="24" y="0"/>
                    </a:cubicBezTo>
                    <a:cubicBezTo>
                      <a:pt x="16" y="0"/>
                      <a:pt x="6" y="4"/>
                      <a:pt x="3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4" name="ïṥ1ídè">
                <a:extLst>
                  <a:ext uri="{FF2B5EF4-FFF2-40B4-BE49-F238E27FC236}">
                    <a16:creationId xmlns:a16="http://schemas.microsoft.com/office/drawing/2014/main" id="{23244C23-C9E1-4D41-A5B0-759F2DD94690}"/>
                  </a:ext>
                </a:extLst>
              </p:cNvPr>
              <p:cNvSpPr/>
              <p:nvPr/>
            </p:nvSpPr>
            <p:spPr bwMode="auto">
              <a:xfrm>
                <a:off x="1850295" y="2623494"/>
                <a:ext cx="138865" cy="72519"/>
              </a:xfrm>
              <a:custGeom>
                <a:avLst/>
                <a:gdLst>
                  <a:gd name="T0" fmla="*/ 35 w 38"/>
                  <a:gd name="T1" fmla="*/ 10 h 20"/>
                  <a:gd name="T2" fmla="*/ 25 w 38"/>
                  <a:gd name="T3" fmla="*/ 0 h 20"/>
                  <a:gd name="T4" fmla="*/ 4 w 38"/>
                  <a:gd name="T5" fmla="*/ 10 h 20"/>
                  <a:gd name="T6" fmla="*/ 14 w 38"/>
                  <a:gd name="T7" fmla="*/ 20 h 20"/>
                  <a:gd name="T8" fmla="*/ 35 w 38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0">
                    <a:moveTo>
                      <a:pt x="35" y="10"/>
                    </a:moveTo>
                    <a:cubicBezTo>
                      <a:pt x="38" y="4"/>
                      <a:pt x="34" y="0"/>
                      <a:pt x="25" y="0"/>
                    </a:cubicBezTo>
                    <a:cubicBezTo>
                      <a:pt x="16" y="0"/>
                      <a:pt x="7" y="4"/>
                      <a:pt x="4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2" y="16"/>
                      <a:pt x="35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5" name="ïṩļiḋê">
                <a:extLst>
                  <a:ext uri="{FF2B5EF4-FFF2-40B4-BE49-F238E27FC236}">
                    <a16:creationId xmlns:a16="http://schemas.microsoft.com/office/drawing/2014/main" id="{D3CBA783-7068-416D-9CE5-D984CD621ABE}"/>
                  </a:ext>
                </a:extLst>
              </p:cNvPr>
              <p:cNvSpPr/>
              <p:nvPr/>
            </p:nvSpPr>
            <p:spPr bwMode="auto">
              <a:xfrm>
                <a:off x="1993789" y="2623494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6" name="îṩlîḑè">
                <a:extLst>
                  <a:ext uri="{FF2B5EF4-FFF2-40B4-BE49-F238E27FC236}">
                    <a16:creationId xmlns:a16="http://schemas.microsoft.com/office/drawing/2014/main" id="{72E746A4-E5A6-4201-BAFE-15E6F2A39049}"/>
                  </a:ext>
                </a:extLst>
              </p:cNvPr>
              <p:cNvSpPr/>
              <p:nvPr/>
            </p:nvSpPr>
            <p:spPr bwMode="auto">
              <a:xfrm>
                <a:off x="1942872" y="2714528"/>
                <a:ext cx="137323" cy="80233"/>
              </a:xfrm>
              <a:custGeom>
                <a:avLst/>
                <a:gdLst>
                  <a:gd name="T0" fmla="*/ 35 w 38"/>
                  <a:gd name="T1" fmla="*/ 11 h 22"/>
                  <a:gd name="T2" fmla="*/ 24 w 38"/>
                  <a:gd name="T3" fmla="*/ 0 h 22"/>
                  <a:gd name="T4" fmla="*/ 3 w 38"/>
                  <a:gd name="T5" fmla="*/ 11 h 22"/>
                  <a:gd name="T6" fmla="*/ 13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4" y="22"/>
                      <a:pt x="13" y="22"/>
                    </a:cubicBezTo>
                    <a:cubicBezTo>
                      <a:pt x="22" y="22"/>
                      <a:pt x="31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7" name="îṣḷîḋé">
                <a:extLst>
                  <a:ext uri="{FF2B5EF4-FFF2-40B4-BE49-F238E27FC236}">
                    <a16:creationId xmlns:a16="http://schemas.microsoft.com/office/drawing/2014/main" id="{52CDA68B-6281-479D-B476-51E9B1469B4B}"/>
                  </a:ext>
                </a:extLst>
              </p:cNvPr>
              <p:cNvSpPr/>
              <p:nvPr/>
            </p:nvSpPr>
            <p:spPr bwMode="auto">
              <a:xfrm>
                <a:off x="2084823" y="2714528"/>
                <a:ext cx="134237" cy="80233"/>
              </a:xfrm>
              <a:custGeom>
                <a:avLst/>
                <a:gdLst>
                  <a:gd name="T0" fmla="*/ 34 w 37"/>
                  <a:gd name="T1" fmla="*/ 11 h 22"/>
                  <a:gd name="T2" fmla="*/ 24 w 37"/>
                  <a:gd name="T3" fmla="*/ 0 h 22"/>
                  <a:gd name="T4" fmla="*/ 3 w 37"/>
                  <a:gd name="T5" fmla="*/ 11 h 22"/>
                  <a:gd name="T6" fmla="*/ 1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7" y="5"/>
                      <a:pt x="33" y="0"/>
                      <a:pt x="24" y="0"/>
                    </a:cubicBezTo>
                    <a:cubicBezTo>
                      <a:pt x="15" y="0"/>
                      <a:pt x="6" y="5"/>
                      <a:pt x="3" y="11"/>
                    </a:cubicBezTo>
                    <a:cubicBezTo>
                      <a:pt x="0" y="17"/>
                      <a:pt x="4" y="22"/>
                      <a:pt x="13" y="22"/>
                    </a:cubicBezTo>
                    <a:cubicBezTo>
                      <a:pt x="22" y="22"/>
                      <a:pt x="31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8" name="isļiďe">
                <a:extLst>
                  <a:ext uri="{FF2B5EF4-FFF2-40B4-BE49-F238E27FC236}">
                    <a16:creationId xmlns:a16="http://schemas.microsoft.com/office/drawing/2014/main" id="{4BCDF623-1012-4D71-8EF0-04D53A2436F8}"/>
                  </a:ext>
                </a:extLst>
              </p:cNvPr>
              <p:cNvSpPr/>
              <p:nvPr/>
            </p:nvSpPr>
            <p:spPr bwMode="auto">
              <a:xfrm>
                <a:off x="2033905" y="2810191"/>
                <a:ext cx="137323" cy="80233"/>
              </a:xfrm>
              <a:custGeom>
                <a:avLst/>
                <a:gdLst>
                  <a:gd name="T0" fmla="*/ 35 w 38"/>
                  <a:gd name="T1" fmla="*/ 11 h 22"/>
                  <a:gd name="T2" fmla="*/ 25 w 38"/>
                  <a:gd name="T3" fmla="*/ 0 h 22"/>
                  <a:gd name="T4" fmla="*/ 3 w 38"/>
                  <a:gd name="T5" fmla="*/ 11 h 22"/>
                  <a:gd name="T6" fmla="*/ 13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4" y="22"/>
                      <a:pt x="13" y="22"/>
                    </a:cubicBezTo>
                    <a:cubicBezTo>
                      <a:pt x="22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9" name="ïs1íďe">
                <a:extLst>
                  <a:ext uri="{FF2B5EF4-FFF2-40B4-BE49-F238E27FC236}">
                    <a16:creationId xmlns:a16="http://schemas.microsoft.com/office/drawing/2014/main" id="{43BB59D5-5E44-4F65-BA64-9ADCB6C26775}"/>
                  </a:ext>
                </a:extLst>
              </p:cNvPr>
              <p:cNvSpPr/>
              <p:nvPr/>
            </p:nvSpPr>
            <p:spPr bwMode="auto">
              <a:xfrm>
                <a:off x="2718973" y="1734757"/>
                <a:ext cx="114178" cy="58632"/>
              </a:xfrm>
              <a:custGeom>
                <a:avLst/>
                <a:gdLst>
                  <a:gd name="T0" fmla="*/ 29 w 31"/>
                  <a:gd name="T1" fmla="*/ 8 h 16"/>
                  <a:gd name="T2" fmla="*/ 20 w 31"/>
                  <a:gd name="T3" fmla="*/ 0 h 16"/>
                  <a:gd name="T4" fmla="*/ 2 w 31"/>
                  <a:gd name="T5" fmla="*/ 8 h 16"/>
                  <a:gd name="T6" fmla="*/ 12 w 31"/>
                  <a:gd name="T7" fmla="*/ 16 h 16"/>
                  <a:gd name="T8" fmla="*/ 29 w 31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29" y="8"/>
                    </a:moveTo>
                    <a:cubicBezTo>
                      <a:pt x="31" y="3"/>
                      <a:pt x="27" y="0"/>
                      <a:pt x="20" y="0"/>
                    </a:cubicBezTo>
                    <a:cubicBezTo>
                      <a:pt x="12" y="0"/>
                      <a:pt x="4" y="3"/>
                      <a:pt x="2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19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0" name="ïŝḻîḑê">
                <a:extLst>
                  <a:ext uri="{FF2B5EF4-FFF2-40B4-BE49-F238E27FC236}">
                    <a16:creationId xmlns:a16="http://schemas.microsoft.com/office/drawing/2014/main" id="{BF7B9721-7B51-49D0-A622-6920D99566A8}"/>
                  </a:ext>
                </a:extLst>
              </p:cNvPr>
              <p:cNvSpPr/>
              <p:nvPr/>
            </p:nvSpPr>
            <p:spPr bwMode="auto">
              <a:xfrm>
                <a:off x="2683486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2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1" name="î$ľíḑé">
                <a:extLst>
                  <a:ext uri="{FF2B5EF4-FFF2-40B4-BE49-F238E27FC236}">
                    <a16:creationId xmlns:a16="http://schemas.microsoft.com/office/drawing/2014/main" id="{371F7B21-4094-4101-BFB8-BED98943635C}"/>
                  </a:ext>
                </a:extLst>
              </p:cNvPr>
              <p:cNvSpPr/>
              <p:nvPr/>
            </p:nvSpPr>
            <p:spPr bwMode="auto">
              <a:xfrm>
                <a:off x="2646455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2" name="ïṥľîḓè">
                <a:extLst>
                  <a:ext uri="{FF2B5EF4-FFF2-40B4-BE49-F238E27FC236}">
                    <a16:creationId xmlns:a16="http://schemas.microsoft.com/office/drawing/2014/main" id="{2B66AA0B-EE39-43C3-B3FC-063409E45BFC}"/>
                  </a:ext>
                </a:extLst>
              </p:cNvPr>
              <p:cNvSpPr/>
              <p:nvPr/>
            </p:nvSpPr>
            <p:spPr bwMode="auto">
              <a:xfrm>
                <a:off x="2609425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20 w 32"/>
                  <a:gd name="T3" fmla="*/ 0 h 17"/>
                  <a:gd name="T4" fmla="*/ 2 w 32"/>
                  <a:gd name="T5" fmla="*/ 8 h 17"/>
                  <a:gd name="T6" fmla="*/ 12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4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3" name="î$líḋê">
                <a:extLst>
                  <a:ext uri="{FF2B5EF4-FFF2-40B4-BE49-F238E27FC236}">
                    <a16:creationId xmlns:a16="http://schemas.microsoft.com/office/drawing/2014/main" id="{3C6F4C05-26BA-4A07-8D47-6FB7DA92B8F4}"/>
                  </a:ext>
                </a:extLst>
              </p:cNvPr>
              <p:cNvSpPr/>
              <p:nvPr/>
            </p:nvSpPr>
            <p:spPr bwMode="auto">
              <a:xfrm>
                <a:off x="2569308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4" name="ïşļíḍe">
                <a:extLst>
                  <a:ext uri="{FF2B5EF4-FFF2-40B4-BE49-F238E27FC236}">
                    <a16:creationId xmlns:a16="http://schemas.microsoft.com/office/drawing/2014/main" id="{3E599A55-5AD8-40B4-86CF-160DD7AB31B8}"/>
                  </a:ext>
                </a:extLst>
              </p:cNvPr>
              <p:cNvSpPr/>
              <p:nvPr/>
            </p:nvSpPr>
            <p:spPr bwMode="auto">
              <a:xfrm>
                <a:off x="2529192" y="2108150"/>
                <a:ext cx="124979" cy="64804"/>
              </a:xfrm>
              <a:custGeom>
                <a:avLst/>
                <a:gdLst>
                  <a:gd name="T0" fmla="*/ 32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3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34" y="4"/>
                      <a:pt x="29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5" name="ïsļíḓê">
                <a:extLst>
                  <a:ext uri="{FF2B5EF4-FFF2-40B4-BE49-F238E27FC236}">
                    <a16:creationId xmlns:a16="http://schemas.microsoft.com/office/drawing/2014/main" id="{EFA94DFC-CB4F-4638-AE9C-74EF38970DB4}"/>
                  </a:ext>
                </a:extLst>
              </p:cNvPr>
              <p:cNvSpPr/>
              <p:nvPr/>
            </p:nvSpPr>
            <p:spPr bwMode="auto">
              <a:xfrm>
                <a:off x="2489075" y="2188383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2 w 34"/>
                  <a:gd name="T3" fmla="*/ 0 h 19"/>
                  <a:gd name="T4" fmla="*/ 3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6" name="îS1ide">
                <a:extLst>
                  <a:ext uri="{FF2B5EF4-FFF2-40B4-BE49-F238E27FC236}">
                    <a16:creationId xmlns:a16="http://schemas.microsoft.com/office/drawing/2014/main" id="{A7B46E87-5F11-45FF-999C-F33BC715CE35}"/>
                  </a:ext>
                </a:extLst>
              </p:cNvPr>
              <p:cNvSpPr/>
              <p:nvPr/>
            </p:nvSpPr>
            <p:spPr bwMode="auto">
              <a:xfrm>
                <a:off x="2448958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2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2" y="9"/>
                    </a:cubicBezTo>
                    <a:cubicBezTo>
                      <a:pt x="0" y="14"/>
                      <a:pt x="4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7" name="íšľïdè">
                <a:extLst>
                  <a:ext uri="{FF2B5EF4-FFF2-40B4-BE49-F238E27FC236}">
                    <a16:creationId xmlns:a16="http://schemas.microsoft.com/office/drawing/2014/main" id="{100C6C2A-DBAD-4560-8103-3642DDE1BCAF}"/>
                  </a:ext>
                </a:extLst>
              </p:cNvPr>
              <p:cNvSpPr/>
              <p:nvPr/>
            </p:nvSpPr>
            <p:spPr bwMode="auto">
              <a:xfrm>
                <a:off x="2405756" y="2356565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8" name="ïslïḑé">
                <a:extLst>
                  <a:ext uri="{FF2B5EF4-FFF2-40B4-BE49-F238E27FC236}">
                    <a16:creationId xmlns:a16="http://schemas.microsoft.com/office/drawing/2014/main" id="{80FCC33F-654D-4E5E-9642-D57819DD9B92}"/>
                  </a:ext>
                </a:extLst>
              </p:cNvPr>
              <p:cNvSpPr/>
              <p:nvPr/>
            </p:nvSpPr>
            <p:spPr bwMode="auto">
              <a:xfrm>
                <a:off x="2361010" y="2439884"/>
                <a:ext cx="132693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6" y="5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9" name="ïṡľiḓé">
                <a:extLst>
                  <a:ext uri="{FF2B5EF4-FFF2-40B4-BE49-F238E27FC236}">
                    <a16:creationId xmlns:a16="http://schemas.microsoft.com/office/drawing/2014/main" id="{7604D924-6325-4404-90E2-805F079076F7}"/>
                  </a:ext>
                </a:extLst>
              </p:cNvPr>
              <p:cNvSpPr/>
              <p:nvPr/>
            </p:nvSpPr>
            <p:spPr bwMode="auto">
              <a:xfrm>
                <a:off x="2317807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5" y="4"/>
                      <a:pt x="3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0" name="isḷíḑè">
                <a:extLst>
                  <a:ext uri="{FF2B5EF4-FFF2-40B4-BE49-F238E27FC236}">
                    <a16:creationId xmlns:a16="http://schemas.microsoft.com/office/drawing/2014/main" id="{3AA8911A-0B7B-459B-9868-10E7C9E54A68}"/>
                  </a:ext>
                </a:extLst>
              </p:cNvPr>
              <p:cNvSpPr/>
              <p:nvPr/>
            </p:nvSpPr>
            <p:spPr bwMode="auto">
              <a:xfrm>
                <a:off x="2269977" y="2623494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4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2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1" name="iṣḷîdê">
                <a:extLst>
                  <a:ext uri="{FF2B5EF4-FFF2-40B4-BE49-F238E27FC236}">
                    <a16:creationId xmlns:a16="http://schemas.microsoft.com/office/drawing/2014/main" id="{2B414240-55C1-4E87-BD6F-D58F687654A9}"/>
                  </a:ext>
                </a:extLst>
              </p:cNvPr>
              <p:cNvSpPr/>
              <p:nvPr/>
            </p:nvSpPr>
            <p:spPr bwMode="auto">
              <a:xfrm>
                <a:off x="2223688" y="2714528"/>
                <a:ext cx="137323" cy="80233"/>
              </a:xfrm>
              <a:custGeom>
                <a:avLst/>
                <a:gdLst>
                  <a:gd name="T0" fmla="*/ 35 w 38"/>
                  <a:gd name="T1" fmla="*/ 11 h 22"/>
                  <a:gd name="T2" fmla="*/ 24 w 38"/>
                  <a:gd name="T3" fmla="*/ 0 h 22"/>
                  <a:gd name="T4" fmla="*/ 3 w 38"/>
                  <a:gd name="T5" fmla="*/ 11 h 22"/>
                  <a:gd name="T6" fmla="*/ 1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2" name="iŝ1iḋè">
                <a:extLst>
                  <a:ext uri="{FF2B5EF4-FFF2-40B4-BE49-F238E27FC236}">
                    <a16:creationId xmlns:a16="http://schemas.microsoft.com/office/drawing/2014/main" id="{82A30F16-1006-42C4-8ABE-1F1EF8EA97D9}"/>
                  </a:ext>
                </a:extLst>
              </p:cNvPr>
              <p:cNvSpPr/>
              <p:nvPr/>
            </p:nvSpPr>
            <p:spPr bwMode="auto">
              <a:xfrm>
                <a:off x="2175856" y="2810191"/>
                <a:ext cx="138865" cy="80233"/>
              </a:xfrm>
              <a:custGeom>
                <a:avLst/>
                <a:gdLst>
                  <a:gd name="T0" fmla="*/ 35 w 38"/>
                  <a:gd name="T1" fmla="*/ 11 h 22"/>
                  <a:gd name="T2" fmla="*/ 25 w 38"/>
                  <a:gd name="T3" fmla="*/ 0 h 22"/>
                  <a:gd name="T4" fmla="*/ 3 w 38"/>
                  <a:gd name="T5" fmla="*/ 11 h 22"/>
                  <a:gd name="T6" fmla="*/ 1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3" name="íṧḻiḓè">
                <a:extLst>
                  <a:ext uri="{FF2B5EF4-FFF2-40B4-BE49-F238E27FC236}">
                    <a16:creationId xmlns:a16="http://schemas.microsoft.com/office/drawing/2014/main" id="{37F7B32B-FA65-49B3-94A5-0EFFCA1C70FC}"/>
                  </a:ext>
                </a:extLst>
              </p:cNvPr>
              <p:cNvSpPr/>
              <p:nvPr/>
            </p:nvSpPr>
            <p:spPr bwMode="auto">
              <a:xfrm>
                <a:off x="2124940" y="2907396"/>
                <a:ext cx="141951" cy="84863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4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7" y="5"/>
                      <a:pt x="4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4" name="ïşļïḑè">
                <a:extLst>
                  <a:ext uri="{FF2B5EF4-FFF2-40B4-BE49-F238E27FC236}">
                    <a16:creationId xmlns:a16="http://schemas.microsoft.com/office/drawing/2014/main" id="{5FB231E7-EF0B-4CEC-BD41-1A206AE27537}"/>
                  </a:ext>
                </a:extLst>
              </p:cNvPr>
              <p:cNvSpPr/>
              <p:nvPr/>
            </p:nvSpPr>
            <p:spPr bwMode="auto">
              <a:xfrm>
                <a:off x="2074022" y="3010774"/>
                <a:ext cx="145037" cy="83319"/>
              </a:xfrm>
              <a:custGeom>
                <a:avLst/>
                <a:gdLst>
                  <a:gd name="T0" fmla="*/ 37 w 40"/>
                  <a:gd name="T1" fmla="*/ 11 h 23"/>
                  <a:gd name="T2" fmla="*/ 26 w 40"/>
                  <a:gd name="T3" fmla="*/ 0 h 23"/>
                  <a:gd name="T4" fmla="*/ 4 w 40"/>
                  <a:gd name="T5" fmla="*/ 11 h 23"/>
                  <a:gd name="T6" fmla="*/ 14 w 40"/>
                  <a:gd name="T7" fmla="*/ 23 h 23"/>
                  <a:gd name="T8" fmla="*/ 37 w 40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3">
                    <a:moveTo>
                      <a:pt x="37" y="11"/>
                    </a:moveTo>
                    <a:cubicBezTo>
                      <a:pt x="40" y="5"/>
                      <a:pt x="35" y="0"/>
                      <a:pt x="26" y="0"/>
                    </a:cubicBezTo>
                    <a:cubicBezTo>
                      <a:pt x="17" y="0"/>
                      <a:pt x="7" y="5"/>
                      <a:pt x="4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4" y="23"/>
                      <a:pt x="33" y="18"/>
                      <a:pt x="37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5" name="íṣlíḓe">
                <a:extLst>
                  <a:ext uri="{FF2B5EF4-FFF2-40B4-BE49-F238E27FC236}">
                    <a16:creationId xmlns:a16="http://schemas.microsoft.com/office/drawing/2014/main" id="{37903A3D-BFA4-47E0-9EE1-259213ACEC05}"/>
                  </a:ext>
                </a:extLst>
              </p:cNvPr>
              <p:cNvSpPr/>
              <p:nvPr/>
            </p:nvSpPr>
            <p:spPr bwMode="auto">
              <a:xfrm>
                <a:off x="2223688" y="3010774"/>
                <a:ext cx="141951" cy="83319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3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6" name="íşľïďè">
                <a:extLst>
                  <a:ext uri="{FF2B5EF4-FFF2-40B4-BE49-F238E27FC236}">
                    <a16:creationId xmlns:a16="http://schemas.microsoft.com/office/drawing/2014/main" id="{2892FA56-6BBA-4A06-B27B-2B3CB83F907C}"/>
                  </a:ext>
                </a:extLst>
              </p:cNvPr>
              <p:cNvSpPr/>
              <p:nvPr/>
            </p:nvSpPr>
            <p:spPr bwMode="auto">
              <a:xfrm>
                <a:off x="2368725" y="3010774"/>
                <a:ext cx="141951" cy="83319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3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4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7" name="î$1íḑê">
                <a:extLst>
                  <a:ext uri="{FF2B5EF4-FFF2-40B4-BE49-F238E27FC236}">
                    <a16:creationId xmlns:a16="http://schemas.microsoft.com/office/drawing/2014/main" id="{83F67F82-4281-43B5-9103-3B4EF44A2264}"/>
                  </a:ext>
                </a:extLst>
              </p:cNvPr>
              <p:cNvSpPr/>
              <p:nvPr/>
            </p:nvSpPr>
            <p:spPr bwMode="auto">
              <a:xfrm>
                <a:off x="2518390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24 w 38"/>
                  <a:gd name="T3" fmla="*/ 0 h 23"/>
                  <a:gd name="T4" fmla="*/ 2 w 38"/>
                  <a:gd name="T5" fmla="*/ 11 h 23"/>
                  <a:gd name="T6" fmla="*/ 14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5" y="0"/>
                      <a:pt x="5" y="5"/>
                      <a:pt x="2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8" name="îṣliḑê">
                <a:extLst>
                  <a:ext uri="{FF2B5EF4-FFF2-40B4-BE49-F238E27FC236}">
                    <a16:creationId xmlns:a16="http://schemas.microsoft.com/office/drawing/2014/main" id="{F4943FE3-A388-4737-8ECC-9765CF99828E}"/>
                  </a:ext>
                </a:extLst>
              </p:cNvPr>
              <p:cNvSpPr/>
              <p:nvPr/>
            </p:nvSpPr>
            <p:spPr bwMode="auto">
              <a:xfrm>
                <a:off x="2320893" y="3112609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25 w 39"/>
                  <a:gd name="T3" fmla="*/ 0 h 24"/>
                  <a:gd name="T4" fmla="*/ 3 w 39"/>
                  <a:gd name="T5" fmla="*/ 12 h 24"/>
                  <a:gd name="T6" fmla="*/ 1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6"/>
                      <a:pt x="34" y="0"/>
                      <a:pt x="25" y="0"/>
                    </a:cubicBezTo>
                    <a:cubicBezTo>
                      <a:pt x="16" y="0"/>
                      <a:pt x="6" y="6"/>
                      <a:pt x="3" y="12"/>
                    </a:cubicBezTo>
                    <a:cubicBezTo>
                      <a:pt x="0" y="19"/>
                      <a:pt x="5" y="24"/>
                      <a:pt x="14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9" name="ïSľíḍé">
                <a:extLst>
                  <a:ext uri="{FF2B5EF4-FFF2-40B4-BE49-F238E27FC236}">
                    <a16:creationId xmlns:a16="http://schemas.microsoft.com/office/drawing/2014/main" id="{DB3EF05B-15C9-4A8E-94F8-C9582B4A5CED}"/>
                  </a:ext>
                </a:extLst>
              </p:cNvPr>
              <p:cNvSpPr/>
              <p:nvPr/>
            </p:nvSpPr>
            <p:spPr bwMode="auto">
              <a:xfrm>
                <a:off x="2470560" y="3112609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25 w 39"/>
                  <a:gd name="T3" fmla="*/ 0 h 24"/>
                  <a:gd name="T4" fmla="*/ 3 w 39"/>
                  <a:gd name="T5" fmla="*/ 12 h 24"/>
                  <a:gd name="T6" fmla="*/ 1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6"/>
                      <a:pt x="34" y="0"/>
                      <a:pt x="25" y="0"/>
                    </a:cubicBezTo>
                    <a:cubicBezTo>
                      <a:pt x="15" y="0"/>
                      <a:pt x="6" y="6"/>
                      <a:pt x="3" y="12"/>
                    </a:cubicBezTo>
                    <a:cubicBezTo>
                      <a:pt x="0" y="19"/>
                      <a:pt x="5" y="24"/>
                      <a:pt x="14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0" name="ïś1íḋè">
                <a:extLst>
                  <a:ext uri="{FF2B5EF4-FFF2-40B4-BE49-F238E27FC236}">
                    <a16:creationId xmlns:a16="http://schemas.microsoft.com/office/drawing/2014/main" id="{6D1B8A93-401E-4163-ABC2-CBBE52F0A57A}"/>
                  </a:ext>
                </a:extLst>
              </p:cNvPr>
              <p:cNvSpPr/>
              <p:nvPr/>
            </p:nvSpPr>
            <p:spPr bwMode="auto">
              <a:xfrm>
                <a:off x="2620225" y="3112609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24 w 39"/>
                  <a:gd name="T3" fmla="*/ 0 h 24"/>
                  <a:gd name="T4" fmla="*/ 3 w 39"/>
                  <a:gd name="T5" fmla="*/ 12 h 24"/>
                  <a:gd name="T6" fmla="*/ 1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6"/>
                      <a:pt x="33" y="0"/>
                      <a:pt x="24" y="0"/>
                    </a:cubicBezTo>
                    <a:cubicBezTo>
                      <a:pt x="15" y="0"/>
                      <a:pt x="5" y="6"/>
                      <a:pt x="3" y="12"/>
                    </a:cubicBezTo>
                    <a:cubicBezTo>
                      <a:pt x="0" y="19"/>
                      <a:pt x="5" y="24"/>
                      <a:pt x="14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1" name="îšḻiďe">
                <a:extLst>
                  <a:ext uri="{FF2B5EF4-FFF2-40B4-BE49-F238E27FC236}">
                    <a16:creationId xmlns:a16="http://schemas.microsoft.com/office/drawing/2014/main" id="{019504A6-1A3C-488E-8CA4-5839CD6A73DC}"/>
                  </a:ext>
                </a:extLst>
              </p:cNvPr>
              <p:cNvSpPr/>
              <p:nvPr/>
            </p:nvSpPr>
            <p:spPr bwMode="auto">
              <a:xfrm>
                <a:off x="2573936" y="3222157"/>
                <a:ext cx="145037" cy="87948"/>
              </a:xfrm>
              <a:custGeom>
                <a:avLst/>
                <a:gdLst>
                  <a:gd name="T0" fmla="*/ 37 w 40"/>
                  <a:gd name="T1" fmla="*/ 12 h 24"/>
                  <a:gd name="T2" fmla="*/ 25 w 40"/>
                  <a:gd name="T3" fmla="*/ 0 h 24"/>
                  <a:gd name="T4" fmla="*/ 3 w 40"/>
                  <a:gd name="T5" fmla="*/ 12 h 24"/>
                  <a:gd name="T6" fmla="*/ 15 w 40"/>
                  <a:gd name="T7" fmla="*/ 24 h 24"/>
                  <a:gd name="T8" fmla="*/ 37 w 40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4">
                    <a:moveTo>
                      <a:pt x="37" y="12"/>
                    </a:moveTo>
                    <a:cubicBezTo>
                      <a:pt x="40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2"/>
                    </a:cubicBezTo>
                    <a:cubicBezTo>
                      <a:pt x="0" y="19"/>
                      <a:pt x="6" y="24"/>
                      <a:pt x="15" y="24"/>
                    </a:cubicBezTo>
                    <a:cubicBezTo>
                      <a:pt x="24" y="24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2" name="iṩḻíḑè">
                <a:extLst>
                  <a:ext uri="{FF2B5EF4-FFF2-40B4-BE49-F238E27FC236}">
                    <a16:creationId xmlns:a16="http://schemas.microsoft.com/office/drawing/2014/main" id="{7E33AF54-78DD-43DF-9EA5-E57BC09DF3D7}"/>
                  </a:ext>
                </a:extLst>
              </p:cNvPr>
              <p:cNvSpPr/>
              <p:nvPr/>
            </p:nvSpPr>
            <p:spPr bwMode="auto">
              <a:xfrm>
                <a:off x="3029106" y="3222157"/>
                <a:ext cx="141951" cy="87948"/>
              </a:xfrm>
              <a:custGeom>
                <a:avLst/>
                <a:gdLst>
                  <a:gd name="T0" fmla="*/ 36 w 39"/>
                  <a:gd name="T1" fmla="*/ 12 h 24"/>
                  <a:gd name="T2" fmla="*/ 24 w 39"/>
                  <a:gd name="T3" fmla="*/ 0 h 24"/>
                  <a:gd name="T4" fmla="*/ 3 w 39"/>
                  <a:gd name="T5" fmla="*/ 12 h 24"/>
                  <a:gd name="T6" fmla="*/ 15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4"/>
                      <a:pt x="15" y="24"/>
                    </a:cubicBezTo>
                    <a:cubicBezTo>
                      <a:pt x="24" y="24"/>
                      <a:pt x="34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3" name="íśľîḋê">
                <a:extLst>
                  <a:ext uri="{FF2B5EF4-FFF2-40B4-BE49-F238E27FC236}">
                    <a16:creationId xmlns:a16="http://schemas.microsoft.com/office/drawing/2014/main" id="{BB8E0446-7877-4243-814C-C79CC7552BA9}"/>
                  </a:ext>
                </a:extLst>
              </p:cNvPr>
              <p:cNvSpPr/>
              <p:nvPr/>
            </p:nvSpPr>
            <p:spPr bwMode="auto">
              <a:xfrm>
                <a:off x="3183401" y="3222157"/>
                <a:ext cx="137323" cy="87948"/>
              </a:xfrm>
              <a:custGeom>
                <a:avLst/>
                <a:gdLst>
                  <a:gd name="T0" fmla="*/ 36 w 38"/>
                  <a:gd name="T1" fmla="*/ 12 h 24"/>
                  <a:gd name="T2" fmla="*/ 23 w 38"/>
                  <a:gd name="T3" fmla="*/ 0 h 24"/>
                  <a:gd name="T4" fmla="*/ 2 w 38"/>
                  <a:gd name="T5" fmla="*/ 12 h 24"/>
                  <a:gd name="T6" fmla="*/ 15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4" y="0"/>
                      <a:pt x="4" y="5"/>
                      <a:pt x="2" y="12"/>
                    </a:cubicBezTo>
                    <a:cubicBezTo>
                      <a:pt x="0" y="19"/>
                      <a:pt x="5" y="24"/>
                      <a:pt x="15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4" name="i$1íḑê">
                <a:extLst>
                  <a:ext uri="{FF2B5EF4-FFF2-40B4-BE49-F238E27FC236}">
                    <a16:creationId xmlns:a16="http://schemas.microsoft.com/office/drawing/2014/main" id="{339818F2-A069-408A-8D3D-8F76C971F4AB}"/>
                  </a:ext>
                </a:extLst>
              </p:cNvPr>
              <p:cNvSpPr/>
              <p:nvPr/>
            </p:nvSpPr>
            <p:spPr bwMode="auto">
              <a:xfrm>
                <a:off x="3333066" y="3222157"/>
                <a:ext cx="137323" cy="87948"/>
              </a:xfrm>
              <a:custGeom>
                <a:avLst/>
                <a:gdLst>
                  <a:gd name="T0" fmla="*/ 36 w 38"/>
                  <a:gd name="T1" fmla="*/ 12 h 24"/>
                  <a:gd name="T2" fmla="*/ 23 w 38"/>
                  <a:gd name="T3" fmla="*/ 0 h 24"/>
                  <a:gd name="T4" fmla="*/ 2 w 38"/>
                  <a:gd name="T5" fmla="*/ 12 h 24"/>
                  <a:gd name="T6" fmla="*/ 15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4" y="0"/>
                      <a:pt x="4" y="5"/>
                      <a:pt x="2" y="12"/>
                    </a:cubicBezTo>
                    <a:cubicBezTo>
                      <a:pt x="0" y="19"/>
                      <a:pt x="6" y="24"/>
                      <a:pt x="15" y="24"/>
                    </a:cubicBezTo>
                    <a:cubicBezTo>
                      <a:pt x="25" y="24"/>
                      <a:pt x="34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5" name="îšļïdé">
                <a:extLst>
                  <a:ext uri="{FF2B5EF4-FFF2-40B4-BE49-F238E27FC236}">
                    <a16:creationId xmlns:a16="http://schemas.microsoft.com/office/drawing/2014/main" id="{B2F2153D-DA32-4684-9616-8F61554FF928}"/>
                  </a:ext>
                </a:extLst>
              </p:cNvPr>
              <p:cNvSpPr/>
              <p:nvPr/>
            </p:nvSpPr>
            <p:spPr bwMode="auto">
              <a:xfrm>
                <a:off x="2683486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5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19"/>
                      <a:pt x="5" y="25"/>
                      <a:pt x="15" y="25"/>
                    </a:cubicBezTo>
                    <a:cubicBezTo>
                      <a:pt x="24" y="25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6" name="íś1îďé">
                <a:extLst>
                  <a:ext uri="{FF2B5EF4-FFF2-40B4-BE49-F238E27FC236}">
                    <a16:creationId xmlns:a16="http://schemas.microsoft.com/office/drawing/2014/main" id="{6C9841DB-C963-4C7E-90CE-1AD0AAFA097C}"/>
                  </a:ext>
                </a:extLst>
              </p:cNvPr>
              <p:cNvSpPr/>
              <p:nvPr/>
            </p:nvSpPr>
            <p:spPr bwMode="auto">
              <a:xfrm>
                <a:off x="2836237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4" y="0"/>
                      <a:pt x="24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19"/>
                      <a:pt x="5" y="25"/>
                      <a:pt x="15" y="25"/>
                    </a:cubicBezTo>
                    <a:cubicBezTo>
                      <a:pt x="24" y="25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7" name="iṥḷïde">
                <a:extLst>
                  <a:ext uri="{FF2B5EF4-FFF2-40B4-BE49-F238E27FC236}">
                    <a16:creationId xmlns:a16="http://schemas.microsoft.com/office/drawing/2014/main" id="{D5735211-2D20-454C-B18E-B2177770A495}"/>
                  </a:ext>
                </a:extLst>
              </p:cNvPr>
              <p:cNvSpPr/>
              <p:nvPr/>
            </p:nvSpPr>
            <p:spPr bwMode="auto">
              <a:xfrm>
                <a:off x="2988990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4" y="0"/>
                      <a:pt x="24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5" y="25"/>
                    </a:cubicBezTo>
                    <a:cubicBezTo>
                      <a:pt x="25" y="25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8" name="ïśľïde">
                <a:extLst>
                  <a:ext uri="{FF2B5EF4-FFF2-40B4-BE49-F238E27FC236}">
                    <a16:creationId xmlns:a16="http://schemas.microsoft.com/office/drawing/2014/main" id="{7D303C3C-43DC-4D53-945B-4D37B99B731E}"/>
                  </a:ext>
                </a:extLst>
              </p:cNvPr>
              <p:cNvSpPr/>
              <p:nvPr/>
            </p:nvSpPr>
            <p:spPr bwMode="auto">
              <a:xfrm>
                <a:off x="3143284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5" y="25"/>
                    </a:cubicBezTo>
                    <a:cubicBezTo>
                      <a:pt x="25" y="25"/>
                      <a:pt x="35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9" name="iṩ1idê">
                <a:extLst>
                  <a:ext uri="{FF2B5EF4-FFF2-40B4-BE49-F238E27FC236}">
                    <a16:creationId xmlns:a16="http://schemas.microsoft.com/office/drawing/2014/main" id="{FE403FF4-2130-468E-BE30-5A22783C7373}"/>
                  </a:ext>
                </a:extLst>
              </p:cNvPr>
              <p:cNvSpPr/>
              <p:nvPr/>
            </p:nvSpPr>
            <p:spPr bwMode="auto">
              <a:xfrm>
                <a:off x="3296035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6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6" y="25"/>
                    </a:cubicBezTo>
                    <a:cubicBezTo>
                      <a:pt x="25" y="25"/>
                      <a:pt x="35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0" name="íśliḍe">
                <a:extLst>
                  <a:ext uri="{FF2B5EF4-FFF2-40B4-BE49-F238E27FC236}">
                    <a16:creationId xmlns:a16="http://schemas.microsoft.com/office/drawing/2014/main" id="{D2673B6C-17E8-4504-97CF-15E2F59673DF}"/>
                  </a:ext>
                </a:extLst>
              </p:cNvPr>
              <p:cNvSpPr/>
              <p:nvPr/>
            </p:nvSpPr>
            <p:spPr bwMode="auto">
              <a:xfrm>
                <a:off x="3448788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3 w 39"/>
                  <a:gd name="T3" fmla="*/ 0 h 25"/>
                  <a:gd name="T4" fmla="*/ 3 w 39"/>
                  <a:gd name="T5" fmla="*/ 12 h 25"/>
                  <a:gd name="T6" fmla="*/ 16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3" y="0"/>
                      <a:pt x="23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6" y="25"/>
                    </a:cubicBezTo>
                    <a:cubicBezTo>
                      <a:pt x="25" y="25"/>
                      <a:pt x="35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1" name="î$ľíḋè">
                <a:extLst>
                  <a:ext uri="{FF2B5EF4-FFF2-40B4-BE49-F238E27FC236}">
                    <a16:creationId xmlns:a16="http://schemas.microsoft.com/office/drawing/2014/main" id="{9D600FDF-0E06-43D1-AEC4-4E0D713F1510}"/>
                  </a:ext>
                </a:extLst>
              </p:cNvPr>
              <p:cNvSpPr/>
              <p:nvPr/>
            </p:nvSpPr>
            <p:spPr bwMode="auto">
              <a:xfrm>
                <a:off x="2793035" y="3445885"/>
                <a:ext cx="145037" cy="94120"/>
              </a:xfrm>
              <a:custGeom>
                <a:avLst/>
                <a:gdLst>
                  <a:gd name="T0" fmla="*/ 37 w 40"/>
                  <a:gd name="T1" fmla="*/ 12 h 26"/>
                  <a:gd name="T2" fmla="*/ 25 w 40"/>
                  <a:gd name="T3" fmla="*/ 0 h 26"/>
                  <a:gd name="T4" fmla="*/ 3 w 40"/>
                  <a:gd name="T5" fmla="*/ 12 h 26"/>
                  <a:gd name="T6" fmla="*/ 15 w 40"/>
                  <a:gd name="T7" fmla="*/ 26 h 26"/>
                  <a:gd name="T8" fmla="*/ 37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7" y="12"/>
                    </a:moveTo>
                    <a:cubicBezTo>
                      <a:pt x="40" y="5"/>
                      <a:pt x="34" y="0"/>
                      <a:pt x="25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20"/>
                      <a:pt x="5" y="26"/>
                      <a:pt x="15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2" name="íŝľîḍé">
                <a:extLst>
                  <a:ext uri="{FF2B5EF4-FFF2-40B4-BE49-F238E27FC236}">
                    <a16:creationId xmlns:a16="http://schemas.microsoft.com/office/drawing/2014/main" id="{B6FFA30E-A4A0-44F7-8C56-ECCE329A4149}"/>
                  </a:ext>
                </a:extLst>
              </p:cNvPr>
              <p:cNvSpPr/>
              <p:nvPr/>
            </p:nvSpPr>
            <p:spPr bwMode="auto">
              <a:xfrm>
                <a:off x="2948873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24 w 39"/>
                  <a:gd name="T3" fmla="*/ 0 h 26"/>
                  <a:gd name="T4" fmla="*/ 2 w 39"/>
                  <a:gd name="T5" fmla="*/ 12 h 26"/>
                  <a:gd name="T6" fmla="*/ 15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9" y="5"/>
                      <a:pt x="34" y="0"/>
                      <a:pt x="24" y="0"/>
                    </a:cubicBezTo>
                    <a:cubicBezTo>
                      <a:pt x="15" y="0"/>
                      <a:pt x="5" y="5"/>
                      <a:pt x="2" y="12"/>
                    </a:cubicBezTo>
                    <a:cubicBezTo>
                      <a:pt x="0" y="20"/>
                      <a:pt x="5" y="26"/>
                      <a:pt x="15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3" name="i$1ïḋè">
                <a:extLst>
                  <a:ext uri="{FF2B5EF4-FFF2-40B4-BE49-F238E27FC236}">
                    <a16:creationId xmlns:a16="http://schemas.microsoft.com/office/drawing/2014/main" id="{D5A02657-792E-4DC3-A88B-2C0CE2DE1EF4}"/>
                  </a:ext>
                </a:extLst>
              </p:cNvPr>
              <p:cNvSpPr/>
              <p:nvPr/>
            </p:nvSpPr>
            <p:spPr bwMode="auto">
              <a:xfrm>
                <a:off x="3103168" y="3445885"/>
                <a:ext cx="145037" cy="94120"/>
              </a:xfrm>
              <a:custGeom>
                <a:avLst/>
                <a:gdLst>
                  <a:gd name="T0" fmla="*/ 38 w 40"/>
                  <a:gd name="T1" fmla="*/ 12 h 26"/>
                  <a:gd name="T2" fmla="*/ 25 w 40"/>
                  <a:gd name="T3" fmla="*/ 0 h 26"/>
                  <a:gd name="T4" fmla="*/ 3 w 40"/>
                  <a:gd name="T5" fmla="*/ 12 h 26"/>
                  <a:gd name="T6" fmla="*/ 16 w 40"/>
                  <a:gd name="T7" fmla="*/ 26 h 26"/>
                  <a:gd name="T8" fmla="*/ 38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8" y="12"/>
                    </a:moveTo>
                    <a:cubicBezTo>
                      <a:pt x="40" y="5"/>
                      <a:pt x="34" y="0"/>
                      <a:pt x="25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20"/>
                      <a:pt x="6" y="26"/>
                      <a:pt x="16" y="26"/>
                    </a:cubicBezTo>
                    <a:cubicBezTo>
                      <a:pt x="26" y="26"/>
                      <a:pt x="35" y="20"/>
                      <a:pt x="3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4" name="íŝḷíḓé">
                <a:extLst>
                  <a:ext uri="{FF2B5EF4-FFF2-40B4-BE49-F238E27FC236}">
                    <a16:creationId xmlns:a16="http://schemas.microsoft.com/office/drawing/2014/main" id="{4BE43FA8-BCCC-4F09-A7D9-4BB7A62B6EFF}"/>
                  </a:ext>
                </a:extLst>
              </p:cNvPr>
              <p:cNvSpPr/>
              <p:nvPr/>
            </p:nvSpPr>
            <p:spPr bwMode="auto">
              <a:xfrm>
                <a:off x="3259005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24 w 39"/>
                  <a:gd name="T3" fmla="*/ 0 h 26"/>
                  <a:gd name="T4" fmla="*/ 2 w 39"/>
                  <a:gd name="T5" fmla="*/ 12 h 26"/>
                  <a:gd name="T6" fmla="*/ 16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2" y="12"/>
                    </a:cubicBezTo>
                    <a:cubicBezTo>
                      <a:pt x="0" y="20"/>
                      <a:pt x="6" y="26"/>
                      <a:pt x="16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5" name="îSlidé">
                <a:extLst>
                  <a:ext uri="{FF2B5EF4-FFF2-40B4-BE49-F238E27FC236}">
                    <a16:creationId xmlns:a16="http://schemas.microsoft.com/office/drawing/2014/main" id="{8FC5AEB7-A3A4-454A-A2E6-5CEAB558BEDE}"/>
                  </a:ext>
                </a:extLst>
              </p:cNvPr>
              <p:cNvSpPr/>
              <p:nvPr/>
            </p:nvSpPr>
            <p:spPr bwMode="auto">
              <a:xfrm>
                <a:off x="3416385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23 w 39"/>
                  <a:gd name="T3" fmla="*/ 0 h 26"/>
                  <a:gd name="T4" fmla="*/ 2 w 39"/>
                  <a:gd name="T5" fmla="*/ 12 h 26"/>
                  <a:gd name="T6" fmla="*/ 16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9" y="5"/>
                      <a:pt x="33" y="0"/>
                      <a:pt x="23" y="0"/>
                    </a:cubicBezTo>
                    <a:cubicBezTo>
                      <a:pt x="14" y="0"/>
                      <a:pt x="4" y="5"/>
                      <a:pt x="2" y="12"/>
                    </a:cubicBezTo>
                    <a:cubicBezTo>
                      <a:pt x="0" y="20"/>
                      <a:pt x="6" y="26"/>
                      <a:pt x="16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6" name="íş1îḋê">
                <a:extLst>
                  <a:ext uri="{FF2B5EF4-FFF2-40B4-BE49-F238E27FC236}">
                    <a16:creationId xmlns:a16="http://schemas.microsoft.com/office/drawing/2014/main" id="{CD7D3A63-A1FF-48B1-8F30-B558C4CD544A}"/>
                  </a:ext>
                </a:extLst>
              </p:cNvPr>
              <p:cNvSpPr/>
              <p:nvPr/>
            </p:nvSpPr>
            <p:spPr bwMode="auto">
              <a:xfrm>
                <a:off x="3573766" y="3445885"/>
                <a:ext cx="137323" cy="94120"/>
              </a:xfrm>
              <a:custGeom>
                <a:avLst/>
                <a:gdLst>
                  <a:gd name="T0" fmla="*/ 36 w 38"/>
                  <a:gd name="T1" fmla="*/ 12 h 26"/>
                  <a:gd name="T2" fmla="*/ 23 w 38"/>
                  <a:gd name="T3" fmla="*/ 0 h 26"/>
                  <a:gd name="T4" fmla="*/ 2 w 38"/>
                  <a:gd name="T5" fmla="*/ 12 h 26"/>
                  <a:gd name="T6" fmla="*/ 15 w 38"/>
                  <a:gd name="T7" fmla="*/ 26 h 26"/>
                  <a:gd name="T8" fmla="*/ 36 w 38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6">
                    <a:moveTo>
                      <a:pt x="36" y="12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3" y="0"/>
                      <a:pt x="4" y="5"/>
                      <a:pt x="2" y="12"/>
                    </a:cubicBezTo>
                    <a:cubicBezTo>
                      <a:pt x="0" y="20"/>
                      <a:pt x="6" y="26"/>
                      <a:pt x="15" y="26"/>
                    </a:cubicBezTo>
                    <a:cubicBezTo>
                      <a:pt x="25" y="26"/>
                      <a:pt x="35" y="2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7" name="îṣ1iḑè">
                <a:extLst>
                  <a:ext uri="{FF2B5EF4-FFF2-40B4-BE49-F238E27FC236}">
                    <a16:creationId xmlns:a16="http://schemas.microsoft.com/office/drawing/2014/main" id="{71C51B19-6FFC-47B9-A766-1419913C3E99}"/>
                  </a:ext>
                </a:extLst>
              </p:cNvPr>
              <p:cNvSpPr/>
              <p:nvPr/>
            </p:nvSpPr>
            <p:spPr bwMode="auto">
              <a:xfrm>
                <a:off x="2587823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26 w 41"/>
                  <a:gd name="T3" fmla="*/ 0 h 27"/>
                  <a:gd name="T4" fmla="*/ 3 w 41"/>
                  <a:gd name="T5" fmla="*/ 14 h 27"/>
                  <a:gd name="T6" fmla="*/ 1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41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5" y="27"/>
                      <a:pt x="36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8" name="îṩḻídê">
                <a:extLst>
                  <a:ext uri="{FF2B5EF4-FFF2-40B4-BE49-F238E27FC236}">
                    <a16:creationId xmlns:a16="http://schemas.microsoft.com/office/drawing/2014/main" id="{59F5094A-0E67-4E75-A6AB-F52427B7FF13}"/>
                  </a:ext>
                </a:extLst>
              </p:cNvPr>
              <p:cNvSpPr/>
              <p:nvPr/>
            </p:nvSpPr>
            <p:spPr bwMode="auto">
              <a:xfrm>
                <a:off x="2748290" y="3558520"/>
                <a:ext cx="146580" cy="98749"/>
              </a:xfrm>
              <a:custGeom>
                <a:avLst/>
                <a:gdLst>
                  <a:gd name="T0" fmla="*/ 38 w 40"/>
                  <a:gd name="T1" fmla="*/ 14 h 27"/>
                  <a:gd name="T2" fmla="*/ 25 w 40"/>
                  <a:gd name="T3" fmla="*/ 0 h 27"/>
                  <a:gd name="T4" fmla="*/ 2 w 40"/>
                  <a:gd name="T5" fmla="*/ 14 h 27"/>
                  <a:gd name="T6" fmla="*/ 15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1"/>
                      <a:pt x="5" y="27"/>
                      <a:pt x="15" y="27"/>
                    </a:cubicBezTo>
                    <a:cubicBezTo>
                      <a:pt x="25" y="27"/>
                      <a:pt x="35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9" name="ïṣḻiḓé">
                <a:extLst>
                  <a:ext uri="{FF2B5EF4-FFF2-40B4-BE49-F238E27FC236}">
                    <a16:creationId xmlns:a16="http://schemas.microsoft.com/office/drawing/2014/main" id="{336507CB-B696-4FAA-91BA-884E2DB7322E}"/>
                  </a:ext>
                </a:extLst>
              </p:cNvPr>
              <p:cNvSpPr/>
              <p:nvPr/>
            </p:nvSpPr>
            <p:spPr bwMode="auto">
              <a:xfrm>
                <a:off x="2905670" y="3558520"/>
                <a:ext cx="145037" cy="98749"/>
              </a:xfrm>
              <a:custGeom>
                <a:avLst/>
                <a:gdLst>
                  <a:gd name="T0" fmla="*/ 38 w 40"/>
                  <a:gd name="T1" fmla="*/ 14 h 27"/>
                  <a:gd name="T2" fmla="*/ 25 w 40"/>
                  <a:gd name="T3" fmla="*/ 0 h 27"/>
                  <a:gd name="T4" fmla="*/ 3 w 40"/>
                  <a:gd name="T5" fmla="*/ 14 h 27"/>
                  <a:gd name="T6" fmla="*/ 16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5" y="27"/>
                      <a:pt x="35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0" name="iśļïďe">
                <a:extLst>
                  <a:ext uri="{FF2B5EF4-FFF2-40B4-BE49-F238E27FC236}">
                    <a16:creationId xmlns:a16="http://schemas.microsoft.com/office/drawing/2014/main" id="{F9B318DB-111C-42DE-94E8-278E9C5BB4BE}"/>
                  </a:ext>
                </a:extLst>
              </p:cNvPr>
              <p:cNvSpPr/>
              <p:nvPr/>
            </p:nvSpPr>
            <p:spPr bwMode="auto">
              <a:xfrm>
                <a:off x="3063051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25 w 41"/>
                  <a:gd name="T3" fmla="*/ 0 h 27"/>
                  <a:gd name="T4" fmla="*/ 3 w 41"/>
                  <a:gd name="T5" fmla="*/ 14 h 27"/>
                  <a:gd name="T6" fmla="*/ 1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6" y="27"/>
                      <a:pt x="36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1" name="iśļïḋé">
                <a:extLst>
                  <a:ext uri="{FF2B5EF4-FFF2-40B4-BE49-F238E27FC236}">
                    <a16:creationId xmlns:a16="http://schemas.microsoft.com/office/drawing/2014/main" id="{20C789FB-B7EB-49B0-BCF8-2E710ACCC85C}"/>
                  </a:ext>
                </a:extLst>
              </p:cNvPr>
              <p:cNvSpPr/>
              <p:nvPr/>
            </p:nvSpPr>
            <p:spPr bwMode="auto">
              <a:xfrm>
                <a:off x="3223517" y="3558520"/>
                <a:ext cx="145037" cy="98749"/>
              </a:xfrm>
              <a:custGeom>
                <a:avLst/>
                <a:gdLst>
                  <a:gd name="T0" fmla="*/ 37 w 40"/>
                  <a:gd name="T1" fmla="*/ 14 h 27"/>
                  <a:gd name="T2" fmla="*/ 24 w 40"/>
                  <a:gd name="T3" fmla="*/ 0 h 27"/>
                  <a:gd name="T4" fmla="*/ 2 w 40"/>
                  <a:gd name="T5" fmla="*/ 14 h 27"/>
                  <a:gd name="T6" fmla="*/ 15 w 40"/>
                  <a:gd name="T7" fmla="*/ 27 h 27"/>
                  <a:gd name="T8" fmla="*/ 37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7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1"/>
                      <a:pt x="6" y="27"/>
                      <a:pt x="15" y="27"/>
                    </a:cubicBezTo>
                    <a:cubicBezTo>
                      <a:pt x="25" y="27"/>
                      <a:pt x="35" y="21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2" name="îṩḻiḋé">
                <a:extLst>
                  <a:ext uri="{FF2B5EF4-FFF2-40B4-BE49-F238E27FC236}">
                    <a16:creationId xmlns:a16="http://schemas.microsoft.com/office/drawing/2014/main" id="{8F0B8359-A4AA-4073-9C3C-A68C8C4DC9D8}"/>
                  </a:ext>
                </a:extLst>
              </p:cNvPr>
              <p:cNvSpPr/>
              <p:nvPr/>
            </p:nvSpPr>
            <p:spPr bwMode="auto">
              <a:xfrm>
                <a:off x="3379355" y="3558520"/>
                <a:ext cx="146580" cy="98749"/>
              </a:xfrm>
              <a:custGeom>
                <a:avLst/>
                <a:gdLst>
                  <a:gd name="T0" fmla="*/ 38 w 40"/>
                  <a:gd name="T1" fmla="*/ 14 h 27"/>
                  <a:gd name="T2" fmla="*/ 24 w 40"/>
                  <a:gd name="T3" fmla="*/ 0 h 27"/>
                  <a:gd name="T4" fmla="*/ 2 w 40"/>
                  <a:gd name="T5" fmla="*/ 14 h 27"/>
                  <a:gd name="T6" fmla="*/ 16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5" y="6"/>
                      <a:pt x="2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6" y="27"/>
                      <a:pt x="35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3" name="i$líḑe">
                <a:extLst>
                  <a:ext uri="{FF2B5EF4-FFF2-40B4-BE49-F238E27FC236}">
                    <a16:creationId xmlns:a16="http://schemas.microsoft.com/office/drawing/2014/main" id="{4E92D499-9E6C-4288-B373-670F64A2A1BA}"/>
                  </a:ext>
                </a:extLst>
              </p:cNvPr>
              <p:cNvSpPr/>
              <p:nvPr/>
            </p:nvSpPr>
            <p:spPr bwMode="auto">
              <a:xfrm>
                <a:off x="3536735" y="3558520"/>
                <a:ext cx="146580" cy="98749"/>
              </a:xfrm>
              <a:custGeom>
                <a:avLst/>
                <a:gdLst>
                  <a:gd name="T0" fmla="*/ 38 w 40"/>
                  <a:gd name="T1" fmla="*/ 14 h 27"/>
                  <a:gd name="T2" fmla="*/ 24 w 40"/>
                  <a:gd name="T3" fmla="*/ 0 h 27"/>
                  <a:gd name="T4" fmla="*/ 3 w 40"/>
                  <a:gd name="T5" fmla="*/ 14 h 27"/>
                  <a:gd name="T6" fmla="*/ 17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5" y="6"/>
                      <a:pt x="3" y="14"/>
                    </a:cubicBezTo>
                    <a:cubicBezTo>
                      <a:pt x="0" y="21"/>
                      <a:pt x="7" y="27"/>
                      <a:pt x="17" y="27"/>
                    </a:cubicBezTo>
                    <a:cubicBezTo>
                      <a:pt x="26" y="27"/>
                      <a:pt x="36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4" name="îsḻíḋé">
                <a:extLst>
                  <a:ext uri="{FF2B5EF4-FFF2-40B4-BE49-F238E27FC236}">
                    <a16:creationId xmlns:a16="http://schemas.microsoft.com/office/drawing/2014/main" id="{7CA3BA52-9CC1-4E1B-B8A2-BADB1DC20B44}"/>
                  </a:ext>
                </a:extLst>
              </p:cNvPr>
              <p:cNvSpPr/>
              <p:nvPr/>
            </p:nvSpPr>
            <p:spPr bwMode="auto">
              <a:xfrm>
                <a:off x="3697202" y="3558520"/>
                <a:ext cx="141951" cy="98749"/>
              </a:xfrm>
              <a:custGeom>
                <a:avLst/>
                <a:gdLst>
                  <a:gd name="T0" fmla="*/ 37 w 39"/>
                  <a:gd name="T1" fmla="*/ 14 h 27"/>
                  <a:gd name="T2" fmla="*/ 23 w 39"/>
                  <a:gd name="T3" fmla="*/ 0 h 27"/>
                  <a:gd name="T4" fmla="*/ 2 w 39"/>
                  <a:gd name="T5" fmla="*/ 14 h 27"/>
                  <a:gd name="T6" fmla="*/ 16 w 39"/>
                  <a:gd name="T7" fmla="*/ 27 h 27"/>
                  <a:gd name="T8" fmla="*/ 37 w 39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7">
                    <a:moveTo>
                      <a:pt x="37" y="14"/>
                    </a:moveTo>
                    <a:cubicBezTo>
                      <a:pt x="39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6" y="27"/>
                      <a:pt x="35" y="21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5" name="îṩlíḍê">
                <a:extLst>
                  <a:ext uri="{FF2B5EF4-FFF2-40B4-BE49-F238E27FC236}">
                    <a16:creationId xmlns:a16="http://schemas.microsoft.com/office/drawing/2014/main" id="{D4122C04-2077-44B3-9EF6-E97EA1E19902}"/>
                  </a:ext>
                </a:extLst>
              </p:cNvPr>
              <p:cNvSpPr/>
              <p:nvPr/>
            </p:nvSpPr>
            <p:spPr bwMode="auto">
              <a:xfrm>
                <a:off x="2539992" y="3678869"/>
                <a:ext cx="154295" cy="103378"/>
              </a:xfrm>
              <a:custGeom>
                <a:avLst/>
                <a:gdLst>
                  <a:gd name="T0" fmla="*/ 39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5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5" y="28"/>
                      <a:pt x="15" y="28"/>
                    </a:cubicBezTo>
                    <a:cubicBezTo>
                      <a:pt x="25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6" name="íṧḷïde">
                <a:extLst>
                  <a:ext uri="{FF2B5EF4-FFF2-40B4-BE49-F238E27FC236}">
                    <a16:creationId xmlns:a16="http://schemas.microsoft.com/office/drawing/2014/main" id="{275BE683-579B-4ABC-AE8C-36F1286DA288}"/>
                  </a:ext>
                </a:extLst>
              </p:cNvPr>
              <p:cNvSpPr/>
              <p:nvPr/>
            </p:nvSpPr>
            <p:spPr bwMode="auto">
              <a:xfrm>
                <a:off x="2700458" y="3678869"/>
                <a:ext cx="149666" cy="103378"/>
              </a:xfrm>
              <a:custGeom>
                <a:avLst/>
                <a:gdLst>
                  <a:gd name="T0" fmla="*/ 39 w 41"/>
                  <a:gd name="T1" fmla="*/ 14 h 28"/>
                  <a:gd name="T2" fmla="*/ 26 w 41"/>
                  <a:gd name="T3" fmla="*/ 0 h 28"/>
                  <a:gd name="T4" fmla="*/ 3 w 41"/>
                  <a:gd name="T5" fmla="*/ 14 h 28"/>
                  <a:gd name="T6" fmla="*/ 15 w 41"/>
                  <a:gd name="T7" fmla="*/ 28 h 28"/>
                  <a:gd name="T8" fmla="*/ 39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9" y="14"/>
                    </a:moveTo>
                    <a:cubicBezTo>
                      <a:pt x="41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6" y="28"/>
                      <a:pt x="15" y="28"/>
                    </a:cubicBezTo>
                    <a:cubicBezTo>
                      <a:pt x="25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7" name="îşlíḓé">
                <a:extLst>
                  <a:ext uri="{FF2B5EF4-FFF2-40B4-BE49-F238E27FC236}">
                    <a16:creationId xmlns:a16="http://schemas.microsoft.com/office/drawing/2014/main" id="{74679D87-E10F-4AE9-A60C-DEA6C7F1A41C}"/>
                  </a:ext>
                </a:extLst>
              </p:cNvPr>
              <p:cNvSpPr/>
              <p:nvPr/>
            </p:nvSpPr>
            <p:spPr bwMode="auto">
              <a:xfrm>
                <a:off x="2860925" y="3678869"/>
                <a:ext cx="149666" cy="103378"/>
              </a:xfrm>
              <a:custGeom>
                <a:avLst/>
                <a:gdLst>
                  <a:gd name="T0" fmla="*/ 38 w 41"/>
                  <a:gd name="T1" fmla="*/ 14 h 28"/>
                  <a:gd name="T2" fmla="*/ 25 w 41"/>
                  <a:gd name="T3" fmla="*/ 0 h 28"/>
                  <a:gd name="T4" fmla="*/ 3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6" y="0"/>
                      <a:pt x="5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8" name="ïṧľíďé">
                <a:extLst>
                  <a:ext uri="{FF2B5EF4-FFF2-40B4-BE49-F238E27FC236}">
                    <a16:creationId xmlns:a16="http://schemas.microsoft.com/office/drawing/2014/main" id="{7E71F2DA-3731-4720-9350-BF43044CD8CB}"/>
                  </a:ext>
                </a:extLst>
              </p:cNvPr>
              <p:cNvSpPr/>
              <p:nvPr/>
            </p:nvSpPr>
            <p:spPr bwMode="auto">
              <a:xfrm>
                <a:off x="3022934" y="3678869"/>
                <a:ext cx="148123" cy="103378"/>
              </a:xfrm>
              <a:custGeom>
                <a:avLst/>
                <a:gdLst>
                  <a:gd name="T0" fmla="*/ 38 w 41"/>
                  <a:gd name="T1" fmla="*/ 14 h 28"/>
                  <a:gd name="T2" fmla="*/ 25 w 41"/>
                  <a:gd name="T3" fmla="*/ 0 h 28"/>
                  <a:gd name="T4" fmla="*/ 3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9" name="îṧḷíḋê">
                <a:extLst>
                  <a:ext uri="{FF2B5EF4-FFF2-40B4-BE49-F238E27FC236}">
                    <a16:creationId xmlns:a16="http://schemas.microsoft.com/office/drawing/2014/main" id="{AFEA6942-8B03-44AD-ADEB-6523248EA21D}"/>
                  </a:ext>
                </a:extLst>
              </p:cNvPr>
              <p:cNvSpPr/>
              <p:nvPr/>
            </p:nvSpPr>
            <p:spPr bwMode="auto">
              <a:xfrm>
                <a:off x="3183401" y="3678869"/>
                <a:ext cx="149666" cy="103378"/>
              </a:xfrm>
              <a:custGeom>
                <a:avLst/>
                <a:gdLst>
                  <a:gd name="T0" fmla="*/ 38 w 41"/>
                  <a:gd name="T1" fmla="*/ 14 h 28"/>
                  <a:gd name="T2" fmla="*/ 25 w 41"/>
                  <a:gd name="T3" fmla="*/ 0 h 28"/>
                  <a:gd name="T4" fmla="*/ 2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4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0" name="iṣ1iḋê">
                <a:extLst>
                  <a:ext uri="{FF2B5EF4-FFF2-40B4-BE49-F238E27FC236}">
                    <a16:creationId xmlns:a16="http://schemas.microsoft.com/office/drawing/2014/main" id="{92C788F6-ABB6-4A5E-BE44-518F14AD9C17}"/>
                  </a:ext>
                </a:extLst>
              </p:cNvPr>
              <p:cNvSpPr/>
              <p:nvPr/>
            </p:nvSpPr>
            <p:spPr bwMode="auto">
              <a:xfrm>
                <a:off x="3343867" y="3678869"/>
                <a:ext cx="145037" cy="103378"/>
              </a:xfrm>
              <a:custGeom>
                <a:avLst/>
                <a:gdLst>
                  <a:gd name="T0" fmla="*/ 38 w 40"/>
                  <a:gd name="T1" fmla="*/ 14 h 28"/>
                  <a:gd name="T2" fmla="*/ 24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5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1" name="í$ḻïḓè">
                <a:extLst>
                  <a:ext uri="{FF2B5EF4-FFF2-40B4-BE49-F238E27FC236}">
                    <a16:creationId xmlns:a16="http://schemas.microsoft.com/office/drawing/2014/main" id="{0DB40E6E-BB0F-4076-8801-536624F3605A}"/>
                  </a:ext>
                </a:extLst>
              </p:cNvPr>
              <p:cNvSpPr/>
              <p:nvPr/>
            </p:nvSpPr>
            <p:spPr bwMode="auto">
              <a:xfrm>
                <a:off x="3504334" y="3678869"/>
                <a:ext cx="145037" cy="103378"/>
              </a:xfrm>
              <a:custGeom>
                <a:avLst/>
                <a:gdLst>
                  <a:gd name="T0" fmla="*/ 38 w 40"/>
                  <a:gd name="T1" fmla="*/ 14 h 28"/>
                  <a:gd name="T2" fmla="*/ 24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2" name="ïs1ïḓé">
                <a:extLst>
                  <a:ext uri="{FF2B5EF4-FFF2-40B4-BE49-F238E27FC236}">
                    <a16:creationId xmlns:a16="http://schemas.microsoft.com/office/drawing/2014/main" id="{FB57209C-4AA9-4479-8664-E213FA40B640}"/>
                  </a:ext>
                </a:extLst>
              </p:cNvPr>
              <p:cNvSpPr/>
              <p:nvPr/>
            </p:nvSpPr>
            <p:spPr bwMode="auto">
              <a:xfrm>
                <a:off x="3664800" y="3678869"/>
                <a:ext cx="145037" cy="103378"/>
              </a:xfrm>
              <a:custGeom>
                <a:avLst/>
                <a:gdLst>
                  <a:gd name="T0" fmla="*/ 38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3" name="ïslíḍè">
                <a:extLst>
                  <a:ext uri="{FF2B5EF4-FFF2-40B4-BE49-F238E27FC236}">
                    <a16:creationId xmlns:a16="http://schemas.microsoft.com/office/drawing/2014/main" id="{3E4C3AA2-70A3-48E1-AFB6-C9C3E2AC9924}"/>
                  </a:ext>
                </a:extLst>
              </p:cNvPr>
              <p:cNvSpPr/>
              <p:nvPr/>
            </p:nvSpPr>
            <p:spPr bwMode="auto">
              <a:xfrm>
                <a:off x="3825267" y="3678869"/>
                <a:ext cx="141951" cy="103378"/>
              </a:xfrm>
              <a:custGeom>
                <a:avLst/>
                <a:gdLst>
                  <a:gd name="T0" fmla="*/ 38 w 39"/>
                  <a:gd name="T1" fmla="*/ 14 h 28"/>
                  <a:gd name="T2" fmla="*/ 23 w 39"/>
                  <a:gd name="T3" fmla="*/ 0 h 28"/>
                  <a:gd name="T4" fmla="*/ 2 w 39"/>
                  <a:gd name="T5" fmla="*/ 14 h 28"/>
                  <a:gd name="T6" fmla="*/ 17 w 39"/>
                  <a:gd name="T7" fmla="*/ 28 h 28"/>
                  <a:gd name="T8" fmla="*/ 38 w 39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8">
                    <a:moveTo>
                      <a:pt x="38" y="14"/>
                    </a:moveTo>
                    <a:cubicBezTo>
                      <a:pt x="39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4" name="iṡļîďé">
                <a:extLst>
                  <a:ext uri="{FF2B5EF4-FFF2-40B4-BE49-F238E27FC236}">
                    <a16:creationId xmlns:a16="http://schemas.microsoft.com/office/drawing/2014/main" id="{7570AF46-211C-49EF-A9B7-6E1F80F70101}"/>
                  </a:ext>
                </a:extLst>
              </p:cNvPr>
              <p:cNvSpPr/>
              <p:nvPr/>
            </p:nvSpPr>
            <p:spPr bwMode="auto">
              <a:xfrm>
                <a:off x="3985733" y="3678869"/>
                <a:ext cx="141951" cy="103378"/>
              </a:xfrm>
              <a:custGeom>
                <a:avLst/>
                <a:gdLst>
                  <a:gd name="T0" fmla="*/ 38 w 39"/>
                  <a:gd name="T1" fmla="*/ 14 h 28"/>
                  <a:gd name="T2" fmla="*/ 23 w 39"/>
                  <a:gd name="T3" fmla="*/ 0 h 28"/>
                  <a:gd name="T4" fmla="*/ 2 w 39"/>
                  <a:gd name="T5" fmla="*/ 14 h 28"/>
                  <a:gd name="T6" fmla="*/ 17 w 39"/>
                  <a:gd name="T7" fmla="*/ 28 h 28"/>
                  <a:gd name="T8" fmla="*/ 38 w 39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8">
                    <a:moveTo>
                      <a:pt x="38" y="14"/>
                    </a:moveTo>
                    <a:cubicBezTo>
                      <a:pt x="39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5" name="ísļïḓè">
                <a:extLst>
                  <a:ext uri="{FF2B5EF4-FFF2-40B4-BE49-F238E27FC236}">
                    <a16:creationId xmlns:a16="http://schemas.microsoft.com/office/drawing/2014/main" id="{9372D9CE-56F6-40E4-8FE9-D4A78DBD58C7}"/>
                  </a:ext>
                </a:extLst>
              </p:cNvPr>
              <p:cNvSpPr/>
              <p:nvPr/>
            </p:nvSpPr>
            <p:spPr bwMode="auto">
              <a:xfrm>
                <a:off x="2654170" y="3803849"/>
                <a:ext cx="152752" cy="101834"/>
              </a:xfrm>
              <a:custGeom>
                <a:avLst/>
                <a:gdLst>
                  <a:gd name="T0" fmla="*/ 39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6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5" y="28"/>
                      <a:pt x="16" y="28"/>
                    </a:cubicBezTo>
                    <a:cubicBezTo>
                      <a:pt x="26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6" name="iṣḷîḋé">
                <a:extLst>
                  <a:ext uri="{FF2B5EF4-FFF2-40B4-BE49-F238E27FC236}">
                    <a16:creationId xmlns:a16="http://schemas.microsoft.com/office/drawing/2014/main" id="{82365542-4194-4F97-8A40-9803F450058E}"/>
                  </a:ext>
                </a:extLst>
              </p:cNvPr>
              <p:cNvSpPr/>
              <p:nvPr/>
            </p:nvSpPr>
            <p:spPr bwMode="auto">
              <a:xfrm>
                <a:off x="2814636" y="3803849"/>
                <a:ext cx="152752" cy="101834"/>
              </a:xfrm>
              <a:custGeom>
                <a:avLst/>
                <a:gdLst>
                  <a:gd name="T0" fmla="*/ 40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6 w 42"/>
                  <a:gd name="T7" fmla="*/ 28 h 28"/>
                  <a:gd name="T8" fmla="*/ 40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40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7" y="0"/>
                      <a:pt x="6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7" y="28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7" name="îS1ïḋé">
                <a:extLst>
                  <a:ext uri="{FF2B5EF4-FFF2-40B4-BE49-F238E27FC236}">
                    <a16:creationId xmlns:a16="http://schemas.microsoft.com/office/drawing/2014/main" id="{A313A906-5ABE-49AB-BAE2-990A9323A4DC}"/>
                  </a:ext>
                </a:extLst>
              </p:cNvPr>
              <p:cNvSpPr/>
              <p:nvPr/>
            </p:nvSpPr>
            <p:spPr bwMode="auto">
              <a:xfrm>
                <a:off x="2978188" y="3803849"/>
                <a:ext cx="152752" cy="101834"/>
              </a:xfrm>
              <a:custGeom>
                <a:avLst/>
                <a:gdLst>
                  <a:gd name="T0" fmla="*/ 39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6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8" name="íṥ1iḍe">
                <a:extLst>
                  <a:ext uri="{FF2B5EF4-FFF2-40B4-BE49-F238E27FC236}">
                    <a16:creationId xmlns:a16="http://schemas.microsoft.com/office/drawing/2014/main" id="{EB464361-9CF5-4025-A027-14EBC1756A14}"/>
                  </a:ext>
                </a:extLst>
              </p:cNvPr>
              <p:cNvSpPr/>
              <p:nvPr/>
            </p:nvSpPr>
            <p:spPr bwMode="auto">
              <a:xfrm>
                <a:off x="3143284" y="3803849"/>
                <a:ext cx="149666" cy="101834"/>
              </a:xfrm>
              <a:custGeom>
                <a:avLst/>
                <a:gdLst>
                  <a:gd name="T0" fmla="*/ 39 w 41"/>
                  <a:gd name="T1" fmla="*/ 14 h 28"/>
                  <a:gd name="T2" fmla="*/ 25 w 41"/>
                  <a:gd name="T3" fmla="*/ 0 h 28"/>
                  <a:gd name="T4" fmla="*/ 2 w 41"/>
                  <a:gd name="T5" fmla="*/ 14 h 28"/>
                  <a:gd name="T6" fmla="*/ 16 w 41"/>
                  <a:gd name="T7" fmla="*/ 28 h 28"/>
                  <a:gd name="T8" fmla="*/ 39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9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9" name="íṧlîdê">
                <a:extLst>
                  <a:ext uri="{FF2B5EF4-FFF2-40B4-BE49-F238E27FC236}">
                    <a16:creationId xmlns:a16="http://schemas.microsoft.com/office/drawing/2014/main" id="{547A341B-52FD-4BF2-859B-96C680F4454C}"/>
                  </a:ext>
                </a:extLst>
              </p:cNvPr>
              <p:cNvSpPr/>
              <p:nvPr/>
            </p:nvSpPr>
            <p:spPr bwMode="auto">
              <a:xfrm>
                <a:off x="3306837" y="3803849"/>
                <a:ext cx="149666" cy="101834"/>
              </a:xfrm>
              <a:custGeom>
                <a:avLst/>
                <a:gdLst>
                  <a:gd name="T0" fmla="*/ 38 w 41"/>
                  <a:gd name="T1" fmla="*/ 14 h 28"/>
                  <a:gd name="T2" fmla="*/ 24 w 41"/>
                  <a:gd name="T3" fmla="*/ 0 h 28"/>
                  <a:gd name="T4" fmla="*/ 2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0" name="iṣlíḑé">
                <a:extLst>
                  <a:ext uri="{FF2B5EF4-FFF2-40B4-BE49-F238E27FC236}">
                    <a16:creationId xmlns:a16="http://schemas.microsoft.com/office/drawing/2014/main" id="{8898610D-A407-4A9B-8238-E5AE135F9AEC}"/>
                  </a:ext>
                </a:extLst>
              </p:cNvPr>
              <p:cNvSpPr/>
              <p:nvPr/>
            </p:nvSpPr>
            <p:spPr bwMode="auto">
              <a:xfrm>
                <a:off x="3467303" y="3803849"/>
                <a:ext cx="149666" cy="101834"/>
              </a:xfrm>
              <a:custGeom>
                <a:avLst/>
                <a:gdLst>
                  <a:gd name="T0" fmla="*/ 39 w 41"/>
                  <a:gd name="T1" fmla="*/ 14 h 28"/>
                  <a:gd name="T2" fmla="*/ 25 w 41"/>
                  <a:gd name="T3" fmla="*/ 0 h 28"/>
                  <a:gd name="T4" fmla="*/ 3 w 41"/>
                  <a:gd name="T5" fmla="*/ 14 h 28"/>
                  <a:gd name="T6" fmla="*/ 17 w 41"/>
                  <a:gd name="T7" fmla="*/ 28 h 28"/>
                  <a:gd name="T8" fmla="*/ 39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9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1" name="ïSľîḓe">
                <a:extLst>
                  <a:ext uri="{FF2B5EF4-FFF2-40B4-BE49-F238E27FC236}">
                    <a16:creationId xmlns:a16="http://schemas.microsoft.com/office/drawing/2014/main" id="{22A1035A-3952-4DE5-9FF4-77EE75D3B22F}"/>
                  </a:ext>
                </a:extLst>
              </p:cNvPr>
              <p:cNvSpPr/>
              <p:nvPr/>
            </p:nvSpPr>
            <p:spPr bwMode="auto">
              <a:xfrm>
                <a:off x="3630855" y="3803849"/>
                <a:ext cx="146580" cy="101834"/>
              </a:xfrm>
              <a:custGeom>
                <a:avLst/>
                <a:gdLst>
                  <a:gd name="T0" fmla="*/ 38 w 40"/>
                  <a:gd name="T1" fmla="*/ 14 h 28"/>
                  <a:gd name="T2" fmla="*/ 24 w 40"/>
                  <a:gd name="T3" fmla="*/ 0 h 28"/>
                  <a:gd name="T4" fmla="*/ 2 w 40"/>
                  <a:gd name="T5" fmla="*/ 14 h 28"/>
                  <a:gd name="T6" fmla="*/ 17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7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2" name="ïṩḻîḓè">
                <a:extLst>
                  <a:ext uri="{FF2B5EF4-FFF2-40B4-BE49-F238E27FC236}">
                    <a16:creationId xmlns:a16="http://schemas.microsoft.com/office/drawing/2014/main" id="{04993118-241A-4C37-A0C2-CBC4799E2D65}"/>
                  </a:ext>
                </a:extLst>
              </p:cNvPr>
              <p:cNvSpPr/>
              <p:nvPr/>
            </p:nvSpPr>
            <p:spPr bwMode="auto">
              <a:xfrm>
                <a:off x="3795950" y="3803849"/>
                <a:ext cx="145037" cy="101834"/>
              </a:xfrm>
              <a:custGeom>
                <a:avLst/>
                <a:gdLst>
                  <a:gd name="T0" fmla="*/ 38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3" name="ís1ïḋè">
                <a:extLst>
                  <a:ext uri="{FF2B5EF4-FFF2-40B4-BE49-F238E27FC236}">
                    <a16:creationId xmlns:a16="http://schemas.microsoft.com/office/drawing/2014/main" id="{46FBBDF8-1259-4F2C-BD44-57952A2AFEDF}"/>
                  </a:ext>
                </a:extLst>
              </p:cNvPr>
              <p:cNvSpPr/>
              <p:nvPr/>
            </p:nvSpPr>
            <p:spPr bwMode="auto">
              <a:xfrm>
                <a:off x="3956417" y="3803849"/>
                <a:ext cx="146580" cy="101834"/>
              </a:xfrm>
              <a:custGeom>
                <a:avLst/>
                <a:gdLst>
                  <a:gd name="T0" fmla="*/ 39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7 w 40"/>
                  <a:gd name="T7" fmla="*/ 28 h 28"/>
                  <a:gd name="T8" fmla="*/ 39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9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4" name="î$ḷíḍê">
                <a:extLst>
                  <a:ext uri="{FF2B5EF4-FFF2-40B4-BE49-F238E27FC236}">
                    <a16:creationId xmlns:a16="http://schemas.microsoft.com/office/drawing/2014/main" id="{CC4B15CA-FEB0-4CC0-BCFA-DB81F6083018}"/>
                  </a:ext>
                </a:extLst>
              </p:cNvPr>
              <p:cNvSpPr/>
              <p:nvPr/>
            </p:nvSpPr>
            <p:spPr bwMode="auto">
              <a:xfrm>
                <a:off x="4119969" y="3803849"/>
                <a:ext cx="146580" cy="101834"/>
              </a:xfrm>
              <a:custGeom>
                <a:avLst/>
                <a:gdLst>
                  <a:gd name="T0" fmla="*/ 38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7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3" y="0"/>
                      <a:pt x="3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7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5" name="iṥļïḋé">
                <a:extLst>
                  <a:ext uri="{FF2B5EF4-FFF2-40B4-BE49-F238E27FC236}">
                    <a16:creationId xmlns:a16="http://schemas.microsoft.com/office/drawing/2014/main" id="{591008DE-E76E-4196-BFA1-E8B08BAB33A3}"/>
                  </a:ext>
                </a:extLst>
              </p:cNvPr>
              <p:cNvSpPr/>
              <p:nvPr/>
            </p:nvSpPr>
            <p:spPr bwMode="auto">
              <a:xfrm>
                <a:off x="2603253" y="3931913"/>
                <a:ext cx="155838" cy="104920"/>
              </a:xfrm>
              <a:custGeom>
                <a:avLst/>
                <a:gdLst>
                  <a:gd name="T0" fmla="*/ 40 w 43"/>
                  <a:gd name="T1" fmla="*/ 14 h 29"/>
                  <a:gd name="T2" fmla="*/ 27 w 43"/>
                  <a:gd name="T3" fmla="*/ 0 h 29"/>
                  <a:gd name="T4" fmla="*/ 3 w 43"/>
                  <a:gd name="T5" fmla="*/ 14 h 29"/>
                  <a:gd name="T6" fmla="*/ 16 w 43"/>
                  <a:gd name="T7" fmla="*/ 29 h 29"/>
                  <a:gd name="T8" fmla="*/ 40 w 43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9">
                    <a:moveTo>
                      <a:pt x="40" y="14"/>
                    </a:moveTo>
                    <a:cubicBezTo>
                      <a:pt x="43" y="6"/>
                      <a:pt x="37" y="0"/>
                      <a:pt x="27" y="0"/>
                    </a:cubicBezTo>
                    <a:cubicBezTo>
                      <a:pt x="17" y="0"/>
                      <a:pt x="6" y="6"/>
                      <a:pt x="3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6" name="íśľîde">
                <a:extLst>
                  <a:ext uri="{FF2B5EF4-FFF2-40B4-BE49-F238E27FC236}">
                    <a16:creationId xmlns:a16="http://schemas.microsoft.com/office/drawing/2014/main" id="{4D5CBF97-8343-4888-81B0-5F9935B6778B}"/>
                  </a:ext>
                </a:extLst>
              </p:cNvPr>
              <p:cNvSpPr/>
              <p:nvPr/>
            </p:nvSpPr>
            <p:spPr bwMode="auto">
              <a:xfrm>
                <a:off x="2769891" y="3931913"/>
                <a:ext cx="154295" cy="104920"/>
              </a:xfrm>
              <a:custGeom>
                <a:avLst/>
                <a:gdLst>
                  <a:gd name="T0" fmla="*/ 39 w 42"/>
                  <a:gd name="T1" fmla="*/ 14 h 29"/>
                  <a:gd name="T2" fmla="*/ 26 w 42"/>
                  <a:gd name="T3" fmla="*/ 0 h 29"/>
                  <a:gd name="T4" fmla="*/ 3 w 42"/>
                  <a:gd name="T5" fmla="*/ 14 h 29"/>
                  <a:gd name="T6" fmla="*/ 16 w 42"/>
                  <a:gd name="T7" fmla="*/ 29 h 29"/>
                  <a:gd name="T8" fmla="*/ 39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5" y="6"/>
                      <a:pt x="3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6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7" name="íŝḷidê">
                <a:extLst>
                  <a:ext uri="{FF2B5EF4-FFF2-40B4-BE49-F238E27FC236}">
                    <a16:creationId xmlns:a16="http://schemas.microsoft.com/office/drawing/2014/main" id="{C4D64646-8CB4-4D2F-B4BD-F9526B08E0A8}"/>
                  </a:ext>
                </a:extLst>
              </p:cNvPr>
              <p:cNvSpPr/>
              <p:nvPr/>
            </p:nvSpPr>
            <p:spPr bwMode="auto">
              <a:xfrm>
                <a:off x="2934986" y="3931913"/>
                <a:ext cx="152752" cy="104920"/>
              </a:xfrm>
              <a:custGeom>
                <a:avLst/>
                <a:gdLst>
                  <a:gd name="T0" fmla="*/ 40 w 42"/>
                  <a:gd name="T1" fmla="*/ 14 h 29"/>
                  <a:gd name="T2" fmla="*/ 26 w 42"/>
                  <a:gd name="T3" fmla="*/ 0 h 29"/>
                  <a:gd name="T4" fmla="*/ 3 w 42"/>
                  <a:gd name="T5" fmla="*/ 14 h 29"/>
                  <a:gd name="T6" fmla="*/ 16 w 42"/>
                  <a:gd name="T7" fmla="*/ 29 h 29"/>
                  <a:gd name="T8" fmla="*/ 40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40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8" name="iṧ1ïḋê">
                <a:extLst>
                  <a:ext uri="{FF2B5EF4-FFF2-40B4-BE49-F238E27FC236}">
                    <a16:creationId xmlns:a16="http://schemas.microsoft.com/office/drawing/2014/main" id="{C11FC8C9-B8BF-4E44-A246-AE4013120441}"/>
                  </a:ext>
                </a:extLst>
              </p:cNvPr>
              <p:cNvSpPr/>
              <p:nvPr/>
            </p:nvSpPr>
            <p:spPr bwMode="auto">
              <a:xfrm>
                <a:off x="3098538" y="3931913"/>
                <a:ext cx="154295" cy="104920"/>
              </a:xfrm>
              <a:custGeom>
                <a:avLst/>
                <a:gdLst>
                  <a:gd name="T0" fmla="*/ 40 w 42"/>
                  <a:gd name="T1" fmla="*/ 14 h 29"/>
                  <a:gd name="T2" fmla="*/ 26 w 42"/>
                  <a:gd name="T3" fmla="*/ 0 h 29"/>
                  <a:gd name="T4" fmla="*/ 3 w 42"/>
                  <a:gd name="T5" fmla="*/ 14 h 29"/>
                  <a:gd name="T6" fmla="*/ 17 w 42"/>
                  <a:gd name="T7" fmla="*/ 29 h 29"/>
                  <a:gd name="T8" fmla="*/ 40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40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7" y="29"/>
                      <a:pt x="17" y="29"/>
                    </a:cubicBezTo>
                    <a:cubicBezTo>
                      <a:pt x="27" y="29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9" name="ïṡlïḓè">
                <a:extLst>
                  <a:ext uri="{FF2B5EF4-FFF2-40B4-BE49-F238E27FC236}">
                    <a16:creationId xmlns:a16="http://schemas.microsoft.com/office/drawing/2014/main" id="{C60CFA0B-330B-4D1A-B0BC-269AA1921A71}"/>
                  </a:ext>
                </a:extLst>
              </p:cNvPr>
              <p:cNvSpPr/>
              <p:nvPr/>
            </p:nvSpPr>
            <p:spPr bwMode="auto">
              <a:xfrm>
                <a:off x="3266720" y="3931913"/>
                <a:ext cx="152752" cy="104920"/>
              </a:xfrm>
              <a:custGeom>
                <a:avLst/>
                <a:gdLst>
                  <a:gd name="T0" fmla="*/ 39 w 42"/>
                  <a:gd name="T1" fmla="*/ 14 h 29"/>
                  <a:gd name="T2" fmla="*/ 25 w 42"/>
                  <a:gd name="T3" fmla="*/ 0 h 29"/>
                  <a:gd name="T4" fmla="*/ 2 w 42"/>
                  <a:gd name="T5" fmla="*/ 14 h 29"/>
                  <a:gd name="T6" fmla="*/ 16 w 42"/>
                  <a:gd name="T7" fmla="*/ 29 h 29"/>
                  <a:gd name="T8" fmla="*/ 39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39" y="14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0" name="ïṥļíḍè">
                <a:extLst>
                  <a:ext uri="{FF2B5EF4-FFF2-40B4-BE49-F238E27FC236}">
                    <a16:creationId xmlns:a16="http://schemas.microsoft.com/office/drawing/2014/main" id="{37E17B4D-B55B-45F0-B87C-09759B385780}"/>
                  </a:ext>
                </a:extLst>
              </p:cNvPr>
              <p:cNvSpPr/>
              <p:nvPr/>
            </p:nvSpPr>
            <p:spPr bwMode="auto">
              <a:xfrm>
                <a:off x="3430272" y="3931913"/>
                <a:ext cx="154295" cy="104920"/>
              </a:xfrm>
              <a:custGeom>
                <a:avLst/>
                <a:gdLst>
                  <a:gd name="T0" fmla="*/ 39 w 42"/>
                  <a:gd name="T1" fmla="*/ 14 h 29"/>
                  <a:gd name="T2" fmla="*/ 25 w 42"/>
                  <a:gd name="T3" fmla="*/ 0 h 29"/>
                  <a:gd name="T4" fmla="*/ 3 w 42"/>
                  <a:gd name="T5" fmla="*/ 14 h 29"/>
                  <a:gd name="T6" fmla="*/ 17 w 42"/>
                  <a:gd name="T7" fmla="*/ 29 h 29"/>
                  <a:gd name="T8" fmla="*/ 39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39" y="14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2"/>
                      <a:pt x="7" y="29"/>
                      <a:pt x="17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1" name="íS1íḋè">
                <a:extLst>
                  <a:ext uri="{FF2B5EF4-FFF2-40B4-BE49-F238E27FC236}">
                    <a16:creationId xmlns:a16="http://schemas.microsoft.com/office/drawing/2014/main" id="{E40EA6CA-6A42-43BD-9A63-97298A3FA6C7}"/>
                  </a:ext>
                </a:extLst>
              </p:cNvPr>
              <p:cNvSpPr/>
              <p:nvPr/>
            </p:nvSpPr>
            <p:spPr bwMode="auto">
              <a:xfrm>
                <a:off x="3598453" y="3931913"/>
                <a:ext cx="149666" cy="104920"/>
              </a:xfrm>
              <a:custGeom>
                <a:avLst/>
                <a:gdLst>
                  <a:gd name="T0" fmla="*/ 39 w 41"/>
                  <a:gd name="T1" fmla="*/ 14 h 29"/>
                  <a:gd name="T2" fmla="*/ 24 w 41"/>
                  <a:gd name="T3" fmla="*/ 0 h 29"/>
                  <a:gd name="T4" fmla="*/ 2 w 41"/>
                  <a:gd name="T5" fmla="*/ 14 h 29"/>
                  <a:gd name="T6" fmla="*/ 16 w 41"/>
                  <a:gd name="T7" fmla="*/ 29 h 29"/>
                  <a:gd name="T8" fmla="*/ 39 w 41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9">
                    <a:moveTo>
                      <a:pt x="39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2" name="ïṧ1ïḍé">
                <a:extLst>
                  <a:ext uri="{FF2B5EF4-FFF2-40B4-BE49-F238E27FC236}">
                    <a16:creationId xmlns:a16="http://schemas.microsoft.com/office/drawing/2014/main" id="{AF16098E-E7B2-43CB-81A4-26372765F1C4}"/>
                  </a:ext>
                </a:extLst>
              </p:cNvPr>
              <p:cNvSpPr/>
              <p:nvPr/>
            </p:nvSpPr>
            <p:spPr bwMode="auto">
              <a:xfrm>
                <a:off x="3763549" y="3931913"/>
                <a:ext cx="149666" cy="104920"/>
              </a:xfrm>
              <a:custGeom>
                <a:avLst/>
                <a:gdLst>
                  <a:gd name="T0" fmla="*/ 39 w 41"/>
                  <a:gd name="T1" fmla="*/ 14 h 29"/>
                  <a:gd name="T2" fmla="*/ 24 w 41"/>
                  <a:gd name="T3" fmla="*/ 0 h 29"/>
                  <a:gd name="T4" fmla="*/ 2 w 41"/>
                  <a:gd name="T5" fmla="*/ 14 h 29"/>
                  <a:gd name="T6" fmla="*/ 17 w 41"/>
                  <a:gd name="T7" fmla="*/ 29 h 29"/>
                  <a:gd name="T8" fmla="*/ 39 w 41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9">
                    <a:moveTo>
                      <a:pt x="39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7" y="29"/>
                      <a:pt x="17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3" name="îṩlïdé">
                <a:extLst>
                  <a:ext uri="{FF2B5EF4-FFF2-40B4-BE49-F238E27FC236}">
                    <a16:creationId xmlns:a16="http://schemas.microsoft.com/office/drawing/2014/main" id="{8A2F9C0A-A398-474F-861D-80165F193CED}"/>
                  </a:ext>
                </a:extLst>
              </p:cNvPr>
              <p:cNvSpPr/>
              <p:nvPr/>
            </p:nvSpPr>
            <p:spPr bwMode="auto">
              <a:xfrm>
                <a:off x="3927101" y="3931913"/>
                <a:ext cx="149666" cy="104920"/>
              </a:xfrm>
              <a:custGeom>
                <a:avLst/>
                <a:gdLst>
                  <a:gd name="T0" fmla="*/ 39 w 41"/>
                  <a:gd name="T1" fmla="*/ 14 h 29"/>
                  <a:gd name="T2" fmla="*/ 24 w 41"/>
                  <a:gd name="T3" fmla="*/ 0 h 29"/>
                  <a:gd name="T4" fmla="*/ 2 w 41"/>
                  <a:gd name="T5" fmla="*/ 14 h 29"/>
                  <a:gd name="T6" fmla="*/ 18 w 41"/>
                  <a:gd name="T7" fmla="*/ 29 h 29"/>
                  <a:gd name="T8" fmla="*/ 39 w 41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9">
                    <a:moveTo>
                      <a:pt x="39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7" y="29"/>
                      <a:pt x="18" y="29"/>
                    </a:cubicBezTo>
                    <a:cubicBezTo>
                      <a:pt x="28" y="29"/>
                      <a:pt x="38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4" name="ïṡlîdê">
                <a:extLst>
                  <a:ext uri="{FF2B5EF4-FFF2-40B4-BE49-F238E27FC236}">
                    <a16:creationId xmlns:a16="http://schemas.microsoft.com/office/drawing/2014/main" id="{28C9B24E-2C13-4AD2-AB50-8D8F4926A84A}"/>
                  </a:ext>
                </a:extLst>
              </p:cNvPr>
              <p:cNvSpPr/>
              <p:nvPr/>
            </p:nvSpPr>
            <p:spPr bwMode="auto">
              <a:xfrm>
                <a:off x="2718973" y="4063064"/>
                <a:ext cx="160466" cy="109550"/>
              </a:xfrm>
              <a:custGeom>
                <a:avLst/>
                <a:gdLst>
                  <a:gd name="T0" fmla="*/ 41 w 44"/>
                  <a:gd name="T1" fmla="*/ 15 h 30"/>
                  <a:gd name="T2" fmla="*/ 28 w 44"/>
                  <a:gd name="T3" fmla="*/ 0 h 30"/>
                  <a:gd name="T4" fmla="*/ 3 w 44"/>
                  <a:gd name="T5" fmla="*/ 15 h 30"/>
                  <a:gd name="T6" fmla="*/ 17 w 44"/>
                  <a:gd name="T7" fmla="*/ 30 h 30"/>
                  <a:gd name="T8" fmla="*/ 41 w 44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0">
                    <a:moveTo>
                      <a:pt x="41" y="15"/>
                    </a:moveTo>
                    <a:cubicBezTo>
                      <a:pt x="44" y="6"/>
                      <a:pt x="38" y="0"/>
                      <a:pt x="28" y="0"/>
                    </a:cubicBezTo>
                    <a:cubicBezTo>
                      <a:pt x="17" y="0"/>
                      <a:pt x="6" y="6"/>
                      <a:pt x="3" y="15"/>
                    </a:cubicBezTo>
                    <a:cubicBezTo>
                      <a:pt x="0" y="23"/>
                      <a:pt x="6" y="30"/>
                      <a:pt x="17" y="30"/>
                    </a:cubicBezTo>
                    <a:cubicBezTo>
                      <a:pt x="27" y="30"/>
                      <a:pt x="38" y="23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5" name="íṡļïḓè">
                <a:extLst>
                  <a:ext uri="{FF2B5EF4-FFF2-40B4-BE49-F238E27FC236}">
                    <a16:creationId xmlns:a16="http://schemas.microsoft.com/office/drawing/2014/main" id="{BA24B1CD-25D5-4EE9-973A-78DD0D458672}"/>
                  </a:ext>
                </a:extLst>
              </p:cNvPr>
              <p:cNvSpPr/>
              <p:nvPr/>
            </p:nvSpPr>
            <p:spPr bwMode="auto">
              <a:xfrm>
                <a:off x="2890241" y="4063064"/>
                <a:ext cx="157381" cy="109550"/>
              </a:xfrm>
              <a:custGeom>
                <a:avLst/>
                <a:gdLst>
                  <a:gd name="T0" fmla="*/ 40 w 43"/>
                  <a:gd name="T1" fmla="*/ 15 h 30"/>
                  <a:gd name="T2" fmla="*/ 26 w 43"/>
                  <a:gd name="T3" fmla="*/ 0 h 30"/>
                  <a:gd name="T4" fmla="*/ 2 w 43"/>
                  <a:gd name="T5" fmla="*/ 15 h 30"/>
                  <a:gd name="T6" fmla="*/ 16 w 43"/>
                  <a:gd name="T7" fmla="*/ 30 h 30"/>
                  <a:gd name="T8" fmla="*/ 40 w 43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0">
                    <a:moveTo>
                      <a:pt x="40" y="15"/>
                    </a:moveTo>
                    <a:cubicBezTo>
                      <a:pt x="43" y="6"/>
                      <a:pt x="36" y="0"/>
                      <a:pt x="26" y="0"/>
                    </a:cubicBezTo>
                    <a:cubicBezTo>
                      <a:pt x="16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6" y="30"/>
                    </a:cubicBezTo>
                    <a:cubicBezTo>
                      <a:pt x="27" y="30"/>
                      <a:pt x="37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6" name="îšlíḑê">
                <a:extLst>
                  <a:ext uri="{FF2B5EF4-FFF2-40B4-BE49-F238E27FC236}">
                    <a16:creationId xmlns:a16="http://schemas.microsoft.com/office/drawing/2014/main" id="{BB0F5AF4-07B5-4CFE-9D06-E2EE3C1A2A4B}"/>
                  </a:ext>
                </a:extLst>
              </p:cNvPr>
              <p:cNvSpPr/>
              <p:nvPr/>
            </p:nvSpPr>
            <p:spPr bwMode="auto">
              <a:xfrm>
                <a:off x="3058422" y="4063064"/>
                <a:ext cx="154295" cy="109550"/>
              </a:xfrm>
              <a:custGeom>
                <a:avLst/>
                <a:gdLst>
                  <a:gd name="T0" fmla="*/ 40 w 42"/>
                  <a:gd name="T1" fmla="*/ 15 h 30"/>
                  <a:gd name="T2" fmla="*/ 26 w 42"/>
                  <a:gd name="T3" fmla="*/ 0 h 30"/>
                  <a:gd name="T4" fmla="*/ 2 w 42"/>
                  <a:gd name="T5" fmla="*/ 15 h 30"/>
                  <a:gd name="T6" fmla="*/ 16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6" y="30"/>
                    </a:cubicBezTo>
                    <a:cubicBezTo>
                      <a:pt x="27" y="30"/>
                      <a:pt x="37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7" name="ïšľîďè">
                <a:extLst>
                  <a:ext uri="{FF2B5EF4-FFF2-40B4-BE49-F238E27FC236}">
                    <a16:creationId xmlns:a16="http://schemas.microsoft.com/office/drawing/2014/main" id="{BB9C4839-562E-4E4F-AB4B-95246DACE455}"/>
                  </a:ext>
                </a:extLst>
              </p:cNvPr>
              <p:cNvSpPr/>
              <p:nvPr/>
            </p:nvSpPr>
            <p:spPr bwMode="auto">
              <a:xfrm>
                <a:off x="3226603" y="4063064"/>
                <a:ext cx="152752" cy="109550"/>
              </a:xfrm>
              <a:custGeom>
                <a:avLst/>
                <a:gdLst>
                  <a:gd name="T0" fmla="*/ 40 w 42"/>
                  <a:gd name="T1" fmla="*/ 15 h 30"/>
                  <a:gd name="T2" fmla="*/ 25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6" y="0"/>
                      <a:pt x="25" y="0"/>
                    </a:cubicBezTo>
                    <a:cubicBezTo>
                      <a:pt x="15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7" y="30"/>
                    </a:cubicBezTo>
                    <a:cubicBezTo>
                      <a:pt x="27" y="30"/>
                      <a:pt x="37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8" name="ïSḻîḍè">
                <a:extLst>
                  <a:ext uri="{FF2B5EF4-FFF2-40B4-BE49-F238E27FC236}">
                    <a16:creationId xmlns:a16="http://schemas.microsoft.com/office/drawing/2014/main" id="{80D62C01-8B50-4398-985B-8902FB1FBF9B}"/>
                  </a:ext>
                </a:extLst>
              </p:cNvPr>
              <p:cNvSpPr/>
              <p:nvPr/>
            </p:nvSpPr>
            <p:spPr bwMode="auto">
              <a:xfrm>
                <a:off x="3394784" y="4063064"/>
                <a:ext cx="152752" cy="109550"/>
              </a:xfrm>
              <a:custGeom>
                <a:avLst/>
                <a:gdLst>
                  <a:gd name="T0" fmla="*/ 40 w 42"/>
                  <a:gd name="T1" fmla="*/ 15 h 30"/>
                  <a:gd name="T2" fmla="*/ 25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7" y="30"/>
                    </a:cubicBezTo>
                    <a:cubicBezTo>
                      <a:pt x="27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9" name="işľïḑe">
                <a:extLst>
                  <a:ext uri="{FF2B5EF4-FFF2-40B4-BE49-F238E27FC236}">
                    <a16:creationId xmlns:a16="http://schemas.microsoft.com/office/drawing/2014/main" id="{EDF74218-4392-4FDA-974C-68A0645DD7B0}"/>
                  </a:ext>
                </a:extLst>
              </p:cNvPr>
              <p:cNvSpPr/>
              <p:nvPr/>
            </p:nvSpPr>
            <p:spPr bwMode="auto">
              <a:xfrm>
                <a:off x="3562966" y="4063064"/>
                <a:ext cx="152752" cy="109550"/>
              </a:xfrm>
              <a:custGeom>
                <a:avLst/>
                <a:gdLst>
                  <a:gd name="T0" fmla="*/ 40 w 42"/>
                  <a:gd name="T1" fmla="*/ 15 h 30"/>
                  <a:gd name="T2" fmla="*/ 25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4" y="6"/>
                      <a:pt x="2" y="15"/>
                    </a:cubicBezTo>
                    <a:cubicBezTo>
                      <a:pt x="0" y="23"/>
                      <a:pt x="7" y="30"/>
                      <a:pt x="17" y="30"/>
                    </a:cubicBezTo>
                    <a:cubicBezTo>
                      <a:pt x="28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0" name="iŝḻidê">
                <a:extLst>
                  <a:ext uri="{FF2B5EF4-FFF2-40B4-BE49-F238E27FC236}">
                    <a16:creationId xmlns:a16="http://schemas.microsoft.com/office/drawing/2014/main" id="{E7E0E524-5F2E-4F92-B05A-B7CB1FF9BF17}"/>
                  </a:ext>
                </a:extLst>
              </p:cNvPr>
              <p:cNvSpPr/>
              <p:nvPr/>
            </p:nvSpPr>
            <p:spPr bwMode="auto">
              <a:xfrm>
                <a:off x="3729604" y="4063064"/>
                <a:ext cx="154295" cy="109550"/>
              </a:xfrm>
              <a:custGeom>
                <a:avLst/>
                <a:gdLst>
                  <a:gd name="T0" fmla="*/ 40 w 42"/>
                  <a:gd name="T1" fmla="*/ 15 h 30"/>
                  <a:gd name="T2" fmla="*/ 24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5" y="0"/>
                      <a:pt x="24" y="0"/>
                    </a:cubicBezTo>
                    <a:cubicBezTo>
                      <a:pt x="14" y="0"/>
                      <a:pt x="4" y="6"/>
                      <a:pt x="2" y="15"/>
                    </a:cubicBezTo>
                    <a:cubicBezTo>
                      <a:pt x="0" y="23"/>
                      <a:pt x="7" y="30"/>
                      <a:pt x="17" y="30"/>
                    </a:cubicBezTo>
                    <a:cubicBezTo>
                      <a:pt x="28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1" name="ïS1îdé">
                <a:extLst>
                  <a:ext uri="{FF2B5EF4-FFF2-40B4-BE49-F238E27FC236}">
                    <a16:creationId xmlns:a16="http://schemas.microsoft.com/office/drawing/2014/main" id="{8D44A38D-DF99-45DF-88F8-3E38B41A5115}"/>
                  </a:ext>
                </a:extLst>
              </p:cNvPr>
              <p:cNvSpPr/>
              <p:nvPr/>
            </p:nvSpPr>
            <p:spPr bwMode="auto">
              <a:xfrm>
                <a:off x="3897785" y="4063064"/>
                <a:ext cx="149666" cy="109550"/>
              </a:xfrm>
              <a:custGeom>
                <a:avLst/>
                <a:gdLst>
                  <a:gd name="T0" fmla="*/ 40 w 41"/>
                  <a:gd name="T1" fmla="*/ 15 h 30"/>
                  <a:gd name="T2" fmla="*/ 24 w 41"/>
                  <a:gd name="T3" fmla="*/ 0 h 30"/>
                  <a:gd name="T4" fmla="*/ 2 w 41"/>
                  <a:gd name="T5" fmla="*/ 15 h 30"/>
                  <a:gd name="T6" fmla="*/ 18 w 41"/>
                  <a:gd name="T7" fmla="*/ 30 h 30"/>
                  <a:gd name="T8" fmla="*/ 40 w 41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0">
                    <a:moveTo>
                      <a:pt x="40" y="15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5"/>
                    </a:cubicBezTo>
                    <a:cubicBezTo>
                      <a:pt x="0" y="23"/>
                      <a:pt x="7" y="30"/>
                      <a:pt x="18" y="30"/>
                    </a:cubicBezTo>
                    <a:cubicBezTo>
                      <a:pt x="28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2" name="íSḻide">
                <a:extLst>
                  <a:ext uri="{FF2B5EF4-FFF2-40B4-BE49-F238E27FC236}">
                    <a16:creationId xmlns:a16="http://schemas.microsoft.com/office/drawing/2014/main" id="{FC317D99-F6D8-4D1F-8522-18E247D9D5B4}"/>
                  </a:ext>
                </a:extLst>
              </p:cNvPr>
              <p:cNvSpPr/>
              <p:nvPr/>
            </p:nvSpPr>
            <p:spPr bwMode="auto">
              <a:xfrm>
                <a:off x="2843953" y="4198843"/>
                <a:ext cx="160466" cy="112636"/>
              </a:xfrm>
              <a:custGeom>
                <a:avLst/>
                <a:gdLst>
                  <a:gd name="T0" fmla="*/ 41 w 44"/>
                  <a:gd name="T1" fmla="*/ 15 h 31"/>
                  <a:gd name="T2" fmla="*/ 27 w 44"/>
                  <a:gd name="T3" fmla="*/ 0 h 31"/>
                  <a:gd name="T4" fmla="*/ 3 w 44"/>
                  <a:gd name="T5" fmla="*/ 15 h 31"/>
                  <a:gd name="T6" fmla="*/ 16 w 44"/>
                  <a:gd name="T7" fmla="*/ 31 h 31"/>
                  <a:gd name="T8" fmla="*/ 41 w 44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1" y="15"/>
                    </a:moveTo>
                    <a:cubicBezTo>
                      <a:pt x="44" y="7"/>
                      <a:pt x="37" y="0"/>
                      <a:pt x="27" y="0"/>
                    </a:cubicBezTo>
                    <a:cubicBezTo>
                      <a:pt x="16" y="0"/>
                      <a:pt x="6" y="7"/>
                      <a:pt x="3" y="15"/>
                    </a:cubicBezTo>
                    <a:cubicBezTo>
                      <a:pt x="0" y="24"/>
                      <a:pt x="6" y="31"/>
                      <a:pt x="16" y="31"/>
                    </a:cubicBezTo>
                    <a:cubicBezTo>
                      <a:pt x="27" y="31"/>
                      <a:pt x="38" y="24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3" name="iśľïďe">
                <a:extLst>
                  <a:ext uri="{FF2B5EF4-FFF2-40B4-BE49-F238E27FC236}">
                    <a16:creationId xmlns:a16="http://schemas.microsoft.com/office/drawing/2014/main" id="{8EFECBEC-1EE9-4796-B622-68C480E01D7E}"/>
                  </a:ext>
                </a:extLst>
              </p:cNvPr>
              <p:cNvSpPr/>
              <p:nvPr/>
            </p:nvSpPr>
            <p:spPr bwMode="auto">
              <a:xfrm>
                <a:off x="3015219" y="4198843"/>
                <a:ext cx="155838" cy="112636"/>
              </a:xfrm>
              <a:custGeom>
                <a:avLst/>
                <a:gdLst>
                  <a:gd name="T0" fmla="*/ 40 w 43"/>
                  <a:gd name="T1" fmla="*/ 15 h 31"/>
                  <a:gd name="T2" fmla="*/ 26 w 43"/>
                  <a:gd name="T3" fmla="*/ 0 h 31"/>
                  <a:gd name="T4" fmla="*/ 2 w 43"/>
                  <a:gd name="T5" fmla="*/ 15 h 31"/>
                  <a:gd name="T6" fmla="*/ 16 w 43"/>
                  <a:gd name="T7" fmla="*/ 31 h 31"/>
                  <a:gd name="T8" fmla="*/ 40 w 43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1">
                    <a:moveTo>
                      <a:pt x="40" y="15"/>
                    </a:moveTo>
                    <a:cubicBezTo>
                      <a:pt x="43" y="7"/>
                      <a:pt x="37" y="0"/>
                      <a:pt x="26" y="0"/>
                    </a:cubicBezTo>
                    <a:cubicBezTo>
                      <a:pt x="16" y="0"/>
                      <a:pt x="5" y="7"/>
                      <a:pt x="2" y="15"/>
                    </a:cubicBezTo>
                    <a:cubicBezTo>
                      <a:pt x="0" y="24"/>
                      <a:pt x="6" y="31"/>
                      <a:pt x="16" y="31"/>
                    </a:cubicBezTo>
                    <a:cubicBezTo>
                      <a:pt x="27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4" name="iŝḻiḓê">
                <a:extLst>
                  <a:ext uri="{FF2B5EF4-FFF2-40B4-BE49-F238E27FC236}">
                    <a16:creationId xmlns:a16="http://schemas.microsoft.com/office/drawing/2014/main" id="{FEAA9656-89F6-4AD2-8460-80FED5DED638}"/>
                  </a:ext>
                </a:extLst>
              </p:cNvPr>
              <p:cNvSpPr/>
              <p:nvPr/>
            </p:nvSpPr>
            <p:spPr bwMode="auto">
              <a:xfrm>
                <a:off x="3183401" y="4198843"/>
                <a:ext cx="160466" cy="112636"/>
              </a:xfrm>
              <a:custGeom>
                <a:avLst/>
                <a:gdLst>
                  <a:gd name="T0" fmla="*/ 41 w 44"/>
                  <a:gd name="T1" fmla="*/ 15 h 31"/>
                  <a:gd name="T2" fmla="*/ 27 w 44"/>
                  <a:gd name="T3" fmla="*/ 0 h 31"/>
                  <a:gd name="T4" fmla="*/ 3 w 44"/>
                  <a:gd name="T5" fmla="*/ 15 h 31"/>
                  <a:gd name="T6" fmla="*/ 17 w 44"/>
                  <a:gd name="T7" fmla="*/ 31 h 31"/>
                  <a:gd name="T8" fmla="*/ 41 w 44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1" y="15"/>
                    </a:moveTo>
                    <a:cubicBezTo>
                      <a:pt x="44" y="7"/>
                      <a:pt x="37" y="0"/>
                      <a:pt x="27" y="0"/>
                    </a:cubicBezTo>
                    <a:cubicBezTo>
                      <a:pt x="16" y="0"/>
                      <a:pt x="6" y="7"/>
                      <a:pt x="3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9" y="24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5" name="iṧliḍê">
                <a:extLst>
                  <a:ext uri="{FF2B5EF4-FFF2-40B4-BE49-F238E27FC236}">
                    <a16:creationId xmlns:a16="http://schemas.microsoft.com/office/drawing/2014/main" id="{8E01BF65-EA20-4F12-B348-23B70D81E93D}"/>
                  </a:ext>
                </a:extLst>
              </p:cNvPr>
              <p:cNvSpPr/>
              <p:nvPr/>
            </p:nvSpPr>
            <p:spPr bwMode="auto">
              <a:xfrm>
                <a:off x="3354667" y="4198843"/>
                <a:ext cx="155838" cy="112636"/>
              </a:xfrm>
              <a:custGeom>
                <a:avLst/>
                <a:gdLst>
                  <a:gd name="T0" fmla="*/ 41 w 43"/>
                  <a:gd name="T1" fmla="*/ 15 h 31"/>
                  <a:gd name="T2" fmla="*/ 26 w 43"/>
                  <a:gd name="T3" fmla="*/ 0 h 31"/>
                  <a:gd name="T4" fmla="*/ 3 w 43"/>
                  <a:gd name="T5" fmla="*/ 15 h 31"/>
                  <a:gd name="T6" fmla="*/ 17 w 43"/>
                  <a:gd name="T7" fmla="*/ 31 h 31"/>
                  <a:gd name="T8" fmla="*/ 41 w 43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1">
                    <a:moveTo>
                      <a:pt x="41" y="15"/>
                    </a:moveTo>
                    <a:cubicBezTo>
                      <a:pt x="43" y="7"/>
                      <a:pt x="36" y="0"/>
                      <a:pt x="26" y="0"/>
                    </a:cubicBezTo>
                    <a:cubicBezTo>
                      <a:pt x="16" y="0"/>
                      <a:pt x="5" y="7"/>
                      <a:pt x="3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6" name="ïṥḷîḓê">
                <a:extLst>
                  <a:ext uri="{FF2B5EF4-FFF2-40B4-BE49-F238E27FC236}">
                    <a16:creationId xmlns:a16="http://schemas.microsoft.com/office/drawing/2014/main" id="{6C713B7E-A48E-4DE8-A063-60E8E8C273A6}"/>
                  </a:ext>
                </a:extLst>
              </p:cNvPr>
              <p:cNvSpPr/>
              <p:nvPr/>
            </p:nvSpPr>
            <p:spPr bwMode="auto">
              <a:xfrm>
                <a:off x="3525935" y="4198843"/>
                <a:ext cx="157381" cy="112636"/>
              </a:xfrm>
              <a:custGeom>
                <a:avLst/>
                <a:gdLst>
                  <a:gd name="T0" fmla="*/ 40 w 43"/>
                  <a:gd name="T1" fmla="*/ 15 h 31"/>
                  <a:gd name="T2" fmla="*/ 25 w 43"/>
                  <a:gd name="T3" fmla="*/ 0 h 31"/>
                  <a:gd name="T4" fmla="*/ 2 w 43"/>
                  <a:gd name="T5" fmla="*/ 15 h 31"/>
                  <a:gd name="T6" fmla="*/ 17 w 43"/>
                  <a:gd name="T7" fmla="*/ 31 h 31"/>
                  <a:gd name="T8" fmla="*/ 40 w 43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1">
                    <a:moveTo>
                      <a:pt x="40" y="15"/>
                    </a:moveTo>
                    <a:cubicBezTo>
                      <a:pt x="43" y="7"/>
                      <a:pt x="36" y="0"/>
                      <a:pt x="25" y="0"/>
                    </a:cubicBezTo>
                    <a:cubicBezTo>
                      <a:pt x="15" y="0"/>
                      <a:pt x="5" y="7"/>
                      <a:pt x="2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7" name="í$ḻidè">
                <a:extLst>
                  <a:ext uri="{FF2B5EF4-FFF2-40B4-BE49-F238E27FC236}">
                    <a16:creationId xmlns:a16="http://schemas.microsoft.com/office/drawing/2014/main" id="{462FE670-B7A6-4076-9E7F-D23E2FCB3910}"/>
                  </a:ext>
                </a:extLst>
              </p:cNvPr>
              <p:cNvSpPr/>
              <p:nvPr/>
            </p:nvSpPr>
            <p:spPr bwMode="auto">
              <a:xfrm>
                <a:off x="3697202" y="4198843"/>
                <a:ext cx="152752" cy="112636"/>
              </a:xfrm>
              <a:custGeom>
                <a:avLst/>
                <a:gdLst>
                  <a:gd name="T0" fmla="*/ 40 w 42"/>
                  <a:gd name="T1" fmla="*/ 15 h 31"/>
                  <a:gd name="T2" fmla="*/ 25 w 42"/>
                  <a:gd name="T3" fmla="*/ 0 h 31"/>
                  <a:gd name="T4" fmla="*/ 2 w 42"/>
                  <a:gd name="T5" fmla="*/ 15 h 31"/>
                  <a:gd name="T6" fmla="*/ 17 w 42"/>
                  <a:gd name="T7" fmla="*/ 31 h 31"/>
                  <a:gd name="T8" fmla="*/ 40 w 42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1">
                    <a:moveTo>
                      <a:pt x="40" y="15"/>
                    </a:moveTo>
                    <a:cubicBezTo>
                      <a:pt x="42" y="7"/>
                      <a:pt x="35" y="0"/>
                      <a:pt x="25" y="0"/>
                    </a:cubicBezTo>
                    <a:cubicBezTo>
                      <a:pt x="14" y="0"/>
                      <a:pt x="4" y="7"/>
                      <a:pt x="2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8" name="íSḻiḓè">
                <a:extLst>
                  <a:ext uri="{FF2B5EF4-FFF2-40B4-BE49-F238E27FC236}">
                    <a16:creationId xmlns:a16="http://schemas.microsoft.com/office/drawing/2014/main" id="{7C4DDA9F-4636-4420-BAB2-52FCA3C61726}"/>
                  </a:ext>
                </a:extLst>
              </p:cNvPr>
              <p:cNvSpPr/>
              <p:nvPr/>
            </p:nvSpPr>
            <p:spPr bwMode="auto">
              <a:xfrm>
                <a:off x="3868469" y="4198843"/>
                <a:ext cx="154295" cy="112636"/>
              </a:xfrm>
              <a:custGeom>
                <a:avLst/>
                <a:gdLst>
                  <a:gd name="T0" fmla="*/ 40 w 42"/>
                  <a:gd name="T1" fmla="*/ 15 h 31"/>
                  <a:gd name="T2" fmla="*/ 24 w 42"/>
                  <a:gd name="T3" fmla="*/ 0 h 31"/>
                  <a:gd name="T4" fmla="*/ 2 w 42"/>
                  <a:gd name="T5" fmla="*/ 15 h 31"/>
                  <a:gd name="T6" fmla="*/ 17 w 42"/>
                  <a:gd name="T7" fmla="*/ 31 h 31"/>
                  <a:gd name="T8" fmla="*/ 40 w 42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1">
                    <a:moveTo>
                      <a:pt x="40" y="15"/>
                    </a:moveTo>
                    <a:cubicBezTo>
                      <a:pt x="42" y="7"/>
                      <a:pt x="35" y="0"/>
                      <a:pt x="24" y="0"/>
                    </a:cubicBezTo>
                    <a:cubicBezTo>
                      <a:pt x="14" y="0"/>
                      <a:pt x="4" y="7"/>
                      <a:pt x="2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9" name="î$ḷïdè">
                <a:extLst>
                  <a:ext uri="{FF2B5EF4-FFF2-40B4-BE49-F238E27FC236}">
                    <a16:creationId xmlns:a16="http://schemas.microsoft.com/office/drawing/2014/main" id="{845C51D9-CA80-4C04-870E-FB7E764B4600}"/>
                  </a:ext>
                </a:extLst>
              </p:cNvPr>
              <p:cNvSpPr/>
              <p:nvPr/>
            </p:nvSpPr>
            <p:spPr bwMode="auto">
              <a:xfrm>
                <a:off x="2793035" y="4337708"/>
                <a:ext cx="163552" cy="115721"/>
              </a:xfrm>
              <a:custGeom>
                <a:avLst/>
                <a:gdLst>
                  <a:gd name="T0" fmla="*/ 42 w 45"/>
                  <a:gd name="T1" fmla="*/ 16 h 32"/>
                  <a:gd name="T2" fmla="*/ 28 w 45"/>
                  <a:gd name="T3" fmla="*/ 0 h 32"/>
                  <a:gd name="T4" fmla="*/ 3 w 45"/>
                  <a:gd name="T5" fmla="*/ 16 h 32"/>
                  <a:gd name="T6" fmla="*/ 17 w 45"/>
                  <a:gd name="T7" fmla="*/ 32 h 32"/>
                  <a:gd name="T8" fmla="*/ 42 w 45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2">
                    <a:moveTo>
                      <a:pt x="42" y="16"/>
                    </a:moveTo>
                    <a:cubicBezTo>
                      <a:pt x="45" y="7"/>
                      <a:pt x="39" y="0"/>
                      <a:pt x="28" y="0"/>
                    </a:cubicBezTo>
                    <a:cubicBezTo>
                      <a:pt x="17" y="0"/>
                      <a:pt x="6" y="7"/>
                      <a:pt x="3" y="16"/>
                    </a:cubicBezTo>
                    <a:cubicBezTo>
                      <a:pt x="0" y="25"/>
                      <a:pt x="7" y="32"/>
                      <a:pt x="17" y="32"/>
                    </a:cubicBezTo>
                    <a:cubicBezTo>
                      <a:pt x="28" y="32"/>
                      <a:pt x="39" y="25"/>
                      <a:pt x="4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0" name="iŝliḑè">
                <a:extLst>
                  <a:ext uri="{FF2B5EF4-FFF2-40B4-BE49-F238E27FC236}">
                    <a16:creationId xmlns:a16="http://schemas.microsoft.com/office/drawing/2014/main" id="{65D2C129-E3C3-4875-B449-58BCC3FFB552}"/>
                  </a:ext>
                </a:extLst>
              </p:cNvPr>
              <p:cNvSpPr/>
              <p:nvPr/>
            </p:nvSpPr>
            <p:spPr bwMode="auto">
              <a:xfrm>
                <a:off x="2967388" y="4337708"/>
                <a:ext cx="160466" cy="115721"/>
              </a:xfrm>
              <a:custGeom>
                <a:avLst/>
                <a:gdLst>
                  <a:gd name="T0" fmla="*/ 42 w 44"/>
                  <a:gd name="T1" fmla="*/ 16 h 32"/>
                  <a:gd name="T2" fmla="*/ 27 w 44"/>
                  <a:gd name="T3" fmla="*/ 0 h 32"/>
                  <a:gd name="T4" fmla="*/ 3 w 44"/>
                  <a:gd name="T5" fmla="*/ 16 h 32"/>
                  <a:gd name="T6" fmla="*/ 17 w 44"/>
                  <a:gd name="T7" fmla="*/ 32 h 32"/>
                  <a:gd name="T8" fmla="*/ 42 w 44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2">
                    <a:moveTo>
                      <a:pt x="42" y="16"/>
                    </a:moveTo>
                    <a:cubicBezTo>
                      <a:pt x="44" y="7"/>
                      <a:pt x="38" y="0"/>
                      <a:pt x="27" y="0"/>
                    </a:cubicBezTo>
                    <a:cubicBezTo>
                      <a:pt x="17" y="0"/>
                      <a:pt x="6" y="7"/>
                      <a:pt x="3" y="16"/>
                    </a:cubicBezTo>
                    <a:cubicBezTo>
                      <a:pt x="0" y="25"/>
                      <a:pt x="6" y="32"/>
                      <a:pt x="17" y="32"/>
                    </a:cubicBezTo>
                    <a:cubicBezTo>
                      <a:pt x="28" y="32"/>
                      <a:pt x="39" y="25"/>
                      <a:pt x="4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1" name="íṩļïḋé">
                <a:extLst>
                  <a:ext uri="{FF2B5EF4-FFF2-40B4-BE49-F238E27FC236}">
                    <a16:creationId xmlns:a16="http://schemas.microsoft.com/office/drawing/2014/main" id="{E447C198-12B6-4081-82E0-500262DF8BEB}"/>
                  </a:ext>
                </a:extLst>
              </p:cNvPr>
              <p:cNvSpPr/>
              <p:nvPr/>
            </p:nvSpPr>
            <p:spPr bwMode="auto">
              <a:xfrm>
                <a:off x="3143284" y="4337708"/>
                <a:ext cx="160466" cy="115721"/>
              </a:xfrm>
              <a:custGeom>
                <a:avLst/>
                <a:gdLst>
                  <a:gd name="T0" fmla="*/ 41 w 44"/>
                  <a:gd name="T1" fmla="*/ 16 h 32"/>
                  <a:gd name="T2" fmla="*/ 26 w 44"/>
                  <a:gd name="T3" fmla="*/ 0 h 32"/>
                  <a:gd name="T4" fmla="*/ 2 w 44"/>
                  <a:gd name="T5" fmla="*/ 16 h 32"/>
                  <a:gd name="T6" fmla="*/ 17 w 44"/>
                  <a:gd name="T7" fmla="*/ 32 h 32"/>
                  <a:gd name="T8" fmla="*/ 41 w 44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2">
                    <a:moveTo>
                      <a:pt x="41" y="16"/>
                    </a:moveTo>
                    <a:cubicBezTo>
                      <a:pt x="44" y="7"/>
                      <a:pt x="37" y="0"/>
                      <a:pt x="26" y="0"/>
                    </a:cubicBezTo>
                    <a:cubicBezTo>
                      <a:pt x="16" y="0"/>
                      <a:pt x="5" y="7"/>
                      <a:pt x="2" y="16"/>
                    </a:cubicBezTo>
                    <a:cubicBezTo>
                      <a:pt x="0" y="25"/>
                      <a:pt x="6" y="32"/>
                      <a:pt x="17" y="32"/>
                    </a:cubicBezTo>
                    <a:cubicBezTo>
                      <a:pt x="28" y="32"/>
                      <a:pt x="38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2" name="íṣļîḍé">
                <a:extLst>
                  <a:ext uri="{FF2B5EF4-FFF2-40B4-BE49-F238E27FC236}">
                    <a16:creationId xmlns:a16="http://schemas.microsoft.com/office/drawing/2014/main" id="{EF9DB0C8-A31E-4040-BC13-D52FD83C96CD}"/>
                  </a:ext>
                </a:extLst>
              </p:cNvPr>
              <p:cNvSpPr/>
              <p:nvPr/>
            </p:nvSpPr>
            <p:spPr bwMode="auto">
              <a:xfrm>
                <a:off x="3314551" y="4337708"/>
                <a:ext cx="160466" cy="115721"/>
              </a:xfrm>
              <a:custGeom>
                <a:avLst/>
                <a:gdLst>
                  <a:gd name="T0" fmla="*/ 41 w 44"/>
                  <a:gd name="T1" fmla="*/ 16 h 32"/>
                  <a:gd name="T2" fmla="*/ 26 w 44"/>
                  <a:gd name="T3" fmla="*/ 0 h 32"/>
                  <a:gd name="T4" fmla="*/ 3 w 44"/>
                  <a:gd name="T5" fmla="*/ 16 h 32"/>
                  <a:gd name="T6" fmla="*/ 18 w 44"/>
                  <a:gd name="T7" fmla="*/ 32 h 32"/>
                  <a:gd name="T8" fmla="*/ 41 w 44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2">
                    <a:moveTo>
                      <a:pt x="41" y="16"/>
                    </a:moveTo>
                    <a:cubicBezTo>
                      <a:pt x="44" y="7"/>
                      <a:pt x="37" y="0"/>
                      <a:pt x="26" y="0"/>
                    </a:cubicBezTo>
                    <a:cubicBezTo>
                      <a:pt x="16" y="0"/>
                      <a:pt x="5" y="7"/>
                      <a:pt x="3" y="16"/>
                    </a:cubicBezTo>
                    <a:cubicBezTo>
                      <a:pt x="0" y="25"/>
                      <a:pt x="7" y="32"/>
                      <a:pt x="18" y="32"/>
                    </a:cubicBezTo>
                    <a:cubicBezTo>
                      <a:pt x="28" y="32"/>
                      <a:pt x="39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3" name="iṧļîḓé">
                <a:extLst>
                  <a:ext uri="{FF2B5EF4-FFF2-40B4-BE49-F238E27FC236}">
                    <a16:creationId xmlns:a16="http://schemas.microsoft.com/office/drawing/2014/main" id="{C565BB6D-C386-4F34-9ABA-FFB218FB51D7}"/>
                  </a:ext>
                </a:extLst>
              </p:cNvPr>
              <p:cNvSpPr/>
              <p:nvPr/>
            </p:nvSpPr>
            <p:spPr bwMode="auto">
              <a:xfrm>
                <a:off x="3488904" y="4337708"/>
                <a:ext cx="157381" cy="115721"/>
              </a:xfrm>
              <a:custGeom>
                <a:avLst/>
                <a:gdLst>
                  <a:gd name="T0" fmla="*/ 41 w 43"/>
                  <a:gd name="T1" fmla="*/ 16 h 32"/>
                  <a:gd name="T2" fmla="*/ 26 w 43"/>
                  <a:gd name="T3" fmla="*/ 0 h 32"/>
                  <a:gd name="T4" fmla="*/ 2 w 43"/>
                  <a:gd name="T5" fmla="*/ 16 h 32"/>
                  <a:gd name="T6" fmla="*/ 17 w 43"/>
                  <a:gd name="T7" fmla="*/ 32 h 32"/>
                  <a:gd name="T8" fmla="*/ 41 w 43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2">
                    <a:moveTo>
                      <a:pt x="41" y="16"/>
                    </a:moveTo>
                    <a:cubicBezTo>
                      <a:pt x="43" y="7"/>
                      <a:pt x="36" y="0"/>
                      <a:pt x="26" y="0"/>
                    </a:cubicBezTo>
                    <a:cubicBezTo>
                      <a:pt x="15" y="0"/>
                      <a:pt x="4" y="7"/>
                      <a:pt x="2" y="16"/>
                    </a:cubicBezTo>
                    <a:cubicBezTo>
                      <a:pt x="0" y="25"/>
                      <a:pt x="7" y="32"/>
                      <a:pt x="17" y="32"/>
                    </a:cubicBezTo>
                    <a:cubicBezTo>
                      <a:pt x="28" y="32"/>
                      <a:pt x="39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4" name="ïṧ1ïḍè">
                <a:extLst>
                  <a:ext uri="{FF2B5EF4-FFF2-40B4-BE49-F238E27FC236}">
                    <a16:creationId xmlns:a16="http://schemas.microsoft.com/office/drawing/2014/main" id="{44F1F59D-97EB-4791-B718-5539F6255B35}"/>
                  </a:ext>
                </a:extLst>
              </p:cNvPr>
              <p:cNvSpPr/>
              <p:nvPr/>
            </p:nvSpPr>
            <p:spPr bwMode="auto">
              <a:xfrm>
                <a:off x="2745204" y="4479659"/>
                <a:ext cx="163552" cy="123436"/>
              </a:xfrm>
              <a:custGeom>
                <a:avLst/>
                <a:gdLst>
                  <a:gd name="T0" fmla="*/ 42 w 45"/>
                  <a:gd name="T1" fmla="*/ 17 h 34"/>
                  <a:gd name="T2" fmla="*/ 28 w 45"/>
                  <a:gd name="T3" fmla="*/ 0 h 34"/>
                  <a:gd name="T4" fmla="*/ 3 w 45"/>
                  <a:gd name="T5" fmla="*/ 17 h 34"/>
                  <a:gd name="T6" fmla="*/ 17 w 45"/>
                  <a:gd name="T7" fmla="*/ 34 h 34"/>
                  <a:gd name="T8" fmla="*/ 42 w 45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4">
                    <a:moveTo>
                      <a:pt x="42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6"/>
                      <a:pt x="6" y="34"/>
                      <a:pt x="17" y="34"/>
                    </a:cubicBezTo>
                    <a:cubicBezTo>
                      <a:pt x="28" y="34"/>
                      <a:pt x="39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5" name="iSľíḍê">
                <a:extLst>
                  <a:ext uri="{FF2B5EF4-FFF2-40B4-BE49-F238E27FC236}">
                    <a16:creationId xmlns:a16="http://schemas.microsoft.com/office/drawing/2014/main" id="{158A35F0-6C76-4461-8E41-4F872AE6577F}"/>
                  </a:ext>
                </a:extLst>
              </p:cNvPr>
              <p:cNvSpPr/>
              <p:nvPr/>
            </p:nvSpPr>
            <p:spPr bwMode="auto">
              <a:xfrm>
                <a:off x="2919557" y="4479659"/>
                <a:ext cx="165096" cy="123436"/>
              </a:xfrm>
              <a:custGeom>
                <a:avLst/>
                <a:gdLst>
                  <a:gd name="T0" fmla="*/ 42 w 45"/>
                  <a:gd name="T1" fmla="*/ 17 h 34"/>
                  <a:gd name="T2" fmla="*/ 28 w 45"/>
                  <a:gd name="T3" fmla="*/ 0 h 34"/>
                  <a:gd name="T4" fmla="*/ 3 w 45"/>
                  <a:gd name="T5" fmla="*/ 17 h 34"/>
                  <a:gd name="T6" fmla="*/ 17 w 45"/>
                  <a:gd name="T7" fmla="*/ 34 h 34"/>
                  <a:gd name="T8" fmla="*/ 42 w 45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4">
                    <a:moveTo>
                      <a:pt x="42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6"/>
                      <a:pt x="6" y="34"/>
                      <a:pt x="17" y="34"/>
                    </a:cubicBezTo>
                    <a:cubicBezTo>
                      <a:pt x="28" y="34"/>
                      <a:pt x="39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6" name="îsḷîďé">
                <a:extLst>
                  <a:ext uri="{FF2B5EF4-FFF2-40B4-BE49-F238E27FC236}">
                    <a16:creationId xmlns:a16="http://schemas.microsoft.com/office/drawing/2014/main" id="{4F303729-7E2D-4D79-9E8E-379A4E99BC2B}"/>
                  </a:ext>
                </a:extLst>
              </p:cNvPr>
              <p:cNvSpPr/>
              <p:nvPr/>
            </p:nvSpPr>
            <p:spPr bwMode="auto">
              <a:xfrm>
                <a:off x="3095452" y="4479659"/>
                <a:ext cx="163552" cy="123436"/>
              </a:xfrm>
              <a:custGeom>
                <a:avLst/>
                <a:gdLst>
                  <a:gd name="T0" fmla="*/ 43 w 45"/>
                  <a:gd name="T1" fmla="*/ 17 h 34"/>
                  <a:gd name="T2" fmla="*/ 28 w 45"/>
                  <a:gd name="T3" fmla="*/ 0 h 34"/>
                  <a:gd name="T4" fmla="*/ 3 w 45"/>
                  <a:gd name="T5" fmla="*/ 17 h 34"/>
                  <a:gd name="T6" fmla="*/ 18 w 45"/>
                  <a:gd name="T7" fmla="*/ 34 h 34"/>
                  <a:gd name="T8" fmla="*/ 43 w 45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4">
                    <a:moveTo>
                      <a:pt x="43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6"/>
                      <a:pt x="7" y="34"/>
                      <a:pt x="18" y="34"/>
                    </a:cubicBezTo>
                    <a:cubicBezTo>
                      <a:pt x="29" y="34"/>
                      <a:pt x="40" y="26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7" name="ïṥḻíḓe">
                <a:extLst>
                  <a:ext uri="{FF2B5EF4-FFF2-40B4-BE49-F238E27FC236}">
                    <a16:creationId xmlns:a16="http://schemas.microsoft.com/office/drawing/2014/main" id="{43795EFE-995A-4A47-89FB-074DD2E3BF5F}"/>
                  </a:ext>
                </a:extLst>
              </p:cNvPr>
              <p:cNvSpPr/>
              <p:nvPr/>
            </p:nvSpPr>
            <p:spPr bwMode="auto">
              <a:xfrm>
                <a:off x="3274434" y="4479659"/>
                <a:ext cx="160466" cy="123436"/>
              </a:xfrm>
              <a:custGeom>
                <a:avLst/>
                <a:gdLst>
                  <a:gd name="T0" fmla="*/ 42 w 44"/>
                  <a:gd name="T1" fmla="*/ 17 h 34"/>
                  <a:gd name="T2" fmla="*/ 27 w 44"/>
                  <a:gd name="T3" fmla="*/ 0 h 34"/>
                  <a:gd name="T4" fmla="*/ 2 w 44"/>
                  <a:gd name="T5" fmla="*/ 17 h 34"/>
                  <a:gd name="T6" fmla="*/ 17 w 44"/>
                  <a:gd name="T7" fmla="*/ 34 h 34"/>
                  <a:gd name="T8" fmla="*/ 42 w 44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4">
                    <a:moveTo>
                      <a:pt x="42" y="17"/>
                    </a:moveTo>
                    <a:cubicBezTo>
                      <a:pt x="44" y="8"/>
                      <a:pt x="37" y="0"/>
                      <a:pt x="27" y="0"/>
                    </a:cubicBezTo>
                    <a:cubicBezTo>
                      <a:pt x="16" y="0"/>
                      <a:pt x="5" y="8"/>
                      <a:pt x="2" y="17"/>
                    </a:cubicBezTo>
                    <a:cubicBezTo>
                      <a:pt x="0" y="26"/>
                      <a:pt x="7" y="34"/>
                      <a:pt x="17" y="34"/>
                    </a:cubicBezTo>
                    <a:cubicBezTo>
                      <a:pt x="28" y="34"/>
                      <a:pt x="39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8" name="îSḷiḓè">
                <a:extLst>
                  <a:ext uri="{FF2B5EF4-FFF2-40B4-BE49-F238E27FC236}">
                    <a16:creationId xmlns:a16="http://schemas.microsoft.com/office/drawing/2014/main" id="{F4FEF5F3-7915-44AC-9A66-CAF56C0E4D4A}"/>
                  </a:ext>
                </a:extLst>
              </p:cNvPr>
              <p:cNvSpPr/>
              <p:nvPr/>
            </p:nvSpPr>
            <p:spPr bwMode="auto">
              <a:xfrm>
                <a:off x="3448788" y="4479659"/>
                <a:ext cx="160466" cy="123436"/>
              </a:xfrm>
              <a:custGeom>
                <a:avLst/>
                <a:gdLst>
                  <a:gd name="T0" fmla="*/ 42 w 44"/>
                  <a:gd name="T1" fmla="*/ 17 h 34"/>
                  <a:gd name="T2" fmla="*/ 27 w 44"/>
                  <a:gd name="T3" fmla="*/ 0 h 34"/>
                  <a:gd name="T4" fmla="*/ 3 w 44"/>
                  <a:gd name="T5" fmla="*/ 17 h 34"/>
                  <a:gd name="T6" fmla="*/ 18 w 44"/>
                  <a:gd name="T7" fmla="*/ 34 h 34"/>
                  <a:gd name="T8" fmla="*/ 42 w 44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4">
                    <a:moveTo>
                      <a:pt x="42" y="17"/>
                    </a:moveTo>
                    <a:cubicBezTo>
                      <a:pt x="44" y="8"/>
                      <a:pt x="37" y="0"/>
                      <a:pt x="27" y="0"/>
                    </a:cubicBezTo>
                    <a:cubicBezTo>
                      <a:pt x="16" y="0"/>
                      <a:pt x="5" y="8"/>
                      <a:pt x="3" y="17"/>
                    </a:cubicBezTo>
                    <a:cubicBezTo>
                      <a:pt x="0" y="26"/>
                      <a:pt x="7" y="34"/>
                      <a:pt x="18" y="34"/>
                    </a:cubicBezTo>
                    <a:cubicBezTo>
                      <a:pt x="29" y="34"/>
                      <a:pt x="40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9" name="ïṥ1îḋê">
                <a:extLst>
                  <a:ext uri="{FF2B5EF4-FFF2-40B4-BE49-F238E27FC236}">
                    <a16:creationId xmlns:a16="http://schemas.microsoft.com/office/drawing/2014/main" id="{75156F06-19A3-4211-8252-69EAB6696536}"/>
                  </a:ext>
                </a:extLst>
              </p:cNvPr>
              <p:cNvSpPr/>
              <p:nvPr/>
            </p:nvSpPr>
            <p:spPr bwMode="auto">
              <a:xfrm>
                <a:off x="2689658" y="4629324"/>
                <a:ext cx="171268" cy="128065"/>
              </a:xfrm>
              <a:custGeom>
                <a:avLst/>
                <a:gdLst>
                  <a:gd name="T0" fmla="*/ 44 w 47"/>
                  <a:gd name="T1" fmla="*/ 17 h 35"/>
                  <a:gd name="T2" fmla="*/ 29 w 47"/>
                  <a:gd name="T3" fmla="*/ 0 h 35"/>
                  <a:gd name="T4" fmla="*/ 4 w 47"/>
                  <a:gd name="T5" fmla="*/ 17 h 35"/>
                  <a:gd name="T6" fmla="*/ 18 w 47"/>
                  <a:gd name="T7" fmla="*/ 35 h 35"/>
                  <a:gd name="T8" fmla="*/ 44 w 47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5">
                    <a:moveTo>
                      <a:pt x="44" y="17"/>
                    </a:moveTo>
                    <a:cubicBezTo>
                      <a:pt x="47" y="8"/>
                      <a:pt x="40" y="0"/>
                      <a:pt x="29" y="0"/>
                    </a:cubicBezTo>
                    <a:cubicBezTo>
                      <a:pt x="18" y="0"/>
                      <a:pt x="7" y="8"/>
                      <a:pt x="4" y="17"/>
                    </a:cubicBezTo>
                    <a:cubicBezTo>
                      <a:pt x="0" y="27"/>
                      <a:pt x="7" y="35"/>
                      <a:pt x="18" y="35"/>
                    </a:cubicBezTo>
                    <a:cubicBezTo>
                      <a:pt x="29" y="35"/>
                      <a:pt x="41" y="27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0" name="íṡ1íďe">
                <a:extLst>
                  <a:ext uri="{FF2B5EF4-FFF2-40B4-BE49-F238E27FC236}">
                    <a16:creationId xmlns:a16="http://schemas.microsoft.com/office/drawing/2014/main" id="{CD4FBC25-955B-45A8-858E-97C5CBF8972B}"/>
                  </a:ext>
                </a:extLst>
              </p:cNvPr>
              <p:cNvSpPr/>
              <p:nvPr/>
            </p:nvSpPr>
            <p:spPr bwMode="auto">
              <a:xfrm>
                <a:off x="2873268" y="4629324"/>
                <a:ext cx="166638" cy="128065"/>
              </a:xfrm>
              <a:custGeom>
                <a:avLst/>
                <a:gdLst>
                  <a:gd name="T0" fmla="*/ 43 w 46"/>
                  <a:gd name="T1" fmla="*/ 17 h 35"/>
                  <a:gd name="T2" fmla="*/ 28 w 46"/>
                  <a:gd name="T3" fmla="*/ 0 h 35"/>
                  <a:gd name="T4" fmla="*/ 3 w 46"/>
                  <a:gd name="T5" fmla="*/ 17 h 35"/>
                  <a:gd name="T6" fmla="*/ 17 w 46"/>
                  <a:gd name="T7" fmla="*/ 35 h 35"/>
                  <a:gd name="T8" fmla="*/ 43 w 46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5">
                    <a:moveTo>
                      <a:pt x="43" y="17"/>
                    </a:moveTo>
                    <a:cubicBezTo>
                      <a:pt x="46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7"/>
                      <a:pt x="6" y="35"/>
                      <a:pt x="17" y="35"/>
                    </a:cubicBezTo>
                    <a:cubicBezTo>
                      <a:pt x="28" y="35"/>
                      <a:pt x="40" y="27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1" name="iSlîďè">
                <a:extLst>
                  <a:ext uri="{FF2B5EF4-FFF2-40B4-BE49-F238E27FC236}">
                    <a16:creationId xmlns:a16="http://schemas.microsoft.com/office/drawing/2014/main" id="{DB918363-E54D-4A79-9781-B93E8E93279F}"/>
                  </a:ext>
                </a:extLst>
              </p:cNvPr>
              <p:cNvSpPr/>
              <p:nvPr/>
            </p:nvSpPr>
            <p:spPr bwMode="auto">
              <a:xfrm>
                <a:off x="3050707" y="4629324"/>
                <a:ext cx="165096" cy="128065"/>
              </a:xfrm>
              <a:custGeom>
                <a:avLst/>
                <a:gdLst>
                  <a:gd name="T0" fmla="*/ 43 w 45"/>
                  <a:gd name="T1" fmla="*/ 17 h 35"/>
                  <a:gd name="T2" fmla="*/ 28 w 45"/>
                  <a:gd name="T3" fmla="*/ 0 h 35"/>
                  <a:gd name="T4" fmla="*/ 3 w 45"/>
                  <a:gd name="T5" fmla="*/ 17 h 35"/>
                  <a:gd name="T6" fmla="*/ 18 w 45"/>
                  <a:gd name="T7" fmla="*/ 35 h 35"/>
                  <a:gd name="T8" fmla="*/ 43 w 4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5">
                    <a:moveTo>
                      <a:pt x="43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7"/>
                      <a:pt x="6" y="35"/>
                      <a:pt x="18" y="35"/>
                    </a:cubicBezTo>
                    <a:cubicBezTo>
                      <a:pt x="29" y="35"/>
                      <a:pt x="40" y="27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2" name="iṣḻïḓe">
                <a:extLst>
                  <a:ext uri="{FF2B5EF4-FFF2-40B4-BE49-F238E27FC236}">
                    <a16:creationId xmlns:a16="http://schemas.microsoft.com/office/drawing/2014/main" id="{447632E9-AE34-42E3-98F4-169F9CE4F5CC}"/>
                  </a:ext>
                </a:extLst>
              </p:cNvPr>
              <p:cNvSpPr/>
              <p:nvPr/>
            </p:nvSpPr>
            <p:spPr bwMode="auto">
              <a:xfrm>
                <a:off x="3229689" y="4629324"/>
                <a:ext cx="165096" cy="128065"/>
              </a:xfrm>
              <a:custGeom>
                <a:avLst/>
                <a:gdLst>
                  <a:gd name="T0" fmla="*/ 43 w 45"/>
                  <a:gd name="T1" fmla="*/ 17 h 35"/>
                  <a:gd name="T2" fmla="*/ 27 w 45"/>
                  <a:gd name="T3" fmla="*/ 0 h 35"/>
                  <a:gd name="T4" fmla="*/ 3 w 45"/>
                  <a:gd name="T5" fmla="*/ 17 h 35"/>
                  <a:gd name="T6" fmla="*/ 18 w 45"/>
                  <a:gd name="T7" fmla="*/ 35 h 35"/>
                  <a:gd name="T8" fmla="*/ 43 w 4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5">
                    <a:moveTo>
                      <a:pt x="43" y="17"/>
                    </a:moveTo>
                    <a:cubicBezTo>
                      <a:pt x="45" y="8"/>
                      <a:pt x="38" y="0"/>
                      <a:pt x="27" y="0"/>
                    </a:cubicBezTo>
                    <a:cubicBezTo>
                      <a:pt x="16" y="0"/>
                      <a:pt x="5" y="8"/>
                      <a:pt x="3" y="17"/>
                    </a:cubicBezTo>
                    <a:cubicBezTo>
                      <a:pt x="0" y="27"/>
                      <a:pt x="7" y="35"/>
                      <a:pt x="18" y="35"/>
                    </a:cubicBezTo>
                    <a:cubicBezTo>
                      <a:pt x="29" y="35"/>
                      <a:pt x="40" y="27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3" name="ïṣḻïḋè">
                <a:extLst>
                  <a:ext uri="{FF2B5EF4-FFF2-40B4-BE49-F238E27FC236}">
                    <a16:creationId xmlns:a16="http://schemas.microsoft.com/office/drawing/2014/main" id="{C22E3734-41E6-4B67-9E2B-EE99128135BB}"/>
                  </a:ext>
                </a:extLst>
              </p:cNvPr>
              <p:cNvSpPr/>
              <p:nvPr/>
            </p:nvSpPr>
            <p:spPr bwMode="auto">
              <a:xfrm>
                <a:off x="2456673" y="4783619"/>
                <a:ext cx="171268" cy="131151"/>
              </a:xfrm>
              <a:custGeom>
                <a:avLst/>
                <a:gdLst>
                  <a:gd name="T0" fmla="*/ 44 w 47"/>
                  <a:gd name="T1" fmla="*/ 18 h 36"/>
                  <a:gd name="T2" fmla="*/ 30 w 47"/>
                  <a:gd name="T3" fmla="*/ 0 h 36"/>
                  <a:gd name="T4" fmla="*/ 3 w 47"/>
                  <a:gd name="T5" fmla="*/ 18 h 36"/>
                  <a:gd name="T6" fmla="*/ 17 w 47"/>
                  <a:gd name="T7" fmla="*/ 36 h 36"/>
                  <a:gd name="T8" fmla="*/ 44 w 47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4" y="18"/>
                    </a:moveTo>
                    <a:cubicBezTo>
                      <a:pt x="47" y="8"/>
                      <a:pt x="41" y="0"/>
                      <a:pt x="30" y="0"/>
                    </a:cubicBezTo>
                    <a:cubicBezTo>
                      <a:pt x="19" y="0"/>
                      <a:pt x="7" y="8"/>
                      <a:pt x="3" y="18"/>
                    </a:cubicBezTo>
                    <a:cubicBezTo>
                      <a:pt x="0" y="28"/>
                      <a:pt x="6" y="36"/>
                      <a:pt x="17" y="36"/>
                    </a:cubicBezTo>
                    <a:cubicBezTo>
                      <a:pt x="28" y="36"/>
                      <a:pt x="40" y="28"/>
                      <a:pt x="44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4" name="îSliḑê">
                <a:extLst>
                  <a:ext uri="{FF2B5EF4-FFF2-40B4-BE49-F238E27FC236}">
                    <a16:creationId xmlns:a16="http://schemas.microsoft.com/office/drawing/2014/main" id="{163D1B56-A86F-4B95-8DFF-F29F48F9A7B8}"/>
                  </a:ext>
                </a:extLst>
              </p:cNvPr>
              <p:cNvSpPr/>
              <p:nvPr/>
            </p:nvSpPr>
            <p:spPr bwMode="auto">
              <a:xfrm>
                <a:off x="2638740" y="4783619"/>
                <a:ext cx="171268" cy="131151"/>
              </a:xfrm>
              <a:custGeom>
                <a:avLst/>
                <a:gdLst>
                  <a:gd name="T0" fmla="*/ 44 w 47"/>
                  <a:gd name="T1" fmla="*/ 18 h 36"/>
                  <a:gd name="T2" fmla="*/ 29 w 47"/>
                  <a:gd name="T3" fmla="*/ 0 h 36"/>
                  <a:gd name="T4" fmla="*/ 3 w 47"/>
                  <a:gd name="T5" fmla="*/ 18 h 36"/>
                  <a:gd name="T6" fmla="*/ 17 w 47"/>
                  <a:gd name="T7" fmla="*/ 36 h 36"/>
                  <a:gd name="T8" fmla="*/ 44 w 47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4" y="18"/>
                    </a:moveTo>
                    <a:cubicBezTo>
                      <a:pt x="47" y="8"/>
                      <a:pt x="40" y="0"/>
                      <a:pt x="29" y="0"/>
                    </a:cubicBezTo>
                    <a:cubicBezTo>
                      <a:pt x="18" y="0"/>
                      <a:pt x="6" y="8"/>
                      <a:pt x="3" y="18"/>
                    </a:cubicBezTo>
                    <a:cubicBezTo>
                      <a:pt x="0" y="28"/>
                      <a:pt x="6" y="36"/>
                      <a:pt x="17" y="36"/>
                    </a:cubicBezTo>
                    <a:cubicBezTo>
                      <a:pt x="29" y="36"/>
                      <a:pt x="41" y="28"/>
                      <a:pt x="44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5" name="ïsḻïḋé">
                <a:extLst>
                  <a:ext uri="{FF2B5EF4-FFF2-40B4-BE49-F238E27FC236}">
                    <a16:creationId xmlns:a16="http://schemas.microsoft.com/office/drawing/2014/main" id="{F52A97A6-5E2C-4752-87AE-30C53A7A6A94}"/>
                  </a:ext>
                </a:extLst>
              </p:cNvPr>
              <p:cNvSpPr/>
              <p:nvPr/>
            </p:nvSpPr>
            <p:spPr bwMode="auto">
              <a:xfrm>
                <a:off x="2820808" y="4783619"/>
                <a:ext cx="172810" cy="131151"/>
              </a:xfrm>
              <a:custGeom>
                <a:avLst/>
                <a:gdLst>
                  <a:gd name="T0" fmla="*/ 44 w 47"/>
                  <a:gd name="T1" fmla="*/ 18 h 36"/>
                  <a:gd name="T2" fmla="*/ 29 w 47"/>
                  <a:gd name="T3" fmla="*/ 0 h 36"/>
                  <a:gd name="T4" fmla="*/ 3 w 47"/>
                  <a:gd name="T5" fmla="*/ 18 h 36"/>
                  <a:gd name="T6" fmla="*/ 18 w 47"/>
                  <a:gd name="T7" fmla="*/ 36 h 36"/>
                  <a:gd name="T8" fmla="*/ 44 w 47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4" y="18"/>
                    </a:moveTo>
                    <a:cubicBezTo>
                      <a:pt x="47" y="8"/>
                      <a:pt x="40" y="0"/>
                      <a:pt x="29" y="0"/>
                    </a:cubicBezTo>
                    <a:cubicBezTo>
                      <a:pt x="18" y="0"/>
                      <a:pt x="6" y="8"/>
                      <a:pt x="3" y="18"/>
                    </a:cubicBezTo>
                    <a:cubicBezTo>
                      <a:pt x="0" y="28"/>
                      <a:pt x="6" y="36"/>
                      <a:pt x="18" y="36"/>
                    </a:cubicBezTo>
                    <a:cubicBezTo>
                      <a:pt x="29" y="36"/>
                      <a:pt x="41" y="28"/>
                      <a:pt x="44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6" name="îṩļîḋê">
                <a:extLst>
                  <a:ext uri="{FF2B5EF4-FFF2-40B4-BE49-F238E27FC236}">
                    <a16:creationId xmlns:a16="http://schemas.microsoft.com/office/drawing/2014/main" id="{606424BF-04F6-4B20-B190-CEE2AB11BA96}"/>
                  </a:ext>
                </a:extLst>
              </p:cNvPr>
              <p:cNvSpPr/>
              <p:nvPr/>
            </p:nvSpPr>
            <p:spPr bwMode="auto">
              <a:xfrm>
                <a:off x="3004419" y="4783619"/>
                <a:ext cx="166638" cy="131151"/>
              </a:xfrm>
              <a:custGeom>
                <a:avLst/>
                <a:gdLst>
                  <a:gd name="T0" fmla="*/ 43 w 46"/>
                  <a:gd name="T1" fmla="*/ 18 h 36"/>
                  <a:gd name="T2" fmla="*/ 28 w 46"/>
                  <a:gd name="T3" fmla="*/ 0 h 36"/>
                  <a:gd name="T4" fmla="*/ 3 w 46"/>
                  <a:gd name="T5" fmla="*/ 18 h 36"/>
                  <a:gd name="T6" fmla="*/ 18 w 46"/>
                  <a:gd name="T7" fmla="*/ 36 h 36"/>
                  <a:gd name="T8" fmla="*/ 43 w 46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6">
                    <a:moveTo>
                      <a:pt x="43" y="18"/>
                    </a:moveTo>
                    <a:cubicBezTo>
                      <a:pt x="46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8"/>
                    </a:cubicBezTo>
                    <a:cubicBezTo>
                      <a:pt x="0" y="28"/>
                      <a:pt x="7" y="36"/>
                      <a:pt x="18" y="36"/>
                    </a:cubicBezTo>
                    <a:cubicBezTo>
                      <a:pt x="29" y="36"/>
                      <a:pt x="41" y="28"/>
                      <a:pt x="43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7" name="ïs1íde">
                <a:extLst>
                  <a:ext uri="{FF2B5EF4-FFF2-40B4-BE49-F238E27FC236}">
                    <a16:creationId xmlns:a16="http://schemas.microsoft.com/office/drawing/2014/main" id="{E69A630D-14DE-4701-B376-7CEC57433924}"/>
                  </a:ext>
                </a:extLst>
              </p:cNvPr>
              <p:cNvSpPr/>
              <p:nvPr/>
            </p:nvSpPr>
            <p:spPr bwMode="auto">
              <a:xfrm>
                <a:off x="2398041" y="4944086"/>
                <a:ext cx="175896" cy="134237"/>
              </a:xfrm>
              <a:custGeom>
                <a:avLst/>
                <a:gdLst>
                  <a:gd name="T0" fmla="*/ 45 w 48"/>
                  <a:gd name="T1" fmla="*/ 18 h 37"/>
                  <a:gd name="T2" fmla="*/ 30 w 48"/>
                  <a:gd name="T3" fmla="*/ 0 h 37"/>
                  <a:gd name="T4" fmla="*/ 3 w 48"/>
                  <a:gd name="T5" fmla="*/ 18 h 37"/>
                  <a:gd name="T6" fmla="*/ 17 w 48"/>
                  <a:gd name="T7" fmla="*/ 37 h 37"/>
                  <a:gd name="T8" fmla="*/ 45 w 48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7">
                    <a:moveTo>
                      <a:pt x="45" y="18"/>
                    </a:moveTo>
                    <a:cubicBezTo>
                      <a:pt x="48" y="8"/>
                      <a:pt x="42" y="0"/>
                      <a:pt x="30" y="0"/>
                    </a:cubicBezTo>
                    <a:cubicBezTo>
                      <a:pt x="19" y="0"/>
                      <a:pt x="7" y="8"/>
                      <a:pt x="3" y="18"/>
                    </a:cubicBezTo>
                    <a:cubicBezTo>
                      <a:pt x="0" y="29"/>
                      <a:pt x="6" y="37"/>
                      <a:pt x="17" y="37"/>
                    </a:cubicBezTo>
                    <a:cubicBezTo>
                      <a:pt x="29" y="37"/>
                      <a:pt x="41" y="29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8" name="íşḷïḑé">
                <a:extLst>
                  <a:ext uri="{FF2B5EF4-FFF2-40B4-BE49-F238E27FC236}">
                    <a16:creationId xmlns:a16="http://schemas.microsoft.com/office/drawing/2014/main" id="{BE5F2C91-DB22-4607-8034-EE4EACE802B0}"/>
                  </a:ext>
                </a:extLst>
              </p:cNvPr>
              <p:cNvSpPr/>
              <p:nvPr/>
            </p:nvSpPr>
            <p:spPr bwMode="auto">
              <a:xfrm>
                <a:off x="2580108" y="4944086"/>
                <a:ext cx="178982" cy="134237"/>
              </a:xfrm>
              <a:custGeom>
                <a:avLst/>
                <a:gdLst>
                  <a:gd name="T0" fmla="*/ 45 w 49"/>
                  <a:gd name="T1" fmla="*/ 18 h 37"/>
                  <a:gd name="T2" fmla="*/ 31 w 49"/>
                  <a:gd name="T3" fmla="*/ 0 h 37"/>
                  <a:gd name="T4" fmla="*/ 4 w 49"/>
                  <a:gd name="T5" fmla="*/ 18 h 37"/>
                  <a:gd name="T6" fmla="*/ 18 w 49"/>
                  <a:gd name="T7" fmla="*/ 37 h 37"/>
                  <a:gd name="T8" fmla="*/ 45 w 49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7">
                    <a:moveTo>
                      <a:pt x="45" y="18"/>
                    </a:moveTo>
                    <a:cubicBezTo>
                      <a:pt x="49" y="8"/>
                      <a:pt x="42" y="0"/>
                      <a:pt x="31" y="0"/>
                    </a:cubicBezTo>
                    <a:cubicBezTo>
                      <a:pt x="19" y="0"/>
                      <a:pt x="7" y="8"/>
                      <a:pt x="4" y="18"/>
                    </a:cubicBezTo>
                    <a:cubicBezTo>
                      <a:pt x="0" y="29"/>
                      <a:pt x="7" y="37"/>
                      <a:pt x="18" y="37"/>
                    </a:cubicBezTo>
                    <a:cubicBezTo>
                      <a:pt x="30" y="37"/>
                      <a:pt x="42" y="29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9" name="ïṩ1îḓê">
                <a:extLst>
                  <a:ext uri="{FF2B5EF4-FFF2-40B4-BE49-F238E27FC236}">
                    <a16:creationId xmlns:a16="http://schemas.microsoft.com/office/drawing/2014/main" id="{6DB7ED65-EDE6-4240-8A04-B94539BF11C5}"/>
                  </a:ext>
                </a:extLst>
              </p:cNvPr>
              <p:cNvSpPr/>
              <p:nvPr/>
            </p:nvSpPr>
            <p:spPr bwMode="auto">
              <a:xfrm>
                <a:off x="2766805" y="4944086"/>
                <a:ext cx="174353" cy="134237"/>
              </a:xfrm>
              <a:custGeom>
                <a:avLst/>
                <a:gdLst>
                  <a:gd name="T0" fmla="*/ 45 w 48"/>
                  <a:gd name="T1" fmla="*/ 18 h 37"/>
                  <a:gd name="T2" fmla="*/ 30 w 48"/>
                  <a:gd name="T3" fmla="*/ 0 h 37"/>
                  <a:gd name="T4" fmla="*/ 4 w 48"/>
                  <a:gd name="T5" fmla="*/ 18 h 37"/>
                  <a:gd name="T6" fmla="*/ 19 w 48"/>
                  <a:gd name="T7" fmla="*/ 37 h 37"/>
                  <a:gd name="T8" fmla="*/ 45 w 48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7">
                    <a:moveTo>
                      <a:pt x="45" y="18"/>
                    </a:moveTo>
                    <a:cubicBezTo>
                      <a:pt x="48" y="8"/>
                      <a:pt x="41" y="0"/>
                      <a:pt x="30" y="0"/>
                    </a:cubicBezTo>
                    <a:cubicBezTo>
                      <a:pt x="19" y="0"/>
                      <a:pt x="7" y="8"/>
                      <a:pt x="4" y="18"/>
                    </a:cubicBezTo>
                    <a:cubicBezTo>
                      <a:pt x="0" y="29"/>
                      <a:pt x="7" y="37"/>
                      <a:pt x="19" y="37"/>
                    </a:cubicBezTo>
                    <a:cubicBezTo>
                      <a:pt x="30" y="37"/>
                      <a:pt x="42" y="29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0" name="ïşľíḑê">
                <a:extLst>
                  <a:ext uri="{FF2B5EF4-FFF2-40B4-BE49-F238E27FC236}">
                    <a16:creationId xmlns:a16="http://schemas.microsoft.com/office/drawing/2014/main" id="{204BC633-3F04-4FE7-B805-6C4E1F93999B}"/>
                  </a:ext>
                </a:extLst>
              </p:cNvPr>
              <p:cNvSpPr/>
              <p:nvPr/>
            </p:nvSpPr>
            <p:spPr bwMode="auto">
              <a:xfrm>
                <a:off x="2336323" y="5107638"/>
                <a:ext cx="178982" cy="138865"/>
              </a:xfrm>
              <a:custGeom>
                <a:avLst/>
                <a:gdLst>
                  <a:gd name="T0" fmla="*/ 46 w 49"/>
                  <a:gd name="T1" fmla="*/ 19 h 38"/>
                  <a:gd name="T2" fmla="*/ 31 w 49"/>
                  <a:gd name="T3" fmla="*/ 0 h 38"/>
                  <a:gd name="T4" fmla="*/ 4 w 49"/>
                  <a:gd name="T5" fmla="*/ 19 h 38"/>
                  <a:gd name="T6" fmla="*/ 18 w 49"/>
                  <a:gd name="T7" fmla="*/ 38 h 38"/>
                  <a:gd name="T8" fmla="*/ 46 w 49"/>
                  <a:gd name="T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8">
                    <a:moveTo>
                      <a:pt x="46" y="19"/>
                    </a:moveTo>
                    <a:cubicBezTo>
                      <a:pt x="49" y="9"/>
                      <a:pt x="43" y="0"/>
                      <a:pt x="31" y="0"/>
                    </a:cubicBezTo>
                    <a:cubicBezTo>
                      <a:pt x="20" y="0"/>
                      <a:pt x="7" y="9"/>
                      <a:pt x="4" y="19"/>
                    </a:cubicBezTo>
                    <a:cubicBezTo>
                      <a:pt x="0" y="30"/>
                      <a:pt x="6" y="38"/>
                      <a:pt x="18" y="38"/>
                    </a:cubicBezTo>
                    <a:cubicBezTo>
                      <a:pt x="30" y="38"/>
                      <a:pt x="42" y="30"/>
                      <a:pt x="46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1" name="ísľíḋè">
                <a:extLst>
                  <a:ext uri="{FF2B5EF4-FFF2-40B4-BE49-F238E27FC236}">
                    <a16:creationId xmlns:a16="http://schemas.microsoft.com/office/drawing/2014/main" id="{D7B0857A-EAAA-4FD7-81F6-49A62A2603A0}"/>
                  </a:ext>
                </a:extLst>
              </p:cNvPr>
              <p:cNvSpPr/>
              <p:nvPr/>
            </p:nvSpPr>
            <p:spPr bwMode="auto">
              <a:xfrm>
                <a:off x="2526106" y="5107638"/>
                <a:ext cx="178982" cy="138865"/>
              </a:xfrm>
              <a:custGeom>
                <a:avLst/>
                <a:gdLst>
                  <a:gd name="T0" fmla="*/ 45 w 49"/>
                  <a:gd name="T1" fmla="*/ 19 h 38"/>
                  <a:gd name="T2" fmla="*/ 31 w 49"/>
                  <a:gd name="T3" fmla="*/ 0 h 38"/>
                  <a:gd name="T4" fmla="*/ 3 w 49"/>
                  <a:gd name="T5" fmla="*/ 19 h 38"/>
                  <a:gd name="T6" fmla="*/ 18 w 49"/>
                  <a:gd name="T7" fmla="*/ 38 h 38"/>
                  <a:gd name="T8" fmla="*/ 45 w 49"/>
                  <a:gd name="T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8">
                    <a:moveTo>
                      <a:pt x="45" y="19"/>
                    </a:moveTo>
                    <a:cubicBezTo>
                      <a:pt x="49" y="9"/>
                      <a:pt x="42" y="0"/>
                      <a:pt x="31" y="0"/>
                    </a:cubicBezTo>
                    <a:cubicBezTo>
                      <a:pt x="19" y="0"/>
                      <a:pt x="7" y="9"/>
                      <a:pt x="3" y="19"/>
                    </a:cubicBezTo>
                    <a:cubicBezTo>
                      <a:pt x="0" y="30"/>
                      <a:pt x="6" y="38"/>
                      <a:pt x="18" y="38"/>
                    </a:cubicBezTo>
                    <a:cubicBezTo>
                      <a:pt x="30" y="38"/>
                      <a:pt x="42" y="30"/>
                      <a:pt x="45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2" name="î$ľide">
                <a:extLst>
                  <a:ext uri="{FF2B5EF4-FFF2-40B4-BE49-F238E27FC236}">
                    <a16:creationId xmlns:a16="http://schemas.microsoft.com/office/drawing/2014/main" id="{FA4B3B65-7093-4A6E-8F6B-554CFD124BED}"/>
                  </a:ext>
                </a:extLst>
              </p:cNvPr>
              <p:cNvSpPr/>
              <p:nvPr/>
            </p:nvSpPr>
            <p:spPr bwMode="auto">
              <a:xfrm>
                <a:off x="2274605" y="5280448"/>
                <a:ext cx="182068" cy="145037"/>
              </a:xfrm>
              <a:custGeom>
                <a:avLst/>
                <a:gdLst>
                  <a:gd name="T0" fmla="*/ 46 w 50"/>
                  <a:gd name="T1" fmla="*/ 20 h 40"/>
                  <a:gd name="T2" fmla="*/ 32 w 50"/>
                  <a:gd name="T3" fmla="*/ 0 h 40"/>
                  <a:gd name="T4" fmla="*/ 4 w 50"/>
                  <a:gd name="T5" fmla="*/ 20 h 40"/>
                  <a:gd name="T6" fmla="*/ 18 w 50"/>
                  <a:gd name="T7" fmla="*/ 40 h 40"/>
                  <a:gd name="T8" fmla="*/ 46 w 50"/>
                  <a:gd name="T9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40">
                    <a:moveTo>
                      <a:pt x="46" y="20"/>
                    </a:moveTo>
                    <a:cubicBezTo>
                      <a:pt x="50" y="9"/>
                      <a:pt x="44" y="0"/>
                      <a:pt x="32" y="0"/>
                    </a:cubicBezTo>
                    <a:cubicBezTo>
                      <a:pt x="20" y="0"/>
                      <a:pt x="7" y="9"/>
                      <a:pt x="4" y="20"/>
                    </a:cubicBezTo>
                    <a:cubicBezTo>
                      <a:pt x="0" y="31"/>
                      <a:pt x="6" y="40"/>
                      <a:pt x="18" y="40"/>
                    </a:cubicBezTo>
                    <a:cubicBezTo>
                      <a:pt x="30" y="40"/>
                      <a:pt x="43" y="31"/>
                      <a:pt x="46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3" name="ísḻiḓé">
                <a:extLst>
                  <a:ext uri="{FF2B5EF4-FFF2-40B4-BE49-F238E27FC236}">
                    <a16:creationId xmlns:a16="http://schemas.microsoft.com/office/drawing/2014/main" id="{50BC3E2D-DB10-4F28-AAB5-90135935C68C}"/>
                  </a:ext>
                </a:extLst>
              </p:cNvPr>
              <p:cNvSpPr/>
              <p:nvPr/>
            </p:nvSpPr>
            <p:spPr bwMode="auto">
              <a:xfrm>
                <a:off x="2464388" y="5280448"/>
                <a:ext cx="185154" cy="145037"/>
              </a:xfrm>
              <a:custGeom>
                <a:avLst/>
                <a:gdLst>
                  <a:gd name="T0" fmla="*/ 47 w 51"/>
                  <a:gd name="T1" fmla="*/ 20 h 40"/>
                  <a:gd name="T2" fmla="*/ 32 w 51"/>
                  <a:gd name="T3" fmla="*/ 0 h 40"/>
                  <a:gd name="T4" fmla="*/ 4 w 51"/>
                  <a:gd name="T5" fmla="*/ 20 h 40"/>
                  <a:gd name="T6" fmla="*/ 19 w 51"/>
                  <a:gd name="T7" fmla="*/ 40 h 40"/>
                  <a:gd name="T8" fmla="*/ 47 w 51"/>
                  <a:gd name="T9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0">
                    <a:moveTo>
                      <a:pt x="47" y="20"/>
                    </a:moveTo>
                    <a:cubicBezTo>
                      <a:pt x="51" y="9"/>
                      <a:pt x="44" y="0"/>
                      <a:pt x="32" y="0"/>
                    </a:cubicBezTo>
                    <a:cubicBezTo>
                      <a:pt x="20" y="0"/>
                      <a:pt x="8" y="9"/>
                      <a:pt x="4" y="20"/>
                    </a:cubicBezTo>
                    <a:cubicBezTo>
                      <a:pt x="0" y="31"/>
                      <a:pt x="7" y="40"/>
                      <a:pt x="19" y="40"/>
                    </a:cubicBezTo>
                    <a:cubicBezTo>
                      <a:pt x="31" y="40"/>
                      <a:pt x="43" y="31"/>
                      <a:pt x="47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4" name="isľídê">
                <a:extLst>
                  <a:ext uri="{FF2B5EF4-FFF2-40B4-BE49-F238E27FC236}">
                    <a16:creationId xmlns:a16="http://schemas.microsoft.com/office/drawing/2014/main" id="{400118C1-11F3-4330-A21A-B0316FAA2104}"/>
                  </a:ext>
                </a:extLst>
              </p:cNvPr>
              <p:cNvSpPr/>
              <p:nvPr/>
            </p:nvSpPr>
            <p:spPr bwMode="auto">
              <a:xfrm>
                <a:off x="2208259" y="5454801"/>
                <a:ext cx="186697" cy="154295"/>
              </a:xfrm>
              <a:custGeom>
                <a:avLst/>
                <a:gdLst>
                  <a:gd name="T0" fmla="*/ 47 w 51"/>
                  <a:gd name="T1" fmla="*/ 21 h 42"/>
                  <a:gd name="T2" fmla="*/ 33 w 51"/>
                  <a:gd name="T3" fmla="*/ 0 h 42"/>
                  <a:gd name="T4" fmla="*/ 4 w 51"/>
                  <a:gd name="T5" fmla="*/ 21 h 42"/>
                  <a:gd name="T6" fmla="*/ 18 w 51"/>
                  <a:gd name="T7" fmla="*/ 42 h 42"/>
                  <a:gd name="T8" fmla="*/ 47 w 51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2">
                    <a:moveTo>
                      <a:pt x="47" y="21"/>
                    </a:moveTo>
                    <a:cubicBezTo>
                      <a:pt x="51" y="10"/>
                      <a:pt x="45" y="0"/>
                      <a:pt x="33" y="0"/>
                    </a:cubicBezTo>
                    <a:cubicBezTo>
                      <a:pt x="21" y="0"/>
                      <a:pt x="8" y="10"/>
                      <a:pt x="4" y="21"/>
                    </a:cubicBezTo>
                    <a:cubicBezTo>
                      <a:pt x="0" y="32"/>
                      <a:pt x="6" y="42"/>
                      <a:pt x="18" y="42"/>
                    </a:cubicBezTo>
                    <a:cubicBezTo>
                      <a:pt x="30" y="42"/>
                      <a:pt x="44" y="32"/>
                      <a:pt x="47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5" name="íşḷïďè">
                <a:extLst>
                  <a:ext uri="{FF2B5EF4-FFF2-40B4-BE49-F238E27FC236}">
                    <a16:creationId xmlns:a16="http://schemas.microsoft.com/office/drawing/2014/main" id="{0ED3500C-7605-4393-A6F0-C34AB5A75342}"/>
                  </a:ext>
                </a:extLst>
              </p:cNvPr>
              <p:cNvSpPr/>
              <p:nvPr/>
            </p:nvSpPr>
            <p:spPr bwMode="auto">
              <a:xfrm>
                <a:off x="2401126" y="5454801"/>
                <a:ext cx="189783" cy="154295"/>
              </a:xfrm>
              <a:custGeom>
                <a:avLst/>
                <a:gdLst>
                  <a:gd name="T0" fmla="*/ 48 w 52"/>
                  <a:gd name="T1" fmla="*/ 21 h 42"/>
                  <a:gd name="T2" fmla="*/ 33 w 52"/>
                  <a:gd name="T3" fmla="*/ 0 h 42"/>
                  <a:gd name="T4" fmla="*/ 4 w 52"/>
                  <a:gd name="T5" fmla="*/ 21 h 42"/>
                  <a:gd name="T6" fmla="*/ 19 w 52"/>
                  <a:gd name="T7" fmla="*/ 42 h 42"/>
                  <a:gd name="T8" fmla="*/ 48 w 52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2">
                    <a:moveTo>
                      <a:pt x="48" y="21"/>
                    </a:moveTo>
                    <a:cubicBezTo>
                      <a:pt x="52" y="10"/>
                      <a:pt x="45" y="0"/>
                      <a:pt x="33" y="0"/>
                    </a:cubicBezTo>
                    <a:cubicBezTo>
                      <a:pt x="21" y="0"/>
                      <a:pt x="8" y="10"/>
                      <a:pt x="4" y="21"/>
                    </a:cubicBezTo>
                    <a:cubicBezTo>
                      <a:pt x="0" y="32"/>
                      <a:pt x="7" y="42"/>
                      <a:pt x="19" y="42"/>
                    </a:cubicBezTo>
                    <a:cubicBezTo>
                      <a:pt x="31" y="42"/>
                      <a:pt x="44" y="32"/>
                      <a:pt x="48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6" name="íṣľidê">
                <a:extLst>
                  <a:ext uri="{FF2B5EF4-FFF2-40B4-BE49-F238E27FC236}">
                    <a16:creationId xmlns:a16="http://schemas.microsoft.com/office/drawing/2014/main" id="{6B04E25C-33F8-439E-89A1-D3271D046B5B}"/>
                  </a:ext>
                </a:extLst>
              </p:cNvPr>
              <p:cNvSpPr/>
              <p:nvPr/>
            </p:nvSpPr>
            <p:spPr bwMode="auto">
              <a:xfrm>
                <a:off x="2138826" y="5641497"/>
                <a:ext cx="194411" cy="154295"/>
              </a:xfrm>
              <a:custGeom>
                <a:avLst/>
                <a:gdLst>
                  <a:gd name="T0" fmla="*/ 49 w 53"/>
                  <a:gd name="T1" fmla="*/ 21 h 42"/>
                  <a:gd name="T2" fmla="*/ 34 w 53"/>
                  <a:gd name="T3" fmla="*/ 0 h 42"/>
                  <a:gd name="T4" fmla="*/ 4 w 53"/>
                  <a:gd name="T5" fmla="*/ 21 h 42"/>
                  <a:gd name="T6" fmla="*/ 19 w 53"/>
                  <a:gd name="T7" fmla="*/ 42 h 42"/>
                  <a:gd name="T8" fmla="*/ 49 w 53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2">
                    <a:moveTo>
                      <a:pt x="49" y="21"/>
                    </a:moveTo>
                    <a:cubicBezTo>
                      <a:pt x="53" y="9"/>
                      <a:pt x="46" y="0"/>
                      <a:pt x="34" y="0"/>
                    </a:cubicBezTo>
                    <a:cubicBezTo>
                      <a:pt x="22" y="0"/>
                      <a:pt x="9" y="9"/>
                      <a:pt x="4" y="21"/>
                    </a:cubicBezTo>
                    <a:cubicBezTo>
                      <a:pt x="0" y="33"/>
                      <a:pt x="7" y="42"/>
                      <a:pt x="19" y="42"/>
                    </a:cubicBezTo>
                    <a:cubicBezTo>
                      <a:pt x="31" y="42"/>
                      <a:pt x="45" y="33"/>
                      <a:pt x="49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7" name="îşḷíḋè">
                <a:extLst>
                  <a:ext uri="{FF2B5EF4-FFF2-40B4-BE49-F238E27FC236}">
                    <a16:creationId xmlns:a16="http://schemas.microsoft.com/office/drawing/2014/main" id="{644BCBF2-2454-421B-A58F-B6F026BF2087}"/>
                  </a:ext>
                </a:extLst>
              </p:cNvPr>
              <p:cNvSpPr/>
              <p:nvPr/>
            </p:nvSpPr>
            <p:spPr bwMode="auto">
              <a:xfrm>
                <a:off x="2339409" y="5641497"/>
                <a:ext cx="189783" cy="154295"/>
              </a:xfrm>
              <a:custGeom>
                <a:avLst/>
                <a:gdLst>
                  <a:gd name="T0" fmla="*/ 48 w 52"/>
                  <a:gd name="T1" fmla="*/ 21 h 42"/>
                  <a:gd name="T2" fmla="*/ 33 w 52"/>
                  <a:gd name="T3" fmla="*/ 0 h 42"/>
                  <a:gd name="T4" fmla="*/ 4 w 52"/>
                  <a:gd name="T5" fmla="*/ 21 h 42"/>
                  <a:gd name="T6" fmla="*/ 19 w 52"/>
                  <a:gd name="T7" fmla="*/ 42 h 42"/>
                  <a:gd name="T8" fmla="*/ 48 w 52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2">
                    <a:moveTo>
                      <a:pt x="48" y="21"/>
                    </a:moveTo>
                    <a:cubicBezTo>
                      <a:pt x="52" y="9"/>
                      <a:pt x="45" y="0"/>
                      <a:pt x="33" y="0"/>
                    </a:cubicBezTo>
                    <a:cubicBezTo>
                      <a:pt x="21" y="0"/>
                      <a:pt x="8" y="9"/>
                      <a:pt x="4" y="21"/>
                    </a:cubicBezTo>
                    <a:cubicBezTo>
                      <a:pt x="0" y="33"/>
                      <a:pt x="7" y="42"/>
                      <a:pt x="19" y="42"/>
                    </a:cubicBezTo>
                    <a:cubicBezTo>
                      <a:pt x="31" y="42"/>
                      <a:pt x="45" y="33"/>
                      <a:pt x="48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8" name="iṣľiḍé">
                <a:extLst>
                  <a:ext uri="{FF2B5EF4-FFF2-40B4-BE49-F238E27FC236}">
                    <a16:creationId xmlns:a16="http://schemas.microsoft.com/office/drawing/2014/main" id="{F22AD458-EC03-4318-A302-F2872A95442D}"/>
                  </a:ext>
                </a:extLst>
              </p:cNvPr>
              <p:cNvSpPr/>
              <p:nvPr/>
            </p:nvSpPr>
            <p:spPr bwMode="auto">
              <a:xfrm>
                <a:off x="2539992" y="5641497"/>
                <a:ext cx="186697" cy="154295"/>
              </a:xfrm>
              <a:custGeom>
                <a:avLst/>
                <a:gdLst>
                  <a:gd name="T0" fmla="*/ 48 w 51"/>
                  <a:gd name="T1" fmla="*/ 21 h 42"/>
                  <a:gd name="T2" fmla="*/ 32 w 51"/>
                  <a:gd name="T3" fmla="*/ 0 h 42"/>
                  <a:gd name="T4" fmla="*/ 3 w 51"/>
                  <a:gd name="T5" fmla="*/ 21 h 42"/>
                  <a:gd name="T6" fmla="*/ 19 w 51"/>
                  <a:gd name="T7" fmla="*/ 42 h 42"/>
                  <a:gd name="T8" fmla="*/ 48 w 51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2">
                    <a:moveTo>
                      <a:pt x="48" y="21"/>
                    </a:moveTo>
                    <a:cubicBezTo>
                      <a:pt x="51" y="9"/>
                      <a:pt x="44" y="0"/>
                      <a:pt x="32" y="0"/>
                    </a:cubicBezTo>
                    <a:cubicBezTo>
                      <a:pt x="20" y="0"/>
                      <a:pt x="7" y="9"/>
                      <a:pt x="3" y="21"/>
                    </a:cubicBezTo>
                    <a:cubicBezTo>
                      <a:pt x="0" y="33"/>
                      <a:pt x="7" y="42"/>
                      <a:pt x="19" y="42"/>
                    </a:cubicBezTo>
                    <a:cubicBezTo>
                      <a:pt x="31" y="42"/>
                      <a:pt x="44" y="33"/>
                      <a:pt x="48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979" name="任意多边形: 形状 978">
              <a:extLst>
                <a:ext uri="{FF2B5EF4-FFF2-40B4-BE49-F238E27FC236}">
                  <a16:creationId xmlns:a16="http://schemas.microsoft.com/office/drawing/2014/main" id="{C59BB2FE-D800-49A2-93B3-1CB952782109}"/>
                </a:ext>
              </a:extLst>
            </p:cNvPr>
            <p:cNvSpPr>
              <a:spLocks/>
            </p:cNvSpPr>
            <p:nvPr userDrawn="1"/>
          </p:nvSpPr>
          <p:spPr>
            <a:xfrm flipH="1">
              <a:off x="8499914" y="1148111"/>
              <a:ext cx="2774490" cy="1589287"/>
            </a:xfrm>
            <a:custGeom>
              <a:avLst/>
              <a:gdLst>
                <a:gd name="connsiteX0" fmla="*/ 0 w 3276004"/>
                <a:gd name="connsiteY0" fmla="*/ 0 h 1589287"/>
                <a:gd name="connsiteX1" fmla="*/ 3276004 w 3276004"/>
                <a:gd name="connsiteY1" fmla="*/ 0 h 1589287"/>
                <a:gd name="connsiteX2" fmla="*/ 3276004 w 3276004"/>
                <a:gd name="connsiteY2" fmla="*/ 1306286 h 1589287"/>
                <a:gd name="connsiteX3" fmla="*/ 2786741 w 3276004"/>
                <a:gd name="connsiteY3" fmla="*/ 1306286 h 1589287"/>
                <a:gd name="connsiteX4" fmla="*/ 2786741 w 3276004"/>
                <a:gd name="connsiteY4" fmla="*/ 1589287 h 1589287"/>
                <a:gd name="connsiteX5" fmla="*/ 2232059 w 3276004"/>
                <a:gd name="connsiteY5" fmla="*/ 1306286 h 1589287"/>
                <a:gd name="connsiteX6" fmla="*/ 0 w 3276004"/>
                <a:gd name="connsiteY6" fmla="*/ 1306286 h 1589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6004" h="1589287">
                  <a:moveTo>
                    <a:pt x="0" y="0"/>
                  </a:moveTo>
                  <a:lnTo>
                    <a:pt x="3276004" y="0"/>
                  </a:lnTo>
                  <a:lnTo>
                    <a:pt x="3276004" y="1306286"/>
                  </a:lnTo>
                  <a:lnTo>
                    <a:pt x="2786741" y="1306286"/>
                  </a:lnTo>
                  <a:lnTo>
                    <a:pt x="2786741" y="1589287"/>
                  </a:lnTo>
                  <a:lnTo>
                    <a:pt x="2232059" y="1306286"/>
                  </a:lnTo>
                  <a:lnTo>
                    <a:pt x="0" y="1306286"/>
                  </a:lnTo>
                  <a:close/>
                </a:path>
              </a:pathLst>
            </a:custGeom>
            <a:solidFill>
              <a:srgbClr val="2A282B">
                <a:lumMod val="10000"/>
                <a:lumOff val="9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tIns="0" bIns="28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80" name="任意多边形: 形状 979">
              <a:extLst>
                <a:ext uri="{FF2B5EF4-FFF2-40B4-BE49-F238E27FC236}">
                  <a16:creationId xmlns:a16="http://schemas.microsoft.com/office/drawing/2014/main" id="{5A0B4CD5-CDCE-4274-B42A-FA085057B49F}"/>
                </a:ext>
              </a:extLst>
            </p:cNvPr>
            <p:cNvSpPr>
              <a:spLocks/>
            </p:cNvSpPr>
            <p:nvPr userDrawn="1"/>
          </p:nvSpPr>
          <p:spPr>
            <a:xfrm flipH="1">
              <a:off x="8214477" y="1485211"/>
              <a:ext cx="2774490" cy="1589287"/>
            </a:xfrm>
            <a:custGeom>
              <a:avLst/>
              <a:gdLst>
                <a:gd name="connsiteX0" fmla="*/ 0 w 3276004"/>
                <a:gd name="connsiteY0" fmla="*/ 0 h 1589287"/>
                <a:gd name="connsiteX1" fmla="*/ 3276004 w 3276004"/>
                <a:gd name="connsiteY1" fmla="*/ 0 h 1589287"/>
                <a:gd name="connsiteX2" fmla="*/ 3276004 w 3276004"/>
                <a:gd name="connsiteY2" fmla="*/ 1306286 h 1589287"/>
                <a:gd name="connsiteX3" fmla="*/ 2786741 w 3276004"/>
                <a:gd name="connsiteY3" fmla="*/ 1306286 h 1589287"/>
                <a:gd name="connsiteX4" fmla="*/ 2786741 w 3276004"/>
                <a:gd name="connsiteY4" fmla="*/ 1589287 h 1589287"/>
                <a:gd name="connsiteX5" fmla="*/ 2232059 w 3276004"/>
                <a:gd name="connsiteY5" fmla="*/ 1306286 h 1589287"/>
                <a:gd name="connsiteX6" fmla="*/ 0 w 3276004"/>
                <a:gd name="connsiteY6" fmla="*/ 1306286 h 1589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76004" h="1589287">
                  <a:moveTo>
                    <a:pt x="0" y="0"/>
                  </a:moveTo>
                  <a:lnTo>
                    <a:pt x="3276004" y="0"/>
                  </a:lnTo>
                  <a:lnTo>
                    <a:pt x="3276004" y="1306286"/>
                  </a:lnTo>
                  <a:lnTo>
                    <a:pt x="2786741" y="1306286"/>
                  </a:lnTo>
                  <a:lnTo>
                    <a:pt x="2786741" y="1589287"/>
                  </a:lnTo>
                  <a:lnTo>
                    <a:pt x="2232059" y="1306286"/>
                  </a:lnTo>
                  <a:lnTo>
                    <a:pt x="0" y="1306286"/>
                  </a:lnTo>
                  <a:close/>
                </a:path>
              </a:pathLst>
            </a:custGeom>
            <a:solidFill>
              <a:srgbClr val="FFC0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tIns="0" bIns="288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cxnSp>
          <p:nvCxnSpPr>
            <p:cNvPr id="981" name="直接连接符 980">
              <a:extLst>
                <a:ext uri="{FF2B5EF4-FFF2-40B4-BE49-F238E27FC236}">
                  <a16:creationId xmlns:a16="http://schemas.microsoft.com/office/drawing/2014/main" id="{EEA02DA6-A9F9-46C5-A70B-011F1590A6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08427" y="5152571"/>
              <a:ext cx="10032538" cy="99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514391" y="1976785"/>
            <a:ext cx="7023098" cy="3113083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58534" y="2124921"/>
            <a:ext cx="277449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8536" y="1828650"/>
            <a:ext cx="277449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792613" y="1922072"/>
            <a:ext cx="7380933" cy="2521374"/>
          </a:xfrm>
        </p:spPr>
        <p:txBody>
          <a:bodyPr>
            <a:normAutofit/>
          </a:bodyPr>
          <a:lstStyle/>
          <a:p>
            <a:r>
              <a:rPr lang="zh-CN" altLang="en-US" sz="6000" b="0" dirty="0">
                <a:solidFill>
                  <a:schemeClr val="accent3"/>
                </a:solidFill>
              </a:rPr>
              <a:t>百度爱番番</a:t>
            </a:r>
            <a:br>
              <a:rPr lang="en-US" altLang="zh-CN" sz="6000" b="0" dirty="0">
                <a:solidFill>
                  <a:schemeClr val="accent3"/>
                </a:solidFill>
              </a:rPr>
            </a:br>
            <a:r>
              <a:rPr lang="en-US" altLang="zh-CN" sz="6000" b="0" dirty="0" err="1">
                <a:solidFill>
                  <a:schemeClr val="accent3"/>
                </a:solidFill>
              </a:rPr>
              <a:t>Skywalking</a:t>
            </a:r>
            <a:r>
              <a:rPr lang="zh-CN" altLang="en-US" sz="6000" b="0" dirty="0">
                <a:solidFill>
                  <a:schemeClr val="accent3"/>
                </a:solidFill>
              </a:rPr>
              <a:t>实践分享</a:t>
            </a:r>
            <a:br>
              <a:rPr lang="en-US" altLang="zh-CN" sz="2800" b="0" dirty="0">
                <a:solidFill>
                  <a:schemeClr val="accent1"/>
                </a:solidFill>
              </a:rPr>
            </a:br>
            <a:r>
              <a:rPr lang="en-US" altLang="zh-CN" sz="2400" b="0" dirty="0" err="1">
                <a:solidFill>
                  <a:schemeClr val="accent5">
                    <a:lumMod val="75000"/>
                    <a:lumOff val="25000"/>
                  </a:schemeClr>
                </a:solidFill>
              </a:rPr>
              <a:t>Skywalking</a:t>
            </a:r>
            <a:r>
              <a:rPr lang="zh-CN" altLang="en-US" sz="2400" b="0" dirty="0">
                <a:solidFill>
                  <a:schemeClr val="accent5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zh-CN" sz="2400" b="0" dirty="0">
                <a:solidFill>
                  <a:schemeClr val="accent5">
                    <a:lumMod val="75000"/>
                    <a:lumOff val="25000"/>
                  </a:schemeClr>
                </a:solidFill>
              </a:rPr>
              <a:t>Committer</a:t>
            </a:r>
            <a:r>
              <a:rPr lang="zh-CN" altLang="en-US" sz="2400" b="0" dirty="0">
                <a:solidFill>
                  <a:schemeClr val="accent5">
                    <a:lumMod val="75000"/>
                    <a:lumOff val="25000"/>
                  </a:schemeClr>
                </a:solidFill>
              </a:rPr>
              <a:t>      刘嘉鹏</a:t>
            </a:r>
            <a:endParaRPr lang="zh-CN" altLang="en-US" sz="2800" b="0" dirty="0">
              <a:solidFill>
                <a:schemeClr val="accent5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bg1"/>
                </a:solidFill>
              </a:rPr>
              <a:t>Skywalking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DevCon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chemeClr val="bg1"/>
                </a:solidFill>
              </a:rPr>
              <a:t>2020</a:t>
            </a:r>
          </a:p>
        </p:txBody>
      </p:sp>
      <p:pic>
        <p:nvPicPr>
          <p:cNvPr id="1042" name="Picture 18">
            <a:extLst>
              <a:ext uri="{FF2B5EF4-FFF2-40B4-BE49-F238E27FC236}">
                <a16:creationId xmlns:a16="http://schemas.microsoft.com/office/drawing/2014/main" id="{C586CE39-F776-2F4D-A221-7A4060646D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8464" y="1607927"/>
            <a:ext cx="2327166" cy="526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1:</a:t>
            </a:r>
            <a:r>
              <a:rPr kumimoji="1" lang="zh-CN" altLang="en-US" dirty="0"/>
              <a:t> </a:t>
            </a:r>
            <a:r>
              <a:rPr lang="en-US" altLang="zh-CN" dirty="0"/>
              <a:t>Kubernetes</a:t>
            </a:r>
            <a:r>
              <a:rPr lang="zh-CN" altLang="en-US" dirty="0"/>
              <a:t>服务部署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203DB90C-8E71-3045-8C34-D28C548B328A}"/>
              </a:ext>
            </a:extLst>
          </p:cNvPr>
          <p:cNvSpPr/>
          <p:nvPr/>
        </p:nvSpPr>
        <p:spPr>
          <a:xfrm rot="5400000">
            <a:off x="2021002" y="2933633"/>
            <a:ext cx="3084947" cy="2193796"/>
          </a:xfrm>
          <a:prstGeom prst="roundRect">
            <a:avLst>
              <a:gd name="adj" fmla="val 12000"/>
            </a:avLst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:a16="http://schemas.microsoft.com/office/drawing/2014/main" id="{B75B956D-0F14-6C45-91FA-72EE49FB274C}"/>
              </a:ext>
            </a:extLst>
          </p:cNvPr>
          <p:cNvSpPr/>
          <p:nvPr/>
        </p:nvSpPr>
        <p:spPr>
          <a:xfrm rot="5400000">
            <a:off x="7081961" y="2933633"/>
            <a:ext cx="3084947" cy="2193796"/>
          </a:xfrm>
          <a:prstGeom prst="roundRect">
            <a:avLst>
              <a:gd name="adj" fmla="val 12000"/>
            </a:avLst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090B0120-B99D-744D-888D-BC32A31C332B}"/>
              </a:ext>
            </a:extLst>
          </p:cNvPr>
          <p:cNvSpPr/>
          <p:nvPr/>
        </p:nvSpPr>
        <p:spPr>
          <a:xfrm rot="5400000">
            <a:off x="4551481" y="2933633"/>
            <a:ext cx="3084947" cy="2193796"/>
          </a:xfrm>
          <a:prstGeom prst="roundRect">
            <a:avLst>
              <a:gd name="adj" fmla="val 12000"/>
            </a:avLst>
          </a:pr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>
            <a:outerShdw blurRad="254000" dist="127000" algn="ctr" rotWithShape="0">
              <a:schemeClr val="bg1">
                <a:lumMod val="6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AFA5F64-2590-7B44-86D6-6F006D118B8F}"/>
              </a:ext>
            </a:extLst>
          </p:cNvPr>
          <p:cNvSpPr txBox="1"/>
          <p:nvPr/>
        </p:nvSpPr>
        <p:spPr>
          <a:xfrm>
            <a:off x="2301036" y="1431891"/>
            <a:ext cx="7585836" cy="58192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lvl="0" algn="ctr" defTabSz="913765">
              <a:buSzPct val="25000"/>
              <a:defRPr/>
            </a:pPr>
            <a:r>
              <a:rPr lang="en-US" altLang="zh-CN" sz="3200" b="1" dirty="0" err="1"/>
              <a:t>目标</a:t>
            </a:r>
            <a:r>
              <a:rPr lang="en-US" altLang="zh-CN" sz="3200" b="1" dirty="0"/>
              <a:t>:</a:t>
            </a:r>
            <a:r>
              <a:rPr lang="zh-CN" altLang="en-US" sz="3200" b="1" dirty="0"/>
              <a:t> 依靠平台原生能力减少部署组件</a:t>
            </a:r>
            <a:endParaRPr lang="en-US" altLang="zh-CN" sz="3200" b="1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02C73D8-C60C-6B42-9FFD-CB58D01DD840}"/>
              </a:ext>
            </a:extLst>
          </p:cNvPr>
          <p:cNvSpPr txBox="1"/>
          <p:nvPr/>
        </p:nvSpPr>
        <p:spPr>
          <a:xfrm>
            <a:off x="2376889" y="3683390"/>
            <a:ext cx="23731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存储</a:t>
            </a:r>
            <a:endParaRPr lang="en-US" altLang="zh-CN" sz="1800" b="1" dirty="0"/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9278BD41-AA44-6D4E-B0AE-D9C06C9602EF}"/>
              </a:ext>
            </a:extLst>
          </p:cNvPr>
          <p:cNvGrpSpPr/>
          <p:nvPr/>
        </p:nvGrpSpPr>
        <p:grpSpPr>
          <a:xfrm>
            <a:off x="7851480" y="2969792"/>
            <a:ext cx="444222" cy="444220"/>
            <a:chOff x="749300" y="5283480"/>
            <a:chExt cx="444222" cy="444220"/>
          </a:xfrm>
        </p:grpSpPr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611923F8-099E-1041-AD26-FBACE6445857}"/>
                </a:ext>
              </a:extLst>
            </p:cNvPr>
            <p:cNvSpPr/>
            <p:nvPr/>
          </p:nvSpPr>
          <p:spPr>
            <a:xfrm>
              <a:off x="749300" y="5283480"/>
              <a:ext cx="444222" cy="444220"/>
            </a:xfrm>
            <a:prstGeom prst="ellipse">
              <a:avLst/>
            </a:prstGeom>
            <a:solidFill>
              <a:schemeClr val="accent4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sx="1000" sy="1000" algn="ctr" rotWithShape="0">
                <a:schemeClr val="accent4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任意多边形 26">
              <a:extLst>
                <a:ext uri="{FF2B5EF4-FFF2-40B4-BE49-F238E27FC236}">
                  <a16:creationId xmlns:a16="http://schemas.microsoft.com/office/drawing/2014/main" id="{892908FC-8FED-E746-BFC1-37A98457DE52}"/>
                </a:ext>
              </a:extLst>
            </p:cNvPr>
            <p:cNvSpPr/>
            <p:nvPr/>
          </p:nvSpPr>
          <p:spPr bwMode="auto">
            <a:xfrm>
              <a:off x="868630" y="5435507"/>
              <a:ext cx="205561" cy="163687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19" name="文本框 18">
            <a:extLst>
              <a:ext uri="{FF2B5EF4-FFF2-40B4-BE49-F238E27FC236}">
                <a16:creationId xmlns:a16="http://schemas.microsoft.com/office/drawing/2014/main" id="{14F12E8D-2392-CA46-B400-F85C07AFF233}"/>
              </a:ext>
            </a:extLst>
          </p:cNvPr>
          <p:cNvSpPr txBox="1"/>
          <p:nvPr/>
        </p:nvSpPr>
        <p:spPr>
          <a:xfrm>
            <a:off x="7553495" y="3683390"/>
            <a:ext cx="21418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dirty="0"/>
              <a:t>配置中心</a:t>
            </a:r>
            <a:endParaRPr lang="en-US" altLang="zh-CN" sz="1800" b="1" dirty="0"/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3E100E5B-D267-CD44-9BFC-6F071963291C}"/>
              </a:ext>
            </a:extLst>
          </p:cNvPr>
          <p:cNvGrpSpPr/>
          <p:nvPr/>
        </p:nvGrpSpPr>
        <p:grpSpPr>
          <a:xfrm>
            <a:off x="5321000" y="2969792"/>
            <a:ext cx="444222" cy="444220"/>
            <a:chOff x="2355304" y="5283480"/>
            <a:chExt cx="444222" cy="444220"/>
          </a:xfrm>
        </p:grpSpPr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3B1893A6-C47A-0A45-9F7B-14EA70E4B581}"/>
                </a:ext>
              </a:extLst>
            </p:cNvPr>
            <p:cNvSpPr/>
            <p:nvPr/>
          </p:nvSpPr>
          <p:spPr>
            <a:xfrm>
              <a:off x="2355304" y="5283480"/>
              <a:ext cx="444222" cy="444220"/>
            </a:xfrm>
            <a:prstGeom prst="ellipse">
              <a:avLst/>
            </a:prstGeom>
            <a:solidFill>
              <a:schemeClr val="accent6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sx="1000" sy="1000" algn="ctr" rotWithShape="0">
                <a:schemeClr val="accent6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任意多边形 33">
              <a:extLst>
                <a:ext uri="{FF2B5EF4-FFF2-40B4-BE49-F238E27FC236}">
                  <a16:creationId xmlns:a16="http://schemas.microsoft.com/office/drawing/2014/main" id="{376FE531-6F54-4C48-A1AC-FD04874A552C}"/>
                </a:ext>
              </a:extLst>
            </p:cNvPr>
            <p:cNvSpPr/>
            <p:nvPr/>
          </p:nvSpPr>
          <p:spPr bwMode="auto">
            <a:xfrm>
              <a:off x="2492988" y="5402810"/>
              <a:ext cx="168853" cy="205561"/>
            </a:xfrm>
            <a:custGeom>
              <a:avLst/>
              <a:gdLst>
                <a:gd name="connsiteX0" fmla="*/ 283816 w 438150"/>
                <a:gd name="connsiteY0" fmla="*/ 621 h 533400"/>
                <a:gd name="connsiteX1" fmla="*/ 286102 w 438150"/>
                <a:gd name="connsiteY1" fmla="*/ 716 h 533400"/>
                <a:gd name="connsiteX2" fmla="*/ 286102 w 438150"/>
                <a:gd name="connsiteY2" fmla="*/ 124446 h 533400"/>
                <a:gd name="connsiteX3" fmla="*/ 286197 w 438150"/>
                <a:gd name="connsiteY3" fmla="*/ 126160 h 533400"/>
                <a:gd name="connsiteX4" fmla="*/ 314677 w 438150"/>
                <a:gd name="connsiteY4" fmla="*/ 153021 h 533400"/>
                <a:gd name="connsiteX5" fmla="*/ 314677 w 438150"/>
                <a:gd name="connsiteY5" fmla="*/ 153021 h 533400"/>
                <a:gd name="connsiteX6" fmla="*/ 438407 w 438150"/>
                <a:gd name="connsiteY6" fmla="*/ 153021 h 533400"/>
                <a:gd name="connsiteX7" fmla="*/ 438502 w 438150"/>
                <a:gd name="connsiteY7" fmla="*/ 155307 h 533400"/>
                <a:gd name="connsiteX8" fmla="*/ 438502 w 438150"/>
                <a:gd name="connsiteY8" fmla="*/ 505446 h 533400"/>
                <a:gd name="connsiteX9" fmla="*/ 409927 w 438150"/>
                <a:gd name="connsiteY9" fmla="*/ 534021 h 533400"/>
                <a:gd name="connsiteX10" fmla="*/ 28927 w 438150"/>
                <a:gd name="connsiteY10" fmla="*/ 534021 h 533400"/>
                <a:gd name="connsiteX11" fmla="*/ 352 w 438150"/>
                <a:gd name="connsiteY11" fmla="*/ 505446 h 533400"/>
                <a:gd name="connsiteX12" fmla="*/ 352 w 438150"/>
                <a:gd name="connsiteY12" fmla="*/ 29196 h 533400"/>
                <a:gd name="connsiteX13" fmla="*/ 28927 w 438150"/>
                <a:gd name="connsiteY13" fmla="*/ 621 h 533400"/>
                <a:gd name="connsiteX14" fmla="*/ 283816 w 438150"/>
                <a:gd name="connsiteY14" fmla="*/ 621 h 533400"/>
                <a:gd name="connsiteX15" fmla="*/ 248002 w 438150"/>
                <a:gd name="connsiteY15" fmla="*/ 200646 h 533400"/>
                <a:gd name="connsiteX16" fmla="*/ 152752 w 438150"/>
                <a:gd name="connsiteY16" fmla="*/ 200646 h 533400"/>
                <a:gd name="connsiteX17" fmla="*/ 152752 w 438150"/>
                <a:gd name="connsiteY17" fmla="*/ 410196 h 533400"/>
                <a:gd name="connsiteX18" fmla="*/ 171802 w 438150"/>
                <a:gd name="connsiteY18" fmla="*/ 410196 h 533400"/>
                <a:gd name="connsiteX19" fmla="*/ 171802 w 438150"/>
                <a:gd name="connsiteY19" fmla="*/ 314946 h 533400"/>
                <a:gd name="connsiteX20" fmla="*/ 248002 w 438150"/>
                <a:gd name="connsiteY20" fmla="*/ 314946 h 533400"/>
                <a:gd name="connsiteX21" fmla="*/ 250098 w 438150"/>
                <a:gd name="connsiteY21" fmla="*/ 314946 h 533400"/>
                <a:gd name="connsiteX22" fmla="*/ 305152 w 438150"/>
                <a:gd name="connsiteY22" fmla="*/ 257796 h 533400"/>
                <a:gd name="connsiteX23" fmla="*/ 248002 w 438150"/>
                <a:gd name="connsiteY23" fmla="*/ 200646 h 533400"/>
                <a:gd name="connsiteX24" fmla="*/ 248002 w 438150"/>
                <a:gd name="connsiteY24" fmla="*/ 200646 h 533400"/>
                <a:gd name="connsiteX25" fmla="*/ 248002 w 438150"/>
                <a:gd name="connsiteY25" fmla="*/ 219696 h 533400"/>
                <a:gd name="connsiteX26" fmla="*/ 286102 w 438150"/>
                <a:gd name="connsiteY26" fmla="*/ 257796 h 533400"/>
                <a:gd name="connsiteX27" fmla="*/ 248002 w 438150"/>
                <a:gd name="connsiteY27" fmla="*/ 295896 h 533400"/>
                <a:gd name="connsiteX28" fmla="*/ 248002 w 438150"/>
                <a:gd name="connsiteY28" fmla="*/ 295896 h 533400"/>
                <a:gd name="connsiteX29" fmla="*/ 171802 w 438150"/>
                <a:gd name="connsiteY29" fmla="*/ 295896 h 533400"/>
                <a:gd name="connsiteX30" fmla="*/ 171802 w 438150"/>
                <a:gd name="connsiteY30" fmla="*/ 219696 h 533400"/>
                <a:gd name="connsiteX31" fmla="*/ 248002 w 438150"/>
                <a:gd name="connsiteY31" fmla="*/ 219696 h 533400"/>
                <a:gd name="connsiteX32" fmla="*/ 428977 w 438150"/>
                <a:gd name="connsiteY32" fmla="*/ 133971 h 533400"/>
                <a:gd name="connsiteX33" fmla="*/ 314677 w 438150"/>
                <a:gd name="connsiteY33" fmla="*/ 133971 h 533400"/>
                <a:gd name="connsiteX34" fmla="*/ 313534 w 438150"/>
                <a:gd name="connsiteY34" fmla="*/ 133876 h 533400"/>
                <a:gd name="connsiteX35" fmla="*/ 305152 w 438150"/>
                <a:gd name="connsiteY35" fmla="*/ 124446 h 533400"/>
                <a:gd name="connsiteX36" fmla="*/ 305152 w 438150"/>
                <a:gd name="connsiteY36" fmla="*/ 124446 h 533400"/>
                <a:gd name="connsiteX37" fmla="*/ 305152 w 438150"/>
                <a:gd name="connsiteY37" fmla="*/ 10146 h 533400"/>
                <a:gd name="connsiteX38" fmla="*/ 428977 w 438150"/>
                <a:gd name="connsiteY38" fmla="*/ 133971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816" y="621"/>
                  </a:moveTo>
                  <a:cubicBezTo>
                    <a:pt x="284578" y="621"/>
                    <a:pt x="285340" y="621"/>
                    <a:pt x="286102" y="716"/>
                  </a:cubicBezTo>
                  <a:lnTo>
                    <a:pt x="286102" y="124446"/>
                  </a:lnTo>
                  <a:lnTo>
                    <a:pt x="286197" y="126160"/>
                  </a:lnTo>
                  <a:cubicBezTo>
                    <a:pt x="287055" y="141115"/>
                    <a:pt x="299532" y="153021"/>
                    <a:pt x="314677" y="153021"/>
                  </a:cubicBezTo>
                  <a:lnTo>
                    <a:pt x="314677" y="153021"/>
                  </a:lnTo>
                  <a:lnTo>
                    <a:pt x="438407" y="153021"/>
                  </a:lnTo>
                  <a:cubicBezTo>
                    <a:pt x="438502" y="153783"/>
                    <a:pt x="438502" y="154545"/>
                    <a:pt x="438502" y="155307"/>
                  </a:cubicBezTo>
                  <a:lnTo>
                    <a:pt x="438502" y="505446"/>
                  </a:lnTo>
                  <a:cubicBezTo>
                    <a:pt x="438502" y="521257"/>
                    <a:pt x="425739" y="534021"/>
                    <a:pt x="409927" y="534021"/>
                  </a:cubicBezTo>
                  <a:lnTo>
                    <a:pt x="28927" y="534021"/>
                  </a:lnTo>
                  <a:cubicBezTo>
                    <a:pt x="13115" y="534021"/>
                    <a:pt x="352" y="521257"/>
                    <a:pt x="352" y="505446"/>
                  </a:cubicBezTo>
                  <a:lnTo>
                    <a:pt x="352" y="29196"/>
                  </a:lnTo>
                  <a:cubicBezTo>
                    <a:pt x="352" y="13385"/>
                    <a:pt x="13115" y="621"/>
                    <a:pt x="28927" y="621"/>
                  </a:cubicBezTo>
                  <a:lnTo>
                    <a:pt x="283816" y="621"/>
                  </a:lnTo>
                  <a:close/>
                  <a:moveTo>
                    <a:pt x="248002" y="200646"/>
                  </a:moveTo>
                  <a:lnTo>
                    <a:pt x="152752" y="200646"/>
                  </a:lnTo>
                  <a:lnTo>
                    <a:pt x="152752" y="410196"/>
                  </a:lnTo>
                  <a:lnTo>
                    <a:pt x="171802" y="410196"/>
                  </a:lnTo>
                  <a:lnTo>
                    <a:pt x="171802" y="314946"/>
                  </a:lnTo>
                  <a:lnTo>
                    <a:pt x="248002" y="314946"/>
                  </a:lnTo>
                  <a:lnTo>
                    <a:pt x="250098" y="314946"/>
                  </a:lnTo>
                  <a:cubicBezTo>
                    <a:pt x="280673" y="313803"/>
                    <a:pt x="305152" y="288657"/>
                    <a:pt x="305152" y="257796"/>
                  </a:cubicBezTo>
                  <a:cubicBezTo>
                    <a:pt x="305152" y="226268"/>
                    <a:pt x="279530" y="200646"/>
                    <a:pt x="248002" y="200646"/>
                  </a:cubicBezTo>
                  <a:lnTo>
                    <a:pt x="248002" y="200646"/>
                  </a:lnTo>
                  <a:close/>
                  <a:moveTo>
                    <a:pt x="248002" y="219696"/>
                  </a:moveTo>
                  <a:cubicBezTo>
                    <a:pt x="269052" y="219696"/>
                    <a:pt x="286102" y="236746"/>
                    <a:pt x="286102" y="257796"/>
                  </a:cubicBezTo>
                  <a:cubicBezTo>
                    <a:pt x="286102" y="278846"/>
                    <a:pt x="269052" y="295896"/>
                    <a:pt x="248002" y="295896"/>
                  </a:cubicBezTo>
                  <a:lnTo>
                    <a:pt x="248002" y="295896"/>
                  </a:lnTo>
                  <a:lnTo>
                    <a:pt x="171802" y="295896"/>
                  </a:lnTo>
                  <a:lnTo>
                    <a:pt x="171802" y="219696"/>
                  </a:lnTo>
                  <a:lnTo>
                    <a:pt x="248002" y="219696"/>
                  </a:lnTo>
                  <a:close/>
                  <a:moveTo>
                    <a:pt x="428977" y="133971"/>
                  </a:moveTo>
                  <a:lnTo>
                    <a:pt x="314677" y="133971"/>
                  </a:lnTo>
                  <a:lnTo>
                    <a:pt x="313534" y="133876"/>
                  </a:lnTo>
                  <a:cubicBezTo>
                    <a:pt x="308772" y="133304"/>
                    <a:pt x="305152" y="129304"/>
                    <a:pt x="305152" y="124446"/>
                  </a:cubicBezTo>
                  <a:lnTo>
                    <a:pt x="305152" y="124446"/>
                  </a:lnTo>
                  <a:lnTo>
                    <a:pt x="305152" y="10146"/>
                  </a:lnTo>
                  <a:lnTo>
                    <a:pt x="428977" y="1339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E9DF6744-B737-494B-A25F-7D3F879A08FE}"/>
              </a:ext>
            </a:extLst>
          </p:cNvPr>
          <p:cNvSpPr txBox="1"/>
          <p:nvPr/>
        </p:nvSpPr>
        <p:spPr>
          <a:xfrm>
            <a:off x="4997056" y="3665050"/>
            <a:ext cx="19593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服务发现</a:t>
            </a:r>
            <a:endParaRPr lang="en-US" altLang="zh-CN" sz="1800" b="1" dirty="0"/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49B27B6A-F455-E84C-ADA1-AE51BBD387D3}"/>
              </a:ext>
            </a:extLst>
          </p:cNvPr>
          <p:cNvGrpSpPr/>
          <p:nvPr/>
        </p:nvGrpSpPr>
        <p:grpSpPr>
          <a:xfrm>
            <a:off x="2790521" y="2969792"/>
            <a:ext cx="444222" cy="444220"/>
            <a:chOff x="4016897" y="5695796"/>
            <a:chExt cx="444222" cy="444220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D2824D99-52C4-274C-AF08-CA1D6990ED41}"/>
                </a:ext>
              </a:extLst>
            </p:cNvPr>
            <p:cNvSpPr/>
            <p:nvPr/>
          </p:nvSpPr>
          <p:spPr>
            <a:xfrm>
              <a:off x="4016897" y="5695796"/>
              <a:ext cx="444222" cy="444220"/>
            </a:xfrm>
            <a:prstGeom prst="ellipse">
              <a:avLst/>
            </a:prstGeom>
            <a:solidFill>
              <a:schemeClr val="accent5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sx="1000" sy="1000" algn="ctr" rotWithShape="0">
                <a:schemeClr val="accent5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accent5"/>
                </a:solidFill>
              </a:endParaRPr>
            </a:p>
          </p:txBody>
        </p:sp>
        <p:sp>
          <p:nvSpPr>
            <p:cNvPr id="18" name="任意多边形 7">
              <a:extLst>
                <a:ext uri="{FF2B5EF4-FFF2-40B4-BE49-F238E27FC236}">
                  <a16:creationId xmlns:a16="http://schemas.microsoft.com/office/drawing/2014/main" id="{610D9D54-9BBB-C549-9FD8-670E0A145AD4}"/>
                </a:ext>
              </a:extLst>
            </p:cNvPr>
            <p:cNvSpPr/>
            <p:nvPr/>
          </p:nvSpPr>
          <p:spPr bwMode="auto">
            <a:xfrm>
              <a:off x="4141561" y="5813116"/>
              <a:ext cx="194894" cy="209581"/>
            </a:xfrm>
            <a:custGeom>
              <a:avLst/>
              <a:gdLst>
                <a:gd name="connsiteX0" fmla="*/ 8774 w 487162"/>
                <a:gd name="connsiteY0" fmla="*/ 514114 h 523875"/>
                <a:gd name="connsiteX1" fmla="*/ 8203 w 487162"/>
                <a:gd name="connsiteY1" fmla="*/ 513447 h 523875"/>
                <a:gd name="connsiteX2" fmla="*/ 8203 w 487162"/>
                <a:gd name="connsiteY2" fmla="*/ 513447 h 523875"/>
                <a:gd name="connsiteX3" fmla="*/ 7727 w 487162"/>
                <a:gd name="connsiteY3" fmla="*/ 512780 h 523875"/>
                <a:gd name="connsiteX4" fmla="*/ 5726 w 487162"/>
                <a:gd name="connsiteY4" fmla="*/ 509732 h 523875"/>
                <a:gd name="connsiteX5" fmla="*/ 5726 w 487162"/>
                <a:gd name="connsiteY5" fmla="*/ 509732 h 523875"/>
                <a:gd name="connsiteX6" fmla="*/ 5250 w 487162"/>
                <a:gd name="connsiteY6" fmla="*/ 508970 h 523875"/>
                <a:gd name="connsiteX7" fmla="*/ 4488 w 487162"/>
                <a:gd name="connsiteY7" fmla="*/ 507446 h 523875"/>
                <a:gd name="connsiteX8" fmla="*/ 3821 w 487162"/>
                <a:gd name="connsiteY8" fmla="*/ 505827 h 523875"/>
                <a:gd name="connsiteX9" fmla="*/ 3726 w 487162"/>
                <a:gd name="connsiteY9" fmla="*/ 505637 h 523875"/>
                <a:gd name="connsiteX10" fmla="*/ 3631 w 487162"/>
                <a:gd name="connsiteY10" fmla="*/ 505351 h 523875"/>
                <a:gd name="connsiteX11" fmla="*/ 3631 w 487162"/>
                <a:gd name="connsiteY11" fmla="*/ 505160 h 523875"/>
                <a:gd name="connsiteX12" fmla="*/ 2964 w 487162"/>
                <a:gd name="connsiteY12" fmla="*/ 503160 h 523875"/>
                <a:gd name="connsiteX13" fmla="*/ 2583 w 487162"/>
                <a:gd name="connsiteY13" fmla="*/ 501826 h 523875"/>
                <a:gd name="connsiteX14" fmla="*/ 2107 w 487162"/>
                <a:gd name="connsiteY14" fmla="*/ 499921 h 523875"/>
                <a:gd name="connsiteX15" fmla="*/ 1250 w 487162"/>
                <a:gd name="connsiteY15" fmla="*/ 495635 h 523875"/>
                <a:gd name="connsiteX16" fmla="*/ 964 w 487162"/>
                <a:gd name="connsiteY16" fmla="*/ 493159 h 523875"/>
                <a:gd name="connsiteX17" fmla="*/ 773 w 487162"/>
                <a:gd name="connsiteY17" fmla="*/ 486587 h 523875"/>
                <a:gd name="connsiteX18" fmla="*/ 5345 w 487162"/>
                <a:gd name="connsiteY18" fmla="*/ 468298 h 523875"/>
                <a:gd name="connsiteX19" fmla="*/ 154983 w 487162"/>
                <a:gd name="connsiteY19" fmla="*/ 151592 h 523875"/>
                <a:gd name="connsiteX20" fmla="*/ 158603 w 487162"/>
                <a:gd name="connsiteY20" fmla="*/ 135305 h 523875"/>
                <a:gd name="connsiteX21" fmla="*/ 158603 w 487162"/>
                <a:gd name="connsiteY21" fmla="*/ 19671 h 523875"/>
                <a:gd name="connsiteX22" fmla="*/ 120503 w 487162"/>
                <a:gd name="connsiteY22" fmla="*/ 19671 h 523875"/>
                <a:gd name="connsiteX23" fmla="*/ 120503 w 487162"/>
                <a:gd name="connsiteY23" fmla="*/ 621 h 523875"/>
                <a:gd name="connsiteX24" fmla="*/ 368153 w 487162"/>
                <a:gd name="connsiteY24" fmla="*/ 621 h 523875"/>
                <a:gd name="connsiteX25" fmla="*/ 368153 w 487162"/>
                <a:gd name="connsiteY25" fmla="*/ 19671 h 523875"/>
                <a:gd name="connsiteX26" fmla="*/ 330053 w 487162"/>
                <a:gd name="connsiteY26" fmla="*/ 19671 h 523875"/>
                <a:gd name="connsiteX27" fmla="*/ 330053 w 487162"/>
                <a:gd name="connsiteY27" fmla="*/ 135305 h 523875"/>
                <a:gd name="connsiteX28" fmla="*/ 333672 w 487162"/>
                <a:gd name="connsiteY28" fmla="*/ 151592 h 523875"/>
                <a:gd name="connsiteX29" fmla="*/ 483310 w 487162"/>
                <a:gd name="connsiteY29" fmla="*/ 468298 h 523875"/>
                <a:gd name="connsiteX30" fmla="*/ 484834 w 487162"/>
                <a:gd name="connsiteY30" fmla="*/ 505541 h 523875"/>
                <a:gd name="connsiteX31" fmla="*/ 484739 w 487162"/>
                <a:gd name="connsiteY31" fmla="*/ 505732 h 523875"/>
                <a:gd name="connsiteX32" fmla="*/ 484167 w 487162"/>
                <a:gd name="connsiteY32" fmla="*/ 507160 h 523875"/>
                <a:gd name="connsiteX33" fmla="*/ 459307 w 487162"/>
                <a:gd name="connsiteY33" fmla="*/ 524401 h 523875"/>
                <a:gd name="connsiteX34" fmla="*/ 457497 w 487162"/>
                <a:gd name="connsiteY34" fmla="*/ 524496 h 523875"/>
                <a:gd name="connsiteX35" fmla="*/ 31253 w 487162"/>
                <a:gd name="connsiteY35" fmla="*/ 524496 h 523875"/>
                <a:gd name="connsiteX36" fmla="*/ 29444 w 487162"/>
                <a:gd name="connsiteY36" fmla="*/ 524401 h 523875"/>
                <a:gd name="connsiteX37" fmla="*/ 26967 w 487162"/>
                <a:gd name="connsiteY37" fmla="*/ 524115 h 523875"/>
                <a:gd name="connsiteX38" fmla="*/ 23157 w 487162"/>
                <a:gd name="connsiteY38" fmla="*/ 523258 h 523875"/>
                <a:gd name="connsiteX39" fmla="*/ 23157 w 487162"/>
                <a:gd name="connsiteY39" fmla="*/ 523258 h 523875"/>
                <a:gd name="connsiteX40" fmla="*/ 17633 w 487162"/>
                <a:gd name="connsiteY40" fmla="*/ 520972 h 523875"/>
                <a:gd name="connsiteX41" fmla="*/ 16204 w 487162"/>
                <a:gd name="connsiteY41" fmla="*/ 520210 h 523875"/>
                <a:gd name="connsiteX42" fmla="*/ 15251 w 487162"/>
                <a:gd name="connsiteY42" fmla="*/ 519638 h 523875"/>
                <a:gd name="connsiteX43" fmla="*/ 10298 w 487162"/>
                <a:gd name="connsiteY43" fmla="*/ 515542 h 523875"/>
                <a:gd name="connsiteX44" fmla="*/ 8774 w 487162"/>
                <a:gd name="connsiteY44" fmla="*/ 514114 h 523875"/>
                <a:gd name="connsiteX45" fmla="*/ 8774 w 487162"/>
                <a:gd name="connsiteY45" fmla="*/ 514114 h 523875"/>
                <a:gd name="connsiteX46" fmla="*/ 255377 w 487162"/>
                <a:gd name="connsiteY46" fmla="*/ 404767 h 523875"/>
                <a:gd name="connsiteX47" fmla="*/ 252519 w 487162"/>
                <a:gd name="connsiteY47" fmla="*/ 406576 h 523875"/>
                <a:gd name="connsiteX48" fmla="*/ 246995 w 487162"/>
                <a:gd name="connsiteY48" fmla="*/ 410291 h 523875"/>
                <a:gd name="connsiteX49" fmla="*/ 55161 w 487162"/>
                <a:gd name="connsiteY49" fmla="*/ 416864 h 523875"/>
                <a:gd name="connsiteX50" fmla="*/ 51351 w 487162"/>
                <a:gd name="connsiteY50" fmla="*/ 415339 h 523875"/>
                <a:gd name="connsiteX51" fmla="*/ 22490 w 487162"/>
                <a:gd name="connsiteY51" fmla="*/ 476395 h 523875"/>
                <a:gd name="connsiteX52" fmla="*/ 21633 w 487162"/>
                <a:gd name="connsiteY52" fmla="*/ 478300 h 523875"/>
                <a:gd name="connsiteX53" fmla="*/ 21538 w 487162"/>
                <a:gd name="connsiteY53" fmla="*/ 498778 h 523875"/>
                <a:gd name="connsiteX54" fmla="*/ 28681 w 487162"/>
                <a:gd name="connsiteY54" fmla="*/ 505065 h 523875"/>
                <a:gd name="connsiteX55" fmla="*/ 29920 w 487162"/>
                <a:gd name="connsiteY55" fmla="*/ 505255 h 523875"/>
                <a:gd name="connsiteX56" fmla="*/ 31063 w 487162"/>
                <a:gd name="connsiteY56" fmla="*/ 505351 h 523875"/>
                <a:gd name="connsiteX57" fmla="*/ 457306 w 487162"/>
                <a:gd name="connsiteY57" fmla="*/ 505351 h 523875"/>
                <a:gd name="connsiteX58" fmla="*/ 458450 w 487162"/>
                <a:gd name="connsiteY58" fmla="*/ 505255 h 523875"/>
                <a:gd name="connsiteX59" fmla="*/ 466831 w 487162"/>
                <a:gd name="connsiteY59" fmla="*/ 498683 h 523875"/>
                <a:gd name="connsiteX60" fmla="*/ 467403 w 487162"/>
                <a:gd name="connsiteY60" fmla="*/ 480205 h 523875"/>
                <a:gd name="connsiteX61" fmla="*/ 466736 w 487162"/>
                <a:gd name="connsiteY61" fmla="*/ 478205 h 523875"/>
                <a:gd name="connsiteX62" fmla="*/ 465879 w 487162"/>
                <a:gd name="connsiteY62" fmla="*/ 476300 h 523875"/>
                <a:gd name="connsiteX63" fmla="*/ 424255 w 487162"/>
                <a:gd name="connsiteY63" fmla="*/ 388098 h 523875"/>
                <a:gd name="connsiteX64" fmla="*/ 255377 w 487162"/>
                <a:gd name="connsiteY64" fmla="*/ 404767 h 523875"/>
                <a:gd name="connsiteX65" fmla="*/ 306240 w 487162"/>
                <a:gd name="connsiteY65" fmla="*/ 257796 h 523875"/>
                <a:gd name="connsiteX66" fmla="*/ 272903 w 487162"/>
                <a:gd name="connsiteY66" fmla="*/ 291134 h 523875"/>
                <a:gd name="connsiteX67" fmla="*/ 306240 w 487162"/>
                <a:gd name="connsiteY67" fmla="*/ 324471 h 523875"/>
                <a:gd name="connsiteX68" fmla="*/ 339578 w 487162"/>
                <a:gd name="connsiteY68" fmla="*/ 291134 h 523875"/>
                <a:gd name="connsiteX69" fmla="*/ 306240 w 487162"/>
                <a:gd name="connsiteY69" fmla="*/ 257796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774" y="514114"/>
                  </a:moveTo>
                  <a:lnTo>
                    <a:pt x="8203" y="513447"/>
                  </a:lnTo>
                  <a:lnTo>
                    <a:pt x="8203" y="513447"/>
                  </a:lnTo>
                  <a:lnTo>
                    <a:pt x="7727" y="512780"/>
                  </a:lnTo>
                  <a:cubicBezTo>
                    <a:pt x="6964" y="511828"/>
                    <a:pt x="6393" y="510780"/>
                    <a:pt x="5726" y="509732"/>
                  </a:cubicBezTo>
                  <a:lnTo>
                    <a:pt x="5726" y="509732"/>
                  </a:lnTo>
                  <a:lnTo>
                    <a:pt x="5250" y="508970"/>
                  </a:lnTo>
                  <a:lnTo>
                    <a:pt x="4488" y="507446"/>
                  </a:lnTo>
                  <a:lnTo>
                    <a:pt x="3821" y="505827"/>
                  </a:lnTo>
                  <a:lnTo>
                    <a:pt x="3726" y="505637"/>
                  </a:lnTo>
                  <a:lnTo>
                    <a:pt x="3631" y="505351"/>
                  </a:lnTo>
                  <a:lnTo>
                    <a:pt x="3631" y="505160"/>
                  </a:lnTo>
                  <a:lnTo>
                    <a:pt x="2964" y="503160"/>
                  </a:lnTo>
                  <a:cubicBezTo>
                    <a:pt x="2869" y="502684"/>
                    <a:pt x="2678" y="502303"/>
                    <a:pt x="2583" y="501826"/>
                  </a:cubicBezTo>
                  <a:cubicBezTo>
                    <a:pt x="2393" y="501160"/>
                    <a:pt x="2202" y="500588"/>
                    <a:pt x="2107" y="499921"/>
                  </a:cubicBezTo>
                  <a:cubicBezTo>
                    <a:pt x="1726" y="498493"/>
                    <a:pt x="1535" y="497064"/>
                    <a:pt x="1250" y="495635"/>
                  </a:cubicBezTo>
                  <a:lnTo>
                    <a:pt x="964" y="493159"/>
                  </a:lnTo>
                  <a:cubicBezTo>
                    <a:pt x="773" y="490968"/>
                    <a:pt x="678" y="488777"/>
                    <a:pt x="773" y="486587"/>
                  </a:cubicBezTo>
                  <a:cubicBezTo>
                    <a:pt x="1059" y="480300"/>
                    <a:pt x="2583" y="474109"/>
                    <a:pt x="5345" y="468298"/>
                  </a:cubicBezTo>
                  <a:lnTo>
                    <a:pt x="154983" y="151592"/>
                  </a:lnTo>
                  <a:cubicBezTo>
                    <a:pt x="157364" y="146544"/>
                    <a:pt x="158603" y="140924"/>
                    <a:pt x="158603" y="135305"/>
                  </a:cubicBezTo>
                  <a:lnTo>
                    <a:pt x="158603" y="19671"/>
                  </a:lnTo>
                  <a:lnTo>
                    <a:pt x="120503" y="19671"/>
                  </a:lnTo>
                  <a:lnTo>
                    <a:pt x="120503" y="621"/>
                  </a:lnTo>
                  <a:lnTo>
                    <a:pt x="368153" y="621"/>
                  </a:lnTo>
                  <a:lnTo>
                    <a:pt x="368153" y="19671"/>
                  </a:lnTo>
                  <a:lnTo>
                    <a:pt x="330053" y="19671"/>
                  </a:lnTo>
                  <a:lnTo>
                    <a:pt x="330053" y="135305"/>
                  </a:lnTo>
                  <a:cubicBezTo>
                    <a:pt x="330053" y="140924"/>
                    <a:pt x="331291" y="146449"/>
                    <a:pt x="333672" y="151592"/>
                  </a:cubicBezTo>
                  <a:lnTo>
                    <a:pt x="483310" y="468298"/>
                  </a:lnTo>
                  <a:cubicBezTo>
                    <a:pt x="488834" y="480014"/>
                    <a:pt x="489406" y="493444"/>
                    <a:pt x="484834" y="505541"/>
                  </a:cubicBezTo>
                  <a:lnTo>
                    <a:pt x="484739" y="505732"/>
                  </a:lnTo>
                  <a:lnTo>
                    <a:pt x="484167" y="507160"/>
                  </a:lnTo>
                  <a:cubicBezTo>
                    <a:pt x="479690" y="517066"/>
                    <a:pt x="470165" y="523734"/>
                    <a:pt x="459307" y="524401"/>
                  </a:cubicBezTo>
                  <a:lnTo>
                    <a:pt x="457497" y="524496"/>
                  </a:lnTo>
                  <a:lnTo>
                    <a:pt x="31253" y="524496"/>
                  </a:lnTo>
                  <a:lnTo>
                    <a:pt x="29444" y="524401"/>
                  </a:lnTo>
                  <a:cubicBezTo>
                    <a:pt x="28586" y="524305"/>
                    <a:pt x="27824" y="524305"/>
                    <a:pt x="26967" y="524115"/>
                  </a:cubicBezTo>
                  <a:cubicBezTo>
                    <a:pt x="25634" y="523925"/>
                    <a:pt x="24395" y="523639"/>
                    <a:pt x="23157" y="523258"/>
                  </a:cubicBezTo>
                  <a:lnTo>
                    <a:pt x="23157" y="523258"/>
                  </a:lnTo>
                  <a:cubicBezTo>
                    <a:pt x="21252" y="522686"/>
                    <a:pt x="19347" y="521924"/>
                    <a:pt x="17633" y="520972"/>
                  </a:cubicBezTo>
                  <a:lnTo>
                    <a:pt x="16204" y="520210"/>
                  </a:lnTo>
                  <a:cubicBezTo>
                    <a:pt x="15918" y="520020"/>
                    <a:pt x="15632" y="519829"/>
                    <a:pt x="15251" y="519638"/>
                  </a:cubicBezTo>
                  <a:cubicBezTo>
                    <a:pt x="13442" y="518495"/>
                    <a:pt x="11727" y="517066"/>
                    <a:pt x="10298" y="515542"/>
                  </a:cubicBezTo>
                  <a:lnTo>
                    <a:pt x="8774" y="514114"/>
                  </a:lnTo>
                  <a:lnTo>
                    <a:pt x="8774" y="514114"/>
                  </a:lnTo>
                  <a:close/>
                  <a:moveTo>
                    <a:pt x="255377" y="404767"/>
                  </a:moveTo>
                  <a:lnTo>
                    <a:pt x="252519" y="406576"/>
                  </a:lnTo>
                  <a:lnTo>
                    <a:pt x="246995" y="410291"/>
                  </a:lnTo>
                  <a:cubicBezTo>
                    <a:pt x="199751" y="441628"/>
                    <a:pt x="120217" y="442581"/>
                    <a:pt x="55161" y="416864"/>
                  </a:cubicBezTo>
                  <a:lnTo>
                    <a:pt x="51351" y="415339"/>
                  </a:lnTo>
                  <a:lnTo>
                    <a:pt x="22490" y="476395"/>
                  </a:lnTo>
                  <a:lnTo>
                    <a:pt x="21633" y="478300"/>
                  </a:lnTo>
                  <a:cubicBezTo>
                    <a:pt x="19156" y="484872"/>
                    <a:pt x="19061" y="492111"/>
                    <a:pt x="21538" y="498778"/>
                  </a:cubicBezTo>
                  <a:cubicBezTo>
                    <a:pt x="22776" y="502017"/>
                    <a:pt x="25443" y="504303"/>
                    <a:pt x="28681" y="505065"/>
                  </a:cubicBezTo>
                  <a:lnTo>
                    <a:pt x="29920" y="505255"/>
                  </a:lnTo>
                  <a:lnTo>
                    <a:pt x="31063" y="505351"/>
                  </a:lnTo>
                  <a:lnTo>
                    <a:pt x="457306" y="505351"/>
                  </a:lnTo>
                  <a:lnTo>
                    <a:pt x="458450" y="505255"/>
                  </a:lnTo>
                  <a:cubicBezTo>
                    <a:pt x="462260" y="504875"/>
                    <a:pt x="465498" y="502303"/>
                    <a:pt x="466831" y="498683"/>
                  </a:cubicBezTo>
                  <a:cubicBezTo>
                    <a:pt x="469118" y="492778"/>
                    <a:pt x="469308" y="486205"/>
                    <a:pt x="467403" y="480205"/>
                  </a:cubicBezTo>
                  <a:lnTo>
                    <a:pt x="466736" y="478205"/>
                  </a:lnTo>
                  <a:lnTo>
                    <a:pt x="465879" y="476300"/>
                  </a:lnTo>
                  <a:lnTo>
                    <a:pt x="424255" y="388098"/>
                  </a:lnTo>
                  <a:cubicBezTo>
                    <a:pt x="366152" y="373810"/>
                    <a:pt x="296715" y="379335"/>
                    <a:pt x="255377" y="404767"/>
                  </a:cubicBezTo>
                  <a:close/>
                  <a:moveTo>
                    <a:pt x="306240" y="257796"/>
                  </a:moveTo>
                  <a:cubicBezTo>
                    <a:pt x="287857" y="257796"/>
                    <a:pt x="272903" y="272750"/>
                    <a:pt x="272903" y="291134"/>
                  </a:cubicBezTo>
                  <a:cubicBezTo>
                    <a:pt x="272903" y="309517"/>
                    <a:pt x="287857" y="324471"/>
                    <a:pt x="306240" y="324471"/>
                  </a:cubicBezTo>
                  <a:cubicBezTo>
                    <a:pt x="324623" y="324471"/>
                    <a:pt x="339578" y="309517"/>
                    <a:pt x="339578" y="291134"/>
                  </a:cubicBezTo>
                  <a:cubicBezTo>
                    <a:pt x="339578" y="272750"/>
                    <a:pt x="324623" y="257796"/>
                    <a:pt x="306240" y="2577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6" name="页脚占位符 2">
            <a:extLst>
              <a:ext uri="{FF2B5EF4-FFF2-40B4-BE49-F238E27FC236}">
                <a16:creationId xmlns:a16="http://schemas.microsoft.com/office/drawing/2014/main" id="{07290EE0-FF6C-9942-BC1E-04E9DBD09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C607B793-3A08-1E46-8E23-10FF3D734A96}"/>
              </a:ext>
            </a:extLst>
          </p:cNvPr>
          <p:cNvSpPr txBox="1"/>
          <p:nvPr/>
        </p:nvSpPr>
        <p:spPr>
          <a:xfrm>
            <a:off x="4997056" y="4052722"/>
            <a:ext cx="19593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dirty="0"/>
              <a:t>Pod</a:t>
            </a:r>
            <a:r>
              <a:rPr lang="zh-CN" altLang="en-US" sz="1800" b="1" dirty="0"/>
              <a:t> </a:t>
            </a:r>
            <a:r>
              <a:rPr lang="en-US" altLang="zh-CN" sz="1800" b="1" dirty="0"/>
              <a:t>&amp;</a:t>
            </a:r>
            <a:r>
              <a:rPr lang="zh-CN" altLang="en-US" sz="1800" b="1" dirty="0"/>
              <a:t> </a:t>
            </a:r>
            <a:r>
              <a:rPr lang="en-US" altLang="zh-CN" sz="1800" b="1" dirty="0"/>
              <a:t>Service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EA6A62D8-0AE7-3E4C-AF03-CC23A9C3844F}"/>
              </a:ext>
            </a:extLst>
          </p:cNvPr>
          <p:cNvSpPr txBox="1"/>
          <p:nvPr/>
        </p:nvSpPr>
        <p:spPr>
          <a:xfrm>
            <a:off x="7527534" y="4052722"/>
            <a:ext cx="19593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dirty="0" err="1"/>
              <a:t>ConfigMap</a:t>
            </a:r>
            <a:endParaRPr lang="en-US" altLang="zh-CN" sz="1800" b="1" dirty="0"/>
          </a:p>
        </p:txBody>
      </p:sp>
    </p:spTree>
    <p:extLst>
      <p:ext uri="{BB962C8B-B14F-4D97-AF65-F5344CB8AC3E}">
        <p14:creationId xmlns:p14="http://schemas.microsoft.com/office/powerpoint/2010/main" val="1883166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19" grpId="0"/>
      <p:bldP spid="14" grpId="0"/>
      <p:bldP spid="29" grpId="0"/>
      <p:bldP spid="3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1:</a:t>
            </a:r>
            <a:r>
              <a:rPr kumimoji="1" lang="zh-CN" altLang="en-US" dirty="0"/>
              <a:t> </a:t>
            </a:r>
            <a:r>
              <a:rPr lang="en-US" altLang="zh-CN" dirty="0"/>
              <a:t>Kubernetes</a:t>
            </a:r>
            <a:r>
              <a:rPr lang="zh-CN" altLang="en-US" dirty="0"/>
              <a:t>服务部署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8" name="图片 7" descr="图示&#10;&#10;描述已自动生成">
            <a:extLst>
              <a:ext uri="{FF2B5EF4-FFF2-40B4-BE49-F238E27FC236}">
                <a16:creationId xmlns:a16="http://schemas.microsoft.com/office/drawing/2014/main" id="{DEA44B9D-DF22-4942-9BAD-847F50006F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896" y="1278004"/>
            <a:ext cx="5736388" cy="4094843"/>
          </a:xfrm>
          <a:prstGeom prst="rect">
            <a:avLst/>
          </a:prstGeom>
        </p:spPr>
      </p:pic>
      <p:pic>
        <p:nvPicPr>
          <p:cNvPr id="16" name="图片 15" descr="图示&#10;&#10;描述已自动生成">
            <a:extLst>
              <a:ext uri="{FF2B5EF4-FFF2-40B4-BE49-F238E27FC236}">
                <a16:creationId xmlns:a16="http://schemas.microsoft.com/office/drawing/2014/main" id="{C4B605DD-CEE0-D441-A3F3-8ED8EF0E1D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6954" y="1203798"/>
            <a:ext cx="2422558" cy="4139517"/>
          </a:xfrm>
          <a:prstGeom prst="rect">
            <a:avLst/>
          </a:prstGeom>
        </p:spPr>
      </p:pic>
      <p:sp>
        <p:nvSpPr>
          <p:cNvPr id="7" name="页脚占位符 2">
            <a:extLst>
              <a:ext uri="{FF2B5EF4-FFF2-40B4-BE49-F238E27FC236}">
                <a16:creationId xmlns:a16="http://schemas.microsoft.com/office/drawing/2014/main" id="{45D76A4B-9B1E-D841-A76F-3DDA8B4DA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3584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2:</a:t>
            </a:r>
            <a:r>
              <a:rPr kumimoji="1" lang="zh-CN" altLang="en-US" dirty="0"/>
              <a:t> </a:t>
            </a:r>
            <a:r>
              <a:rPr lang="en-US" altLang="zh-CN" dirty="0"/>
              <a:t>Es</a:t>
            </a:r>
            <a:r>
              <a:rPr lang="zh-CN" altLang="en-US" dirty="0"/>
              <a:t>存储优化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012F819-76E7-CC48-A7F2-B24970DE337D}"/>
              </a:ext>
            </a:extLst>
          </p:cNvPr>
          <p:cNvGrpSpPr>
            <a:grpSpLocks noChangeAspect="1"/>
          </p:cNvGrpSpPr>
          <p:nvPr/>
        </p:nvGrpSpPr>
        <p:grpSpPr>
          <a:xfrm>
            <a:off x="2302287" y="1358443"/>
            <a:ext cx="7585836" cy="1878887"/>
            <a:chOff x="2301036" y="1431891"/>
            <a:chExt cx="7585836" cy="1878887"/>
          </a:xfrm>
        </p:grpSpPr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3AFA5F64-2590-7B44-86D6-6F006D118B8F}"/>
                </a:ext>
              </a:extLst>
            </p:cNvPr>
            <p:cNvSpPr txBox="1"/>
            <p:nvPr/>
          </p:nvSpPr>
          <p:spPr>
            <a:xfrm>
              <a:off x="2301036" y="1431891"/>
              <a:ext cx="7585836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92500"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32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目标</a:t>
              </a:r>
              <a:r>
                <a:rPr kumimoji="0" lang="en-US" altLang="zh-CN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:</a:t>
              </a: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 依靠</a:t>
              </a:r>
              <a:r>
                <a:rPr kumimoji="0" lang="en-US" altLang="zh-CN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ES</a:t>
              </a: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能力覆盖</a:t>
              </a:r>
              <a:r>
                <a:rPr kumimoji="0" lang="en-US" altLang="zh-CN" sz="32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</a:rPr>
                <a:t>Trace,Metrics</a:t>
              </a: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场景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28" name="任意多边形 26">
              <a:extLst>
                <a:ext uri="{FF2B5EF4-FFF2-40B4-BE49-F238E27FC236}">
                  <a16:creationId xmlns:a16="http://schemas.microsoft.com/office/drawing/2014/main" id="{892908FC-8FED-E746-BFC1-37A98457DE52}"/>
                </a:ext>
              </a:extLst>
            </p:cNvPr>
            <p:cNvSpPr/>
            <p:nvPr/>
          </p:nvSpPr>
          <p:spPr bwMode="auto">
            <a:xfrm>
              <a:off x="7970810" y="3121819"/>
              <a:ext cx="205561" cy="163687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" name="任意多边形 7">
              <a:extLst>
                <a:ext uri="{FF2B5EF4-FFF2-40B4-BE49-F238E27FC236}">
                  <a16:creationId xmlns:a16="http://schemas.microsoft.com/office/drawing/2014/main" id="{610D9D54-9BBB-C549-9FD8-670E0A145AD4}"/>
                </a:ext>
              </a:extLst>
            </p:cNvPr>
            <p:cNvSpPr/>
            <p:nvPr/>
          </p:nvSpPr>
          <p:spPr bwMode="auto">
            <a:xfrm>
              <a:off x="4164247" y="3101197"/>
              <a:ext cx="194894" cy="209581"/>
            </a:xfrm>
            <a:custGeom>
              <a:avLst/>
              <a:gdLst>
                <a:gd name="connsiteX0" fmla="*/ 8774 w 487162"/>
                <a:gd name="connsiteY0" fmla="*/ 514114 h 523875"/>
                <a:gd name="connsiteX1" fmla="*/ 8203 w 487162"/>
                <a:gd name="connsiteY1" fmla="*/ 513447 h 523875"/>
                <a:gd name="connsiteX2" fmla="*/ 8203 w 487162"/>
                <a:gd name="connsiteY2" fmla="*/ 513447 h 523875"/>
                <a:gd name="connsiteX3" fmla="*/ 7727 w 487162"/>
                <a:gd name="connsiteY3" fmla="*/ 512780 h 523875"/>
                <a:gd name="connsiteX4" fmla="*/ 5726 w 487162"/>
                <a:gd name="connsiteY4" fmla="*/ 509732 h 523875"/>
                <a:gd name="connsiteX5" fmla="*/ 5726 w 487162"/>
                <a:gd name="connsiteY5" fmla="*/ 509732 h 523875"/>
                <a:gd name="connsiteX6" fmla="*/ 5250 w 487162"/>
                <a:gd name="connsiteY6" fmla="*/ 508970 h 523875"/>
                <a:gd name="connsiteX7" fmla="*/ 4488 w 487162"/>
                <a:gd name="connsiteY7" fmla="*/ 507446 h 523875"/>
                <a:gd name="connsiteX8" fmla="*/ 3821 w 487162"/>
                <a:gd name="connsiteY8" fmla="*/ 505827 h 523875"/>
                <a:gd name="connsiteX9" fmla="*/ 3726 w 487162"/>
                <a:gd name="connsiteY9" fmla="*/ 505637 h 523875"/>
                <a:gd name="connsiteX10" fmla="*/ 3631 w 487162"/>
                <a:gd name="connsiteY10" fmla="*/ 505351 h 523875"/>
                <a:gd name="connsiteX11" fmla="*/ 3631 w 487162"/>
                <a:gd name="connsiteY11" fmla="*/ 505160 h 523875"/>
                <a:gd name="connsiteX12" fmla="*/ 2964 w 487162"/>
                <a:gd name="connsiteY12" fmla="*/ 503160 h 523875"/>
                <a:gd name="connsiteX13" fmla="*/ 2583 w 487162"/>
                <a:gd name="connsiteY13" fmla="*/ 501826 h 523875"/>
                <a:gd name="connsiteX14" fmla="*/ 2107 w 487162"/>
                <a:gd name="connsiteY14" fmla="*/ 499921 h 523875"/>
                <a:gd name="connsiteX15" fmla="*/ 1250 w 487162"/>
                <a:gd name="connsiteY15" fmla="*/ 495635 h 523875"/>
                <a:gd name="connsiteX16" fmla="*/ 964 w 487162"/>
                <a:gd name="connsiteY16" fmla="*/ 493159 h 523875"/>
                <a:gd name="connsiteX17" fmla="*/ 773 w 487162"/>
                <a:gd name="connsiteY17" fmla="*/ 486587 h 523875"/>
                <a:gd name="connsiteX18" fmla="*/ 5345 w 487162"/>
                <a:gd name="connsiteY18" fmla="*/ 468298 h 523875"/>
                <a:gd name="connsiteX19" fmla="*/ 154983 w 487162"/>
                <a:gd name="connsiteY19" fmla="*/ 151592 h 523875"/>
                <a:gd name="connsiteX20" fmla="*/ 158603 w 487162"/>
                <a:gd name="connsiteY20" fmla="*/ 135305 h 523875"/>
                <a:gd name="connsiteX21" fmla="*/ 158603 w 487162"/>
                <a:gd name="connsiteY21" fmla="*/ 19671 h 523875"/>
                <a:gd name="connsiteX22" fmla="*/ 120503 w 487162"/>
                <a:gd name="connsiteY22" fmla="*/ 19671 h 523875"/>
                <a:gd name="connsiteX23" fmla="*/ 120503 w 487162"/>
                <a:gd name="connsiteY23" fmla="*/ 621 h 523875"/>
                <a:gd name="connsiteX24" fmla="*/ 368153 w 487162"/>
                <a:gd name="connsiteY24" fmla="*/ 621 h 523875"/>
                <a:gd name="connsiteX25" fmla="*/ 368153 w 487162"/>
                <a:gd name="connsiteY25" fmla="*/ 19671 h 523875"/>
                <a:gd name="connsiteX26" fmla="*/ 330053 w 487162"/>
                <a:gd name="connsiteY26" fmla="*/ 19671 h 523875"/>
                <a:gd name="connsiteX27" fmla="*/ 330053 w 487162"/>
                <a:gd name="connsiteY27" fmla="*/ 135305 h 523875"/>
                <a:gd name="connsiteX28" fmla="*/ 333672 w 487162"/>
                <a:gd name="connsiteY28" fmla="*/ 151592 h 523875"/>
                <a:gd name="connsiteX29" fmla="*/ 483310 w 487162"/>
                <a:gd name="connsiteY29" fmla="*/ 468298 h 523875"/>
                <a:gd name="connsiteX30" fmla="*/ 484834 w 487162"/>
                <a:gd name="connsiteY30" fmla="*/ 505541 h 523875"/>
                <a:gd name="connsiteX31" fmla="*/ 484739 w 487162"/>
                <a:gd name="connsiteY31" fmla="*/ 505732 h 523875"/>
                <a:gd name="connsiteX32" fmla="*/ 484167 w 487162"/>
                <a:gd name="connsiteY32" fmla="*/ 507160 h 523875"/>
                <a:gd name="connsiteX33" fmla="*/ 459307 w 487162"/>
                <a:gd name="connsiteY33" fmla="*/ 524401 h 523875"/>
                <a:gd name="connsiteX34" fmla="*/ 457497 w 487162"/>
                <a:gd name="connsiteY34" fmla="*/ 524496 h 523875"/>
                <a:gd name="connsiteX35" fmla="*/ 31253 w 487162"/>
                <a:gd name="connsiteY35" fmla="*/ 524496 h 523875"/>
                <a:gd name="connsiteX36" fmla="*/ 29444 w 487162"/>
                <a:gd name="connsiteY36" fmla="*/ 524401 h 523875"/>
                <a:gd name="connsiteX37" fmla="*/ 26967 w 487162"/>
                <a:gd name="connsiteY37" fmla="*/ 524115 h 523875"/>
                <a:gd name="connsiteX38" fmla="*/ 23157 w 487162"/>
                <a:gd name="connsiteY38" fmla="*/ 523258 h 523875"/>
                <a:gd name="connsiteX39" fmla="*/ 23157 w 487162"/>
                <a:gd name="connsiteY39" fmla="*/ 523258 h 523875"/>
                <a:gd name="connsiteX40" fmla="*/ 17633 w 487162"/>
                <a:gd name="connsiteY40" fmla="*/ 520972 h 523875"/>
                <a:gd name="connsiteX41" fmla="*/ 16204 w 487162"/>
                <a:gd name="connsiteY41" fmla="*/ 520210 h 523875"/>
                <a:gd name="connsiteX42" fmla="*/ 15251 w 487162"/>
                <a:gd name="connsiteY42" fmla="*/ 519638 h 523875"/>
                <a:gd name="connsiteX43" fmla="*/ 10298 w 487162"/>
                <a:gd name="connsiteY43" fmla="*/ 515542 h 523875"/>
                <a:gd name="connsiteX44" fmla="*/ 8774 w 487162"/>
                <a:gd name="connsiteY44" fmla="*/ 514114 h 523875"/>
                <a:gd name="connsiteX45" fmla="*/ 8774 w 487162"/>
                <a:gd name="connsiteY45" fmla="*/ 514114 h 523875"/>
                <a:gd name="connsiteX46" fmla="*/ 255377 w 487162"/>
                <a:gd name="connsiteY46" fmla="*/ 404767 h 523875"/>
                <a:gd name="connsiteX47" fmla="*/ 252519 w 487162"/>
                <a:gd name="connsiteY47" fmla="*/ 406576 h 523875"/>
                <a:gd name="connsiteX48" fmla="*/ 246995 w 487162"/>
                <a:gd name="connsiteY48" fmla="*/ 410291 h 523875"/>
                <a:gd name="connsiteX49" fmla="*/ 55161 w 487162"/>
                <a:gd name="connsiteY49" fmla="*/ 416864 h 523875"/>
                <a:gd name="connsiteX50" fmla="*/ 51351 w 487162"/>
                <a:gd name="connsiteY50" fmla="*/ 415339 h 523875"/>
                <a:gd name="connsiteX51" fmla="*/ 22490 w 487162"/>
                <a:gd name="connsiteY51" fmla="*/ 476395 h 523875"/>
                <a:gd name="connsiteX52" fmla="*/ 21633 w 487162"/>
                <a:gd name="connsiteY52" fmla="*/ 478300 h 523875"/>
                <a:gd name="connsiteX53" fmla="*/ 21538 w 487162"/>
                <a:gd name="connsiteY53" fmla="*/ 498778 h 523875"/>
                <a:gd name="connsiteX54" fmla="*/ 28681 w 487162"/>
                <a:gd name="connsiteY54" fmla="*/ 505065 h 523875"/>
                <a:gd name="connsiteX55" fmla="*/ 29920 w 487162"/>
                <a:gd name="connsiteY55" fmla="*/ 505255 h 523875"/>
                <a:gd name="connsiteX56" fmla="*/ 31063 w 487162"/>
                <a:gd name="connsiteY56" fmla="*/ 505351 h 523875"/>
                <a:gd name="connsiteX57" fmla="*/ 457306 w 487162"/>
                <a:gd name="connsiteY57" fmla="*/ 505351 h 523875"/>
                <a:gd name="connsiteX58" fmla="*/ 458450 w 487162"/>
                <a:gd name="connsiteY58" fmla="*/ 505255 h 523875"/>
                <a:gd name="connsiteX59" fmla="*/ 466831 w 487162"/>
                <a:gd name="connsiteY59" fmla="*/ 498683 h 523875"/>
                <a:gd name="connsiteX60" fmla="*/ 467403 w 487162"/>
                <a:gd name="connsiteY60" fmla="*/ 480205 h 523875"/>
                <a:gd name="connsiteX61" fmla="*/ 466736 w 487162"/>
                <a:gd name="connsiteY61" fmla="*/ 478205 h 523875"/>
                <a:gd name="connsiteX62" fmla="*/ 465879 w 487162"/>
                <a:gd name="connsiteY62" fmla="*/ 476300 h 523875"/>
                <a:gd name="connsiteX63" fmla="*/ 424255 w 487162"/>
                <a:gd name="connsiteY63" fmla="*/ 388098 h 523875"/>
                <a:gd name="connsiteX64" fmla="*/ 255377 w 487162"/>
                <a:gd name="connsiteY64" fmla="*/ 404767 h 523875"/>
                <a:gd name="connsiteX65" fmla="*/ 306240 w 487162"/>
                <a:gd name="connsiteY65" fmla="*/ 257796 h 523875"/>
                <a:gd name="connsiteX66" fmla="*/ 272903 w 487162"/>
                <a:gd name="connsiteY66" fmla="*/ 291134 h 523875"/>
                <a:gd name="connsiteX67" fmla="*/ 306240 w 487162"/>
                <a:gd name="connsiteY67" fmla="*/ 324471 h 523875"/>
                <a:gd name="connsiteX68" fmla="*/ 339578 w 487162"/>
                <a:gd name="connsiteY68" fmla="*/ 291134 h 523875"/>
                <a:gd name="connsiteX69" fmla="*/ 306240 w 487162"/>
                <a:gd name="connsiteY69" fmla="*/ 257796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774" y="514114"/>
                  </a:moveTo>
                  <a:lnTo>
                    <a:pt x="8203" y="513447"/>
                  </a:lnTo>
                  <a:lnTo>
                    <a:pt x="8203" y="513447"/>
                  </a:lnTo>
                  <a:lnTo>
                    <a:pt x="7727" y="512780"/>
                  </a:lnTo>
                  <a:cubicBezTo>
                    <a:pt x="6964" y="511828"/>
                    <a:pt x="6393" y="510780"/>
                    <a:pt x="5726" y="509732"/>
                  </a:cubicBezTo>
                  <a:lnTo>
                    <a:pt x="5726" y="509732"/>
                  </a:lnTo>
                  <a:lnTo>
                    <a:pt x="5250" y="508970"/>
                  </a:lnTo>
                  <a:lnTo>
                    <a:pt x="4488" y="507446"/>
                  </a:lnTo>
                  <a:lnTo>
                    <a:pt x="3821" y="505827"/>
                  </a:lnTo>
                  <a:lnTo>
                    <a:pt x="3726" y="505637"/>
                  </a:lnTo>
                  <a:lnTo>
                    <a:pt x="3631" y="505351"/>
                  </a:lnTo>
                  <a:lnTo>
                    <a:pt x="3631" y="505160"/>
                  </a:lnTo>
                  <a:lnTo>
                    <a:pt x="2964" y="503160"/>
                  </a:lnTo>
                  <a:cubicBezTo>
                    <a:pt x="2869" y="502684"/>
                    <a:pt x="2678" y="502303"/>
                    <a:pt x="2583" y="501826"/>
                  </a:cubicBezTo>
                  <a:cubicBezTo>
                    <a:pt x="2393" y="501160"/>
                    <a:pt x="2202" y="500588"/>
                    <a:pt x="2107" y="499921"/>
                  </a:cubicBezTo>
                  <a:cubicBezTo>
                    <a:pt x="1726" y="498493"/>
                    <a:pt x="1535" y="497064"/>
                    <a:pt x="1250" y="495635"/>
                  </a:cubicBezTo>
                  <a:lnTo>
                    <a:pt x="964" y="493159"/>
                  </a:lnTo>
                  <a:cubicBezTo>
                    <a:pt x="773" y="490968"/>
                    <a:pt x="678" y="488777"/>
                    <a:pt x="773" y="486587"/>
                  </a:cubicBezTo>
                  <a:cubicBezTo>
                    <a:pt x="1059" y="480300"/>
                    <a:pt x="2583" y="474109"/>
                    <a:pt x="5345" y="468298"/>
                  </a:cubicBezTo>
                  <a:lnTo>
                    <a:pt x="154983" y="151592"/>
                  </a:lnTo>
                  <a:cubicBezTo>
                    <a:pt x="157364" y="146544"/>
                    <a:pt x="158603" y="140924"/>
                    <a:pt x="158603" y="135305"/>
                  </a:cubicBezTo>
                  <a:lnTo>
                    <a:pt x="158603" y="19671"/>
                  </a:lnTo>
                  <a:lnTo>
                    <a:pt x="120503" y="19671"/>
                  </a:lnTo>
                  <a:lnTo>
                    <a:pt x="120503" y="621"/>
                  </a:lnTo>
                  <a:lnTo>
                    <a:pt x="368153" y="621"/>
                  </a:lnTo>
                  <a:lnTo>
                    <a:pt x="368153" y="19671"/>
                  </a:lnTo>
                  <a:lnTo>
                    <a:pt x="330053" y="19671"/>
                  </a:lnTo>
                  <a:lnTo>
                    <a:pt x="330053" y="135305"/>
                  </a:lnTo>
                  <a:cubicBezTo>
                    <a:pt x="330053" y="140924"/>
                    <a:pt x="331291" y="146449"/>
                    <a:pt x="333672" y="151592"/>
                  </a:cubicBezTo>
                  <a:lnTo>
                    <a:pt x="483310" y="468298"/>
                  </a:lnTo>
                  <a:cubicBezTo>
                    <a:pt x="488834" y="480014"/>
                    <a:pt x="489406" y="493444"/>
                    <a:pt x="484834" y="505541"/>
                  </a:cubicBezTo>
                  <a:lnTo>
                    <a:pt x="484739" y="505732"/>
                  </a:lnTo>
                  <a:lnTo>
                    <a:pt x="484167" y="507160"/>
                  </a:lnTo>
                  <a:cubicBezTo>
                    <a:pt x="479690" y="517066"/>
                    <a:pt x="470165" y="523734"/>
                    <a:pt x="459307" y="524401"/>
                  </a:cubicBezTo>
                  <a:lnTo>
                    <a:pt x="457497" y="524496"/>
                  </a:lnTo>
                  <a:lnTo>
                    <a:pt x="31253" y="524496"/>
                  </a:lnTo>
                  <a:lnTo>
                    <a:pt x="29444" y="524401"/>
                  </a:lnTo>
                  <a:cubicBezTo>
                    <a:pt x="28586" y="524305"/>
                    <a:pt x="27824" y="524305"/>
                    <a:pt x="26967" y="524115"/>
                  </a:cubicBezTo>
                  <a:cubicBezTo>
                    <a:pt x="25634" y="523925"/>
                    <a:pt x="24395" y="523639"/>
                    <a:pt x="23157" y="523258"/>
                  </a:cubicBezTo>
                  <a:lnTo>
                    <a:pt x="23157" y="523258"/>
                  </a:lnTo>
                  <a:cubicBezTo>
                    <a:pt x="21252" y="522686"/>
                    <a:pt x="19347" y="521924"/>
                    <a:pt x="17633" y="520972"/>
                  </a:cubicBezTo>
                  <a:lnTo>
                    <a:pt x="16204" y="520210"/>
                  </a:lnTo>
                  <a:cubicBezTo>
                    <a:pt x="15918" y="520020"/>
                    <a:pt x="15632" y="519829"/>
                    <a:pt x="15251" y="519638"/>
                  </a:cubicBezTo>
                  <a:cubicBezTo>
                    <a:pt x="13442" y="518495"/>
                    <a:pt x="11727" y="517066"/>
                    <a:pt x="10298" y="515542"/>
                  </a:cubicBezTo>
                  <a:lnTo>
                    <a:pt x="8774" y="514114"/>
                  </a:lnTo>
                  <a:lnTo>
                    <a:pt x="8774" y="514114"/>
                  </a:lnTo>
                  <a:close/>
                  <a:moveTo>
                    <a:pt x="255377" y="404767"/>
                  </a:moveTo>
                  <a:lnTo>
                    <a:pt x="252519" y="406576"/>
                  </a:lnTo>
                  <a:lnTo>
                    <a:pt x="246995" y="410291"/>
                  </a:lnTo>
                  <a:cubicBezTo>
                    <a:pt x="199751" y="441628"/>
                    <a:pt x="120217" y="442581"/>
                    <a:pt x="55161" y="416864"/>
                  </a:cubicBezTo>
                  <a:lnTo>
                    <a:pt x="51351" y="415339"/>
                  </a:lnTo>
                  <a:lnTo>
                    <a:pt x="22490" y="476395"/>
                  </a:lnTo>
                  <a:lnTo>
                    <a:pt x="21633" y="478300"/>
                  </a:lnTo>
                  <a:cubicBezTo>
                    <a:pt x="19156" y="484872"/>
                    <a:pt x="19061" y="492111"/>
                    <a:pt x="21538" y="498778"/>
                  </a:cubicBezTo>
                  <a:cubicBezTo>
                    <a:pt x="22776" y="502017"/>
                    <a:pt x="25443" y="504303"/>
                    <a:pt x="28681" y="505065"/>
                  </a:cubicBezTo>
                  <a:lnTo>
                    <a:pt x="29920" y="505255"/>
                  </a:lnTo>
                  <a:lnTo>
                    <a:pt x="31063" y="505351"/>
                  </a:lnTo>
                  <a:lnTo>
                    <a:pt x="457306" y="505351"/>
                  </a:lnTo>
                  <a:lnTo>
                    <a:pt x="458450" y="505255"/>
                  </a:lnTo>
                  <a:cubicBezTo>
                    <a:pt x="462260" y="504875"/>
                    <a:pt x="465498" y="502303"/>
                    <a:pt x="466831" y="498683"/>
                  </a:cubicBezTo>
                  <a:cubicBezTo>
                    <a:pt x="469118" y="492778"/>
                    <a:pt x="469308" y="486205"/>
                    <a:pt x="467403" y="480205"/>
                  </a:cubicBezTo>
                  <a:lnTo>
                    <a:pt x="466736" y="478205"/>
                  </a:lnTo>
                  <a:lnTo>
                    <a:pt x="465879" y="476300"/>
                  </a:lnTo>
                  <a:lnTo>
                    <a:pt x="424255" y="388098"/>
                  </a:lnTo>
                  <a:cubicBezTo>
                    <a:pt x="366152" y="373810"/>
                    <a:pt x="296715" y="379335"/>
                    <a:pt x="255377" y="404767"/>
                  </a:cubicBezTo>
                  <a:close/>
                  <a:moveTo>
                    <a:pt x="306240" y="257796"/>
                  </a:moveTo>
                  <a:cubicBezTo>
                    <a:pt x="287857" y="257796"/>
                    <a:pt x="272903" y="272750"/>
                    <a:pt x="272903" y="291134"/>
                  </a:cubicBezTo>
                  <a:cubicBezTo>
                    <a:pt x="272903" y="309517"/>
                    <a:pt x="287857" y="324471"/>
                    <a:pt x="306240" y="324471"/>
                  </a:cubicBezTo>
                  <a:cubicBezTo>
                    <a:pt x="324623" y="324471"/>
                    <a:pt x="339578" y="309517"/>
                    <a:pt x="339578" y="291134"/>
                  </a:cubicBezTo>
                  <a:cubicBezTo>
                    <a:pt x="339578" y="272750"/>
                    <a:pt x="324623" y="257796"/>
                    <a:pt x="306240" y="2577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pic>
        <p:nvPicPr>
          <p:cNvPr id="25" name="Picture 2" descr="image">
            <a:extLst>
              <a:ext uri="{FF2B5EF4-FFF2-40B4-BE49-F238E27FC236}">
                <a16:creationId xmlns:a16="http://schemas.microsoft.com/office/drawing/2014/main" id="{ADAA9718-328B-7F4B-AE4D-17A7020D3D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609" y="2221412"/>
            <a:ext cx="3417032" cy="3614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iconfont-10883-5200085">
            <a:extLst>
              <a:ext uri="{FF2B5EF4-FFF2-40B4-BE49-F238E27FC236}">
                <a16:creationId xmlns:a16="http://schemas.microsoft.com/office/drawing/2014/main" id="{39D823D3-CE77-7F40-AE46-F5AA29459CF1}"/>
              </a:ext>
            </a:extLst>
          </p:cNvPr>
          <p:cNvSpPr>
            <a:spLocks noChangeAspect="1"/>
          </p:cNvSpPr>
          <p:nvPr/>
        </p:nvSpPr>
        <p:spPr>
          <a:xfrm>
            <a:off x="2500346" y="2965915"/>
            <a:ext cx="1337333" cy="1337333"/>
          </a:xfrm>
          <a:custGeom>
            <a:avLst/>
            <a:gdLst>
              <a:gd name="connsiteX0" fmla="*/ 89713 w 426660"/>
              <a:gd name="connsiteY0" fmla="*/ 269805 h 426660"/>
              <a:gd name="connsiteX1" fmla="*/ 145522 w 426660"/>
              <a:gd name="connsiteY1" fmla="*/ 381327 h 426660"/>
              <a:gd name="connsiteX2" fmla="*/ 201378 w 426660"/>
              <a:gd name="connsiteY2" fmla="*/ 269805 h 426660"/>
              <a:gd name="connsiteX3" fmla="*/ 228282 w 426660"/>
              <a:gd name="connsiteY3" fmla="*/ 275377 h 426660"/>
              <a:gd name="connsiteX4" fmla="*/ 291091 w 426660"/>
              <a:gd name="connsiteY4" fmla="*/ 350423 h 426660"/>
              <a:gd name="connsiteX5" fmla="*/ 291329 w 426660"/>
              <a:gd name="connsiteY5" fmla="*/ 426660 h 426660"/>
              <a:gd name="connsiteX6" fmla="*/ 0 w 426660"/>
              <a:gd name="connsiteY6" fmla="*/ 426660 h 426660"/>
              <a:gd name="connsiteX7" fmla="*/ 0 w 426660"/>
              <a:gd name="connsiteY7" fmla="*/ 350423 h 426660"/>
              <a:gd name="connsiteX8" fmla="*/ 62809 w 426660"/>
              <a:gd name="connsiteY8" fmla="*/ 275377 h 426660"/>
              <a:gd name="connsiteX9" fmla="*/ 315245 w 426660"/>
              <a:gd name="connsiteY9" fmla="*/ 122379 h 426660"/>
              <a:gd name="connsiteX10" fmla="*/ 301043 w 426660"/>
              <a:gd name="connsiteY10" fmla="*/ 137093 h 426660"/>
              <a:gd name="connsiteX11" fmla="*/ 329804 w 426660"/>
              <a:gd name="connsiteY11" fmla="*/ 137093 h 426660"/>
              <a:gd name="connsiteX12" fmla="*/ 315245 w 426660"/>
              <a:gd name="connsiteY12" fmla="*/ 122379 h 426660"/>
              <a:gd name="connsiteX13" fmla="*/ 141720 w 426660"/>
              <a:gd name="connsiteY13" fmla="*/ 102375 h 426660"/>
              <a:gd name="connsiteX14" fmla="*/ 203074 w 426660"/>
              <a:gd name="connsiteY14" fmla="*/ 166084 h 426660"/>
              <a:gd name="connsiteX15" fmla="*/ 212792 w 426660"/>
              <a:gd name="connsiteY15" fmla="*/ 191177 h 426660"/>
              <a:gd name="connsiteX16" fmla="*/ 196024 w 426660"/>
              <a:gd name="connsiteY16" fmla="*/ 217937 h 426660"/>
              <a:gd name="connsiteX17" fmla="*/ 85367 w 426660"/>
              <a:gd name="connsiteY17" fmla="*/ 217937 h 426660"/>
              <a:gd name="connsiteX18" fmla="*/ 68599 w 426660"/>
              <a:gd name="connsiteY18" fmla="*/ 191177 h 426660"/>
              <a:gd name="connsiteX19" fmla="*/ 78555 w 426660"/>
              <a:gd name="connsiteY19" fmla="*/ 166084 h 426660"/>
              <a:gd name="connsiteX20" fmla="*/ 141720 w 426660"/>
              <a:gd name="connsiteY20" fmla="*/ 102375 h 426660"/>
              <a:gd name="connsiteX21" fmla="*/ 326596 w 426660"/>
              <a:gd name="connsiteY21" fmla="*/ 40321 h 426660"/>
              <a:gd name="connsiteX22" fmla="*/ 290614 w 426660"/>
              <a:gd name="connsiteY22" fmla="*/ 45999 h 426660"/>
              <a:gd name="connsiteX23" fmla="*/ 296186 w 426660"/>
              <a:gd name="connsiteY23" fmla="*/ 63666 h 426660"/>
              <a:gd name="connsiteX24" fmla="*/ 314471 w 426660"/>
              <a:gd name="connsiteY24" fmla="*/ 85284 h 426660"/>
              <a:gd name="connsiteX25" fmla="*/ 305233 w 426660"/>
              <a:gd name="connsiteY25" fmla="*/ 114808 h 426660"/>
              <a:gd name="connsiteX26" fmla="*/ 326519 w 426660"/>
              <a:gd name="connsiteY26" fmla="*/ 114808 h 426660"/>
              <a:gd name="connsiteX27" fmla="*/ 348328 w 426660"/>
              <a:gd name="connsiteY27" fmla="*/ 64570 h 426660"/>
              <a:gd name="connsiteX28" fmla="*/ 326596 w 426660"/>
              <a:gd name="connsiteY28" fmla="*/ 40321 h 426660"/>
              <a:gd name="connsiteX29" fmla="*/ 319566 w 426660"/>
              <a:gd name="connsiteY29" fmla="*/ 0 h 426660"/>
              <a:gd name="connsiteX30" fmla="*/ 426660 w 426660"/>
              <a:gd name="connsiteY30" fmla="*/ 92237 h 426660"/>
              <a:gd name="connsiteX31" fmla="*/ 319566 w 426660"/>
              <a:gd name="connsiteY31" fmla="*/ 184521 h 426660"/>
              <a:gd name="connsiteX32" fmla="*/ 278091 w 426660"/>
              <a:gd name="connsiteY32" fmla="*/ 205663 h 426660"/>
              <a:gd name="connsiteX33" fmla="*/ 269043 w 426660"/>
              <a:gd name="connsiteY33" fmla="*/ 206140 h 426660"/>
              <a:gd name="connsiteX34" fmla="*/ 262805 w 426660"/>
              <a:gd name="connsiteY34" fmla="*/ 199378 h 426660"/>
              <a:gd name="connsiteX35" fmla="*/ 250758 w 426660"/>
              <a:gd name="connsiteY35" fmla="*/ 162902 h 426660"/>
              <a:gd name="connsiteX36" fmla="*/ 212520 w 426660"/>
              <a:gd name="connsiteY36" fmla="*/ 92237 h 426660"/>
              <a:gd name="connsiteX37" fmla="*/ 319566 w 426660"/>
              <a:gd name="connsiteY37" fmla="*/ 0 h 426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26660" h="426660">
                <a:moveTo>
                  <a:pt x="89713" y="269805"/>
                </a:moveTo>
                <a:lnTo>
                  <a:pt x="145522" y="381327"/>
                </a:lnTo>
                <a:lnTo>
                  <a:pt x="201378" y="269805"/>
                </a:lnTo>
                <a:lnTo>
                  <a:pt x="228282" y="275377"/>
                </a:lnTo>
                <a:cubicBezTo>
                  <a:pt x="264901" y="283043"/>
                  <a:pt x="291091" y="314186"/>
                  <a:pt x="291091" y="350423"/>
                </a:cubicBezTo>
                <a:lnTo>
                  <a:pt x="291329" y="426660"/>
                </a:lnTo>
                <a:lnTo>
                  <a:pt x="0" y="426660"/>
                </a:lnTo>
                <a:lnTo>
                  <a:pt x="0" y="350423"/>
                </a:lnTo>
                <a:cubicBezTo>
                  <a:pt x="0" y="314424"/>
                  <a:pt x="26190" y="283043"/>
                  <a:pt x="62809" y="275377"/>
                </a:cubicBezTo>
                <a:close/>
                <a:moveTo>
                  <a:pt x="315245" y="122379"/>
                </a:moveTo>
                <a:cubicBezTo>
                  <a:pt x="308114" y="122463"/>
                  <a:pt x="301043" y="127451"/>
                  <a:pt x="301043" y="137093"/>
                </a:cubicBezTo>
                <a:cubicBezTo>
                  <a:pt x="301043" y="156617"/>
                  <a:pt x="329566" y="156617"/>
                  <a:pt x="329804" y="137093"/>
                </a:cubicBezTo>
                <a:cubicBezTo>
                  <a:pt x="329566" y="127117"/>
                  <a:pt x="322376" y="122296"/>
                  <a:pt x="315245" y="122379"/>
                </a:cubicBezTo>
                <a:close/>
                <a:moveTo>
                  <a:pt x="141720" y="102375"/>
                </a:moveTo>
                <a:cubicBezTo>
                  <a:pt x="182924" y="102375"/>
                  <a:pt x="201026" y="131515"/>
                  <a:pt x="203074" y="166084"/>
                </a:cubicBezTo>
                <a:cubicBezTo>
                  <a:pt x="213458" y="166084"/>
                  <a:pt x="214173" y="180273"/>
                  <a:pt x="212792" y="191177"/>
                </a:cubicBezTo>
                <a:cubicBezTo>
                  <a:pt x="211410" y="201319"/>
                  <a:pt x="203503" y="213890"/>
                  <a:pt x="196024" y="217937"/>
                </a:cubicBezTo>
                <a:cubicBezTo>
                  <a:pt x="172968" y="291312"/>
                  <a:pt x="108422" y="291550"/>
                  <a:pt x="85367" y="217937"/>
                </a:cubicBezTo>
                <a:cubicBezTo>
                  <a:pt x="77650" y="213652"/>
                  <a:pt x="69933" y="201319"/>
                  <a:pt x="68599" y="191177"/>
                </a:cubicBezTo>
                <a:cubicBezTo>
                  <a:pt x="67456" y="180273"/>
                  <a:pt x="68123" y="166084"/>
                  <a:pt x="78555" y="166084"/>
                </a:cubicBezTo>
                <a:cubicBezTo>
                  <a:pt x="81032" y="127706"/>
                  <a:pt x="101658" y="102375"/>
                  <a:pt x="141720" y="102375"/>
                </a:cubicBezTo>
                <a:close/>
                <a:moveTo>
                  <a:pt x="326596" y="40321"/>
                </a:moveTo>
                <a:cubicBezTo>
                  <a:pt x="314542" y="37881"/>
                  <a:pt x="300114" y="40428"/>
                  <a:pt x="290614" y="45999"/>
                </a:cubicBezTo>
                <a:lnTo>
                  <a:pt x="296186" y="63666"/>
                </a:lnTo>
                <a:cubicBezTo>
                  <a:pt x="309614" y="54380"/>
                  <a:pt x="338138" y="57190"/>
                  <a:pt x="314471" y="85284"/>
                </a:cubicBezTo>
                <a:cubicBezTo>
                  <a:pt x="305233" y="96665"/>
                  <a:pt x="304757" y="103665"/>
                  <a:pt x="305233" y="114808"/>
                </a:cubicBezTo>
                <a:lnTo>
                  <a:pt x="326519" y="114808"/>
                </a:lnTo>
                <a:cubicBezTo>
                  <a:pt x="326519" y="86903"/>
                  <a:pt x="348328" y="89237"/>
                  <a:pt x="348328" y="64570"/>
                </a:cubicBezTo>
                <a:cubicBezTo>
                  <a:pt x="348328" y="50190"/>
                  <a:pt x="338649" y="42761"/>
                  <a:pt x="326596" y="40321"/>
                </a:cubicBezTo>
                <a:close/>
                <a:moveTo>
                  <a:pt x="319566" y="0"/>
                </a:moveTo>
                <a:cubicBezTo>
                  <a:pt x="378708" y="0"/>
                  <a:pt x="426660" y="41142"/>
                  <a:pt x="426660" y="92237"/>
                </a:cubicBezTo>
                <a:cubicBezTo>
                  <a:pt x="426660" y="143141"/>
                  <a:pt x="378708" y="184521"/>
                  <a:pt x="319566" y="184521"/>
                </a:cubicBezTo>
                <a:lnTo>
                  <a:pt x="278091" y="205663"/>
                </a:lnTo>
                <a:cubicBezTo>
                  <a:pt x="275329" y="207282"/>
                  <a:pt x="272091" y="207282"/>
                  <a:pt x="269043" y="206140"/>
                </a:cubicBezTo>
                <a:cubicBezTo>
                  <a:pt x="266043" y="204949"/>
                  <a:pt x="263758" y="202425"/>
                  <a:pt x="262805" y="199378"/>
                </a:cubicBezTo>
                <a:lnTo>
                  <a:pt x="250758" y="162902"/>
                </a:lnTo>
                <a:cubicBezTo>
                  <a:pt x="227330" y="145950"/>
                  <a:pt x="212520" y="120617"/>
                  <a:pt x="212520" y="92237"/>
                </a:cubicBezTo>
                <a:cubicBezTo>
                  <a:pt x="212520" y="41380"/>
                  <a:pt x="260472" y="0"/>
                  <a:pt x="31956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94B50CE1-7ECE-C844-97C2-B16C6DDC38B3}"/>
              </a:ext>
            </a:extLst>
          </p:cNvPr>
          <p:cNvSpPr txBox="1"/>
          <p:nvPr/>
        </p:nvSpPr>
        <p:spPr>
          <a:xfrm>
            <a:off x="1980739" y="4369565"/>
            <a:ext cx="2058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>
                <a:latin typeface="+mn-ea"/>
              </a:rPr>
              <a:t>ES</a:t>
            </a:r>
            <a:r>
              <a:rPr kumimoji="1" lang="zh-CN" altLang="en-US" dirty="0">
                <a:latin typeface="+mn-ea"/>
              </a:rPr>
              <a:t> 压力大怎么办</a:t>
            </a:r>
            <a:r>
              <a:rPr kumimoji="1" lang="en-US" altLang="zh-CN" dirty="0">
                <a:latin typeface="+mn-ea"/>
              </a:rPr>
              <a:t>?</a:t>
            </a:r>
            <a:endParaRPr kumimoji="1" lang="zh-CN" altLang="en-US" dirty="0">
              <a:latin typeface="+mn-ea"/>
            </a:endParaRPr>
          </a:p>
        </p:txBody>
      </p:sp>
      <p:sp>
        <p:nvSpPr>
          <p:cNvPr id="12" name="页脚占位符 2">
            <a:extLst>
              <a:ext uri="{FF2B5EF4-FFF2-40B4-BE49-F238E27FC236}">
                <a16:creationId xmlns:a16="http://schemas.microsoft.com/office/drawing/2014/main" id="{4A913FE8-34D1-BC48-98B7-8F7539819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00097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5DAE22EA-96C9-CF40-A482-5A30FC49B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2:</a:t>
            </a:r>
            <a:r>
              <a:rPr kumimoji="1" lang="zh-CN" altLang="en-US" dirty="0"/>
              <a:t> </a:t>
            </a:r>
            <a:r>
              <a:rPr lang="en-US" altLang="zh-CN" dirty="0"/>
              <a:t>Es</a:t>
            </a:r>
            <a:r>
              <a:rPr lang="zh-CN" altLang="en-US" dirty="0"/>
              <a:t>存储优化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A2FFC94-F4ED-4D4B-B122-63D0AFD5A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cxnSp>
        <p:nvCxnSpPr>
          <p:cNvPr id="7" name="直接连接符 9">
            <a:extLst>
              <a:ext uri="{FF2B5EF4-FFF2-40B4-BE49-F238E27FC236}">
                <a16:creationId xmlns:a16="http://schemas.microsoft.com/office/drawing/2014/main" id="{3EFF20D9-7EBA-584D-B6C7-487F75CE6B65}"/>
              </a:ext>
            </a:extLst>
          </p:cNvPr>
          <p:cNvCxnSpPr/>
          <p:nvPr/>
        </p:nvCxnSpPr>
        <p:spPr>
          <a:xfrm>
            <a:off x="3183727" y="3712656"/>
            <a:ext cx="16096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10">
            <a:extLst>
              <a:ext uri="{FF2B5EF4-FFF2-40B4-BE49-F238E27FC236}">
                <a16:creationId xmlns:a16="http://schemas.microsoft.com/office/drawing/2014/main" id="{EB99A205-4A1D-4F42-9A9B-5BAAE5C4D6B3}"/>
              </a:ext>
            </a:extLst>
          </p:cNvPr>
          <p:cNvCxnSpPr/>
          <p:nvPr/>
        </p:nvCxnSpPr>
        <p:spPr>
          <a:xfrm>
            <a:off x="3177377" y="2802372"/>
            <a:ext cx="16223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2">
            <a:extLst>
              <a:ext uri="{FF2B5EF4-FFF2-40B4-BE49-F238E27FC236}">
                <a16:creationId xmlns:a16="http://schemas.microsoft.com/office/drawing/2014/main" id="{6B5FC5DC-9183-5747-B4AF-BFA07EB60F69}"/>
              </a:ext>
            </a:extLst>
          </p:cNvPr>
          <p:cNvCxnSpPr/>
          <p:nvPr/>
        </p:nvCxnSpPr>
        <p:spPr>
          <a:xfrm flipH="1">
            <a:off x="6256059" y="2116771"/>
            <a:ext cx="156951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7">
            <a:extLst>
              <a:ext uri="{FF2B5EF4-FFF2-40B4-BE49-F238E27FC236}">
                <a16:creationId xmlns:a16="http://schemas.microsoft.com/office/drawing/2014/main" id="{714B4EA6-5AE0-884E-ABD5-1B4BE12E60E3}"/>
              </a:ext>
            </a:extLst>
          </p:cNvPr>
          <p:cNvCxnSpPr/>
          <p:nvPr/>
        </p:nvCxnSpPr>
        <p:spPr>
          <a:xfrm flipH="1">
            <a:off x="7029591" y="2999434"/>
            <a:ext cx="198503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8">
            <a:extLst>
              <a:ext uri="{FF2B5EF4-FFF2-40B4-BE49-F238E27FC236}">
                <a16:creationId xmlns:a16="http://schemas.microsoft.com/office/drawing/2014/main" id="{615466B1-1390-CD4D-8E35-4AB8C319C731}"/>
              </a:ext>
            </a:extLst>
          </p:cNvPr>
          <p:cNvCxnSpPr/>
          <p:nvPr/>
        </p:nvCxnSpPr>
        <p:spPr>
          <a:xfrm flipH="1">
            <a:off x="7126685" y="3868155"/>
            <a:ext cx="135557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ŝḻíḑê">
            <a:extLst>
              <a:ext uri="{FF2B5EF4-FFF2-40B4-BE49-F238E27FC236}">
                <a16:creationId xmlns:a16="http://schemas.microsoft.com/office/drawing/2014/main" id="{CFA10E53-E365-1542-BB70-571A5486F20D}"/>
              </a:ext>
            </a:extLst>
          </p:cNvPr>
          <p:cNvSpPr/>
          <p:nvPr/>
        </p:nvSpPr>
        <p:spPr bwMode="auto">
          <a:xfrm>
            <a:off x="6176788" y="4101783"/>
            <a:ext cx="239888" cy="2015796"/>
          </a:xfrm>
          <a:custGeom>
            <a:avLst/>
            <a:gdLst>
              <a:gd name="connsiteX0" fmla="*/ 118953 w 239888"/>
              <a:gd name="connsiteY0" fmla="*/ 0 h 2015796"/>
              <a:gd name="connsiteX1" fmla="*/ 142744 w 239888"/>
              <a:gd name="connsiteY1" fmla="*/ 2107 h 2015796"/>
              <a:gd name="connsiteX2" fmla="*/ 166534 w 239888"/>
              <a:gd name="connsiteY2" fmla="*/ 10536 h 2015796"/>
              <a:gd name="connsiteX3" fmla="*/ 188342 w 239888"/>
              <a:gd name="connsiteY3" fmla="*/ 23179 h 2015796"/>
              <a:gd name="connsiteX4" fmla="*/ 204202 w 239888"/>
              <a:gd name="connsiteY4" fmla="*/ 37929 h 2015796"/>
              <a:gd name="connsiteX5" fmla="*/ 220063 w 239888"/>
              <a:gd name="connsiteY5" fmla="*/ 56894 h 2015796"/>
              <a:gd name="connsiteX6" fmla="*/ 229976 w 239888"/>
              <a:gd name="connsiteY6" fmla="*/ 80073 h 2015796"/>
              <a:gd name="connsiteX7" fmla="*/ 235923 w 239888"/>
              <a:gd name="connsiteY7" fmla="*/ 103252 h 2015796"/>
              <a:gd name="connsiteX8" fmla="*/ 239888 w 239888"/>
              <a:gd name="connsiteY8" fmla="*/ 130645 h 2015796"/>
              <a:gd name="connsiteX9" fmla="*/ 239888 w 239888"/>
              <a:gd name="connsiteY9" fmla="*/ 2015796 h 2015796"/>
              <a:gd name="connsiteX10" fmla="*/ 0 w 239888"/>
              <a:gd name="connsiteY10" fmla="*/ 2015796 h 2015796"/>
              <a:gd name="connsiteX11" fmla="*/ 0 w 239888"/>
              <a:gd name="connsiteY11" fmla="*/ 130645 h 2015796"/>
              <a:gd name="connsiteX12" fmla="*/ 1983 w 239888"/>
              <a:gd name="connsiteY12" fmla="*/ 103252 h 2015796"/>
              <a:gd name="connsiteX13" fmla="*/ 9913 w 239888"/>
              <a:gd name="connsiteY13" fmla="*/ 80073 h 2015796"/>
              <a:gd name="connsiteX14" fmla="*/ 19826 w 239888"/>
              <a:gd name="connsiteY14" fmla="*/ 56894 h 2015796"/>
              <a:gd name="connsiteX15" fmla="*/ 35686 w 239888"/>
              <a:gd name="connsiteY15" fmla="*/ 37929 h 2015796"/>
              <a:gd name="connsiteX16" fmla="*/ 51546 w 239888"/>
              <a:gd name="connsiteY16" fmla="*/ 23179 h 2015796"/>
              <a:gd name="connsiteX17" fmla="*/ 73354 w 239888"/>
              <a:gd name="connsiteY17" fmla="*/ 10536 h 2015796"/>
              <a:gd name="connsiteX18" fmla="*/ 97145 w 239888"/>
              <a:gd name="connsiteY18" fmla="*/ 2107 h 201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9888" h="2015796">
                <a:moveTo>
                  <a:pt x="118953" y="0"/>
                </a:moveTo>
                <a:lnTo>
                  <a:pt x="142744" y="2107"/>
                </a:lnTo>
                <a:lnTo>
                  <a:pt x="166534" y="10536"/>
                </a:lnTo>
                <a:lnTo>
                  <a:pt x="188342" y="23179"/>
                </a:lnTo>
                <a:lnTo>
                  <a:pt x="204202" y="37929"/>
                </a:lnTo>
                <a:lnTo>
                  <a:pt x="220063" y="56894"/>
                </a:lnTo>
                <a:lnTo>
                  <a:pt x="229976" y="80073"/>
                </a:lnTo>
                <a:lnTo>
                  <a:pt x="235923" y="103252"/>
                </a:lnTo>
                <a:lnTo>
                  <a:pt x="239888" y="130645"/>
                </a:lnTo>
                <a:lnTo>
                  <a:pt x="239888" y="2015796"/>
                </a:lnTo>
                <a:lnTo>
                  <a:pt x="0" y="2015796"/>
                </a:lnTo>
                <a:lnTo>
                  <a:pt x="0" y="130645"/>
                </a:lnTo>
                <a:lnTo>
                  <a:pt x="1983" y="103252"/>
                </a:lnTo>
                <a:lnTo>
                  <a:pt x="9913" y="80073"/>
                </a:lnTo>
                <a:lnTo>
                  <a:pt x="19826" y="56894"/>
                </a:lnTo>
                <a:lnTo>
                  <a:pt x="35686" y="37929"/>
                </a:lnTo>
                <a:lnTo>
                  <a:pt x="51546" y="23179"/>
                </a:lnTo>
                <a:lnTo>
                  <a:pt x="73354" y="10536"/>
                </a:lnTo>
                <a:lnTo>
                  <a:pt x="97145" y="2107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8" name="iṣľidé">
            <a:extLst>
              <a:ext uri="{FF2B5EF4-FFF2-40B4-BE49-F238E27FC236}">
                <a16:creationId xmlns:a16="http://schemas.microsoft.com/office/drawing/2014/main" id="{E6C190F3-B5AA-1543-942B-19B163658D79}"/>
              </a:ext>
            </a:extLst>
          </p:cNvPr>
          <p:cNvSpPr/>
          <p:nvPr/>
        </p:nvSpPr>
        <p:spPr bwMode="auto">
          <a:xfrm>
            <a:off x="5519567" y="3026019"/>
            <a:ext cx="663763" cy="1584602"/>
          </a:xfrm>
          <a:custGeom>
            <a:avLst/>
            <a:gdLst>
              <a:gd name="T0" fmla="*/ 282 w 315"/>
              <a:gd name="T1" fmla="*/ 752 h 752"/>
              <a:gd name="T2" fmla="*/ 282 w 315"/>
              <a:gd name="T3" fmla="*/ 752 h 752"/>
              <a:gd name="T4" fmla="*/ 276 w 315"/>
              <a:gd name="T5" fmla="*/ 752 h 752"/>
              <a:gd name="T6" fmla="*/ 270 w 315"/>
              <a:gd name="T7" fmla="*/ 750 h 752"/>
              <a:gd name="T8" fmla="*/ 264 w 315"/>
              <a:gd name="T9" fmla="*/ 747 h 752"/>
              <a:gd name="T10" fmla="*/ 260 w 315"/>
              <a:gd name="T11" fmla="*/ 743 h 752"/>
              <a:gd name="T12" fmla="*/ 12 w 315"/>
              <a:gd name="T13" fmla="*/ 533 h 752"/>
              <a:gd name="T14" fmla="*/ 12 w 315"/>
              <a:gd name="T15" fmla="*/ 533 h 752"/>
              <a:gd name="T16" fmla="*/ 7 w 315"/>
              <a:gd name="T17" fmla="*/ 528 h 752"/>
              <a:gd name="T18" fmla="*/ 4 w 315"/>
              <a:gd name="T19" fmla="*/ 523 h 752"/>
              <a:gd name="T20" fmla="*/ 1 w 315"/>
              <a:gd name="T21" fmla="*/ 515 h 752"/>
              <a:gd name="T22" fmla="*/ 0 w 315"/>
              <a:gd name="T23" fmla="*/ 508 h 752"/>
              <a:gd name="T24" fmla="*/ 0 w 315"/>
              <a:gd name="T25" fmla="*/ 34 h 752"/>
              <a:gd name="T26" fmla="*/ 0 w 315"/>
              <a:gd name="T27" fmla="*/ 34 h 752"/>
              <a:gd name="T28" fmla="*/ 1 w 315"/>
              <a:gd name="T29" fmla="*/ 27 h 752"/>
              <a:gd name="T30" fmla="*/ 2 w 315"/>
              <a:gd name="T31" fmla="*/ 21 h 752"/>
              <a:gd name="T32" fmla="*/ 6 w 315"/>
              <a:gd name="T33" fmla="*/ 15 h 752"/>
              <a:gd name="T34" fmla="*/ 9 w 315"/>
              <a:gd name="T35" fmla="*/ 9 h 752"/>
              <a:gd name="T36" fmla="*/ 15 w 315"/>
              <a:gd name="T37" fmla="*/ 6 h 752"/>
              <a:gd name="T38" fmla="*/ 20 w 315"/>
              <a:gd name="T39" fmla="*/ 2 h 752"/>
              <a:gd name="T40" fmla="*/ 27 w 315"/>
              <a:gd name="T41" fmla="*/ 1 h 752"/>
              <a:gd name="T42" fmla="*/ 33 w 315"/>
              <a:gd name="T43" fmla="*/ 0 h 752"/>
              <a:gd name="T44" fmla="*/ 33 w 315"/>
              <a:gd name="T45" fmla="*/ 0 h 752"/>
              <a:gd name="T46" fmla="*/ 40 w 315"/>
              <a:gd name="T47" fmla="*/ 1 h 752"/>
              <a:gd name="T48" fmla="*/ 47 w 315"/>
              <a:gd name="T49" fmla="*/ 2 h 752"/>
              <a:gd name="T50" fmla="*/ 52 w 315"/>
              <a:gd name="T51" fmla="*/ 6 h 752"/>
              <a:gd name="T52" fmla="*/ 58 w 315"/>
              <a:gd name="T53" fmla="*/ 9 h 752"/>
              <a:gd name="T54" fmla="*/ 61 w 315"/>
              <a:gd name="T55" fmla="*/ 15 h 752"/>
              <a:gd name="T56" fmla="*/ 65 w 315"/>
              <a:gd name="T57" fmla="*/ 21 h 752"/>
              <a:gd name="T58" fmla="*/ 66 w 315"/>
              <a:gd name="T59" fmla="*/ 27 h 752"/>
              <a:gd name="T60" fmla="*/ 67 w 315"/>
              <a:gd name="T61" fmla="*/ 34 h 752"/>
              <a:gd name="T62" fmla="*/ 67 w 315"/>
              <a:gd name="T63" fmla="*/ 492 h 752"/>
              <a:gd name="T64" fmla="*/ 303 w 315"/>
              <a:gd name="T65" fmla="*/ 693 h 752"/>
              <a:gd name="T66" fmla="*/ 303 w 315"/>
              <a:gd name="T67" fmla="*/ 693 h 752"/>
              <a:gd name="T68" fmla="*/ 308 w 315"/>
              <a:gd name="T69" fmla="*/ 697 h 752"/>
              <a:gd name="T70" fmla="*/ 311 w 315"/>
              <a:gd name="T71" fmla="*/ 703 h 752"/>
              <a:gd name="T72" fmla="*/ 314 w 315"/>
              <a:gd name="T73" fmla="*/ 709 h 752"/>
              <a:gd name="T74" fmla="*/ 315 w 315"/>
              <a:gd name="T75" fmla="*/ 715 h 752"/>
              <a:gd name="T76" fmla="*/ 315 w 315"/>
              <a:gd name="T77" fmla="*/ 722 h 752"/>
              <a:gd name="T78" fmla="*/ 314 w 315"/>
              <a:gd name="T79" fmla="*/ 728 h 752"/>
              <a:gd name="T80" fmla="*/ 311 w 315"/>
              <a:gd name="T81" fmla="*/ 734 h 752"/>
              <a:gd name="T82" fmla="*/ 307 w 315"/>
              <a:gd name="T83" fmla="*/ 740 h 752"/>
              <a:gd name="T84" fmla="*/ 307 w 315"/>
              <a:gd name="T85" fmla="*/ 740 h 752"/>
              <a:gd name="T86" fmla="*/ 302 w 315"/>
              <a:gd name="T87" fmla="*/ 746 h 752"/>
              <a:gd name="T88" fmla="*/ 295 w 315"/>
              <a:gd name="T89" fmla="*/ 749 h 752"/>
              <a:gd name="T90" fmla="*/ 289 w 315"/>
              <a:gd name="T91" fmla="*/ 752 h 752"/>
              <a:gd name="T92" fmla="*/ 282 w 315"/>
              <a:gd name="T93" fmla="*/ 752 h 752"/>
              <a:gd name="T94" fmla="*/ 282 w 315"/>
              <a:gd name="T95" fmla="*/ 752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15" h="752">
                <a:moveTo>
                  <a:pt x="282" y="752"/>
                </a:moveTo>
                <a:lnTo>
                  <a:pt x="282" y="752"/>
                </a:lnTo>
                <a:lnTo>
                  <a:pt x="276" y="752"/>
                </a:lnTo>
                <a:lnTo>
                  <a:pt x="270" y="750"/>
                </a:lnTo>
                <a:lnTo>
                  <a:pt x="264" y="747"/>
                </a:lnTo>
                <a:lnTo>
                  <a:pt x="260" y="743"/>
                </a:lnTo>
                <a:lnTo>
                  <a:pt x="12" y="533"/>
                </a:lnTo>
                <a:lnTo>
                  <a:pt x="12" y="533"/>
                </a:lnTo>
                <a:lnTo>
                  <a:pt x="7" y="528"/>
                </a:lnTo>
                <a:lnTo>
                  <a:pt x="4" y="523"/>
                </a:lnTo>
                <a:lnTo>
                  <a:pt x="1" y="515"/>
                </a:lnTo>
                <a:lnTo>
                  <a:pt x="0" y="508"/>
                </a:lnTo>
                <a:lnTo>
                  <a:pt x="0" y="34"/>
                </a:lnTo>
                <a:lnTo>
                  <a:pt x="0" y="34"/>
                </a:lnTo>
                <a:lnTo>
                  <a:pt x="1" y="27"/>
                </a:lnTo>
                <a:lnTo>
                  <a:pt x="2" y="21"/>
                </a:lnTo>
                <a:lnTo>
                  <a:pt x="6" y="15"/>
                </a:lnTo>
                <a:lnTo>
                  <a:pt x="9" y="9"/>
                </a:lnTo>
                <a:lnTo>
                  <a:pt x="15" y="6"/>
                </a:lnTo>
                <a:lnTo>
                  <a:pt x="20" y="2"/>
                </a:lnTo>
                <a:lnTo>
                  <a:pt x="27" y="1"/>
                </a:lnTo>
                <a:lnTo>
                  <a:pt x="33" y="0"/>
                </a:lnTo>
                <a:lnTo>
                  <a:pt x="33" y="0"/>
                </a:lnTo>
                <a:lnTo>
                  <a:pt x="40" y="1"/>
                </a:lnTo>
                <a:lnTo>
                  <a:pt x="47" y="2"/>
                </a:lnTo>
                <a:lnTo>
                  <a:pt x="52" y="6"/>
                </a:lnTo>
                <a:lnTo>
                  <a:pt x="58" y="9"/>
                </a:lnTo>
                <a:lnTo>
                  <a:pt x="61" y="15"/>
                </a:lnTo>
                <a:lnTo>
                  <a:pt x="65" y="21"/>
                </a:lnTo>
                <a:lnTo>
                  <a:pt x="66" y="27"/>
                </a:lnTo>
                <a:lnTo>
                  <a:pt x="67" y="34"/>
                </a:lnTo>
                <a:lnTo>
                  <a:pt x="67" y="492"/>
                </a:lnTo>
                <a:lnTo>
                  <a:pt x="303" y="693"/>
                </a:lnTo>
                <a:lnTo>
                  <a:pt x="303" y="693"/>
                </a:lnTo>
                <a:lnTo>
                  <a:pt x="308" y="697"/>
                </a:lnTo>
                <a:lnTo>
                  <a:pt x="311" y="703"/>
                </a:lnTo>
                <a:lnTo>
                  <a:pt x="314" y="709"/>
                </a:lnTo>
                <a:lnTo>
                  <a:pt x="315" y="715"/>
                </a:lnTo>
                <a:lnTo>
                  <a:pt x="315" y="722"/>
                </a:lnTo>
                <a:lnTo>
                  <a:pt x="314" y="728"/>
                </a:lnTo>
                <a:lnTo>
                  <a:pt x="311" y="734"/>
                </a:lnTo>
                <a:lnTo>
                  <a:pt x="307" y="740"/>
                </a:lnTo>
                <a:lnTo>
                  <a:pt x="307" y="740"/>
                </a:lnTo>
                <a:lnTo>
                  <a:pt x="302" y="746"/>
                </a:lnTo>
                <a:lnTo>
                  <a:pt x="295" y="749"/>
                </a:lnTo>
                <a:lnTo>
                  <a:pt x="289" y="752"/>
                </a:lnTo>
                <a:lnTo>
                  <a:pt x="282" y="752"/>
                </a:lnTo>
                <a:lnTo>
                  <a:pt x="282" y="752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" name="iś1ïḋê">
            <a:extLst>
              <a:ext uri="{FF2B5EF4-FFF2-40B4-BE49-F238E27FC236}">
                <a16:creationId xmlns:a16="http://schemas.microsoft.com/office/drawing/2014/main" id="{914DCB53-C47F-CA4A-9760-1A81D9AF25F5}"/>
              </a:ext>
            </a:extLst>
          </p:cNvPr>
          <p:cNvSpPr/>
          <p:nvPr/>
        </p:nvSpPr>
        <p:spPr bwMode="auto">
          <a:xfrm>
            <a:off x="6307654" y="2874275"/>
            <a:ext cx="457259" cy="855546"/>
          </a:xfrm>
          <a:custGeom>
            <a:avLst/>
            <a:gdLst>
              <a:gd name="T0" fmla="*/ 34 w 217"/>
              <a:gd name="T1" fmla="*/ 533 h 533"/>
              <a:gd name="T2" fmla="*/ 34 w 217"/>
              <a:gd name="T3" fmla="*/ 533 h 533"/>
              <a:gd name="T4" fmla="*/ 27 w 217"/>
              <a:gd name="T5" fmla="*/ 533 h 533"/>
              <a:gd name="T6" fmla="*/ 20 w 217"/>
              <a:gd name="T7" fmla="*/ 531 h 533"/>
              <a:gd name="T8" fmla="*/ 13 w 217"/>
              <a:gd name="T9" fmla="*/ 526 h 533"/>
              <a:gd name="T10" fmla="*/ 8 w 217"/>
              <a:gd name="T11" fmla="*/ 521 h 533"/>
              <a:gd name="T12" fmla="*/ 8 w 217"/>
              <a:gd name="T13" fmla="*/ 521 h 533"/>
              <a:gd name="T14" fmla="*/ 4 w 217"/>
              <a:gd name="T15" fmla="*/ 515 h 533"/>
              <a:gd name="T16" fmla="*/ 1 w 217"/>
              <a:gd name="T17" fmla="*/ 510 h 533"/>
              <a:gd name="T18" fmla="*/ 0 w 217"/>
              <a:gd name="T19" fmla="*/ 504 h 533"/>
              <a:gd name="T20" fmla="*/ 0 w 217"/>
              <a:gd name="T21" fmla="*/ 497 h 533"/>
              <a:gd name="T22" fmla="*/ 3 w 217"/>
              <a:gd name="T23" fmla="*/ 491 h 533"/>
              <a:gd name="T24" fmla="*/ 5 w 217"/>
              <a:gd name="T25" fmla="*/ 485 h 533"/>
              <a:gd name="T26" fmla="*/ 8 w 217"/>
              <a:gd name="T27" fmla="*/ 479 h 533"/>
              <a:gd name="T28" fmla="*/ 13 w 217"/>
              <a:gd name="T29" fmla="*/ 474 h 533"/>
              <a:gd name="T30" fmla="*/ 150 w 217"/>
              <a:gd name="T31" fmla="*/ 363 h 533"/>
              <a:gd name="T32" fmla="*/ 150 w 217"/>
              <a:gd name="T33" fmla="*/ 34 h 533"/>
              <a:gd name="T34" fmla="*/ 150 w 217"/>
              <a:gd name="T35" fmla="*/ 34 h 533"/>
              <a:gd name="T36" fmla="*/ 151 w 217"/>
              <a:gd name="T37" fmla="*/ 27 h 533"/>
              <a:gd name="T38" fmla="*/ 152 w 217"/>
              <a:gd name="T39" fmla="*/ 21 h 533"/>
              <a:gd name="T40" fmla="*/ 156 w 217"/>
              <a:gd name="T41" fmla="*/ 15 h 533"/>
              <a:gd name="T42" fmla="*/ 160 w 217"/>
              <a:gd name="T43" fmla="*/ 10 h 533"/>
              <a:gd name="T44" fmla="*/ 165 w 217"/>
              <a:gd name="T45" fmla="*/ 6 h 533"/>
              <a:gd name="T46" fmla="*/ 170 w 217"/>
              <a:gd name="T47" fmla="*/ 3 h 533"/>
              <a:gd name="T48" fmla="*/ 177 w 217"/>
              <a:gd name="T49" fmla="*/ 1 h 533"/>
              <a:gd name="T50" fmla="*/ 183 w 217"/>
              <a:gd name="T51" fmla="*/ 0 h 533"/>
              <a:gd name="T52" fmla="*/ 183 w 217"/>
              <a:gd name="T53" fmla="*/ 0 h 533"/>
              <a:gd name="T54" fmla="*/ 190 w 217"/>
              <a:gd name="T55" fmla="*/ 1 h 533"/>
              <a:gd name="T56" fmla="*/ 197 w 217"/>
              <a:gd name="T57" fmla="*/ 3 h 533"/>
              <a:gd name="T58" fmla="*/ 202 w 217"/>
              <a:gd name="T59" fmla="*/ 6 h 533"/>
              <a:gd name="T60" fmla="*/ 208 w 217"/>
              <a:gd name="T61" fmla="*/ 10 h 533"/>
              <a:gd name="T62" fmla="*/ 211 w 217"/>
              <a:gd name="T63" fmla="*/ 15 h 533"/>
              <a:gd name="T64" fmla="*/ 215 w 217"/>
              <a:gd name="T65" fmla="*/ 21 h 533"/>
              <a:gd name="T66" fmla="*/ 216 w 217"/>
              <a:gd name="T67" fmla="*/ 27 h 533"/>
              <a:gd name="T68" fmla="*/ 217 w 217"/>
              <a:gd name="T69" fmla="*/ 34 h 533"/>
              <a:gd name="T70" fmla="*/ 217 w 217"/>
              <a:gd name="T71" fmla="*/ 379 h 533"/>
              <a:gd name="T72" fmla="*/ 217 w 217"/>
              <a:gd name="T73" fmla="*/ 379 h 533"/>
              <a:gd name="T74" fmla="*/ 216 w 217"/>
              <a:gd name="T75" fmla="*/ 387 h 533"/>
              <a:gd name="T76" fmla="*/ 214 w 217"/>
              <a:gd name="T77" fmla="*/ 393 h 533"/>
              <a:gd name="T78" fmla="*/ 210 w 217"/>
              <a:gd name="T79" fmla="*/ 400 h 533"/>
              <a:gd name="T80" fmla="*/ 204 w 217"/>
              <a:gd name="T81" fmla="*/ 404 h 533"/>
              <a:gd name="T82" fmla="*/ 56 w 217"/>
              <a:gd name="T83" fmla="*/ 526 h 533"/>
              <a:gd name="T84" fmla="*/ 56 w 217"/>
              <a:gd name="T85" fmla="*/ 526 h 533"/>
              <a:gd name="T86" fmla="*/ 50 w 217"/>
              <a:gd name="T87" fmla="*/ 530 h 533"/>
              <a:gd name="T88" fmla="*/ 45 w 217"/>
              <a:gd name="T89" fmla="*/ 532 h 533"/>
              <a:gd name="T90" fmla="*/ 39 w 217"/>
              <a:gd name="T91" fmla="*/ 533 h 533"/>
              <a:gd name="T92" fmla="*/ 34 w 217"/>
              <a:gd name="T93" fmla="*/ 533 h 533"/>
              <a:gd name="T94" fmla="*/ 34 w 217"/>
              <a:gd name="T95" fmla="*/ 533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17" h="533">
                <a:moveTo>
                  <a:pt x="34" y="533"/>
                </a:moveTo>
                <a:lnTo>
                  <a:pt x="34" y="533"/>
                </a:lnTo>
                <a:lnTo>
                  <a:pt x="27" y="533"/>
                </a:lnTo>
                <a:lnTo>
                  <a:pt x="20" y="531"/>
                </a:lnTo>
                <a:lnTo>
                  <a:pt x="13" y="526"/>
                </a:lnTo>
                <a:lnTo>
                  <a:pt x="8" y="521"/>
                </a:lnTo>
                <a:lnTo>
                  <a:pt x="8" y="521"/>
                </a:lnTo>
                <a:lnTo>
                  <a:pt x="4" y="515"/>
                </a:lnTo>
                <a:lnTo>
                  <a:pt x="1" y="510"/>
                </a:lnTo>
                <a:lnTo>
                  <a:pt x="0" y="504"/>
                </a:lnTo>
                <a:lnTo>
                  <a:pt x="0" y="497"/>
                </a:lnTo>
                <a:lnTo>
                  <a:pt x="3" y="491"/>
                </a:lnTo>
                <a:lnTo>
                  <a:pt x="5" y="485"/>
                </a:lnTo>
                <a:lnTo>
                  <a:pt x="8" y="479"/>
                </a:lnTo>
                <a:lnTo>
                  <a:pt x="13" y="474"/>
                </a:lnTo>
                <a:lnTo>
                  <a:pt x="150" y="363"/>
                </a:lnTo>
                <a:lnTo>
                  <a:pt x="150" y="34"/>
                </a:lnTo>
                <a:lnTo>
                  <a:pt x="150" y="34"/>
                </a:lnTo>
                <a:lnTo>
                  <a:pt x="151" y="27"/>
                </a:lnTo>
                <a:lnTo>
                  <a:pt x="152" y="21"/>
                </a:lnTo>
                <a:lnTo>
                  <a:pt x="156" y="15"/>
                </a:lnTo>
                <a:lnTo>
                  <a:pt x="160" y="10"/>
                </a:lnTo>
                <a:lnTo>
                  <a:pt x="165" y="6"/>
                </a:lnTo>
                <a:lnTo>
                  <a:pt x="170" y="3"/>
                </a:lnTo>
                <a:lnTo>
                  <a:pt x="177" y="1"/>
                </a:lnTo>
                <a:lnTo>
                  <a:pt x="183" y="0"/>
                </a:lnTo>
                <a:lnTo>
                  <a:pt x="183" y="0"/>
                </a:lnTo>
                <a:lnTo>
                  <a:pt x="190" y="1"/>
                </a:lnTo>
                <a:lnTo>
                  <a:pt x="197" y="3"/>
                </a:lnTo>
                <a:lnTo>
                  <a:pt x="202" y="6"/>
                </a:lnTo>
                <a:lnTo>
                  <a:pt x="208" y="10"/>
                </a:lnTo>
                <a:lnTo>
                  <a:pt x="211" y="15"/>
                </a:lnTo>
                <a:lnTo>
                  <a:pt x="215" y="21"/>
                </a:lnTo>
                <a:lnTo>
                  <a:pt x="216" y="27"/>
                </a:lnTo>
                <a:lnTo>
                  <a:pt x="217" y="34"/>
                </a:lnTo>
                <a:lnTo>
                  <a:pt x="217" y="379"/>
                </a:lnTo>
                <a:lnTo>
                  <a:pt x="217" y="379"/>
                </a:lnTo>
                <a:lnTo>
                  <a:pt x="216" y="387"/>
                </a:lnTo>
                <a:lnTo>
                  <a:pt x="214" y="393"/>
                </a:lnTo>
                <a:lnTo>
                  <a:pt x="210" y="400"/>
                </a:lnTo>
                <a:lnTo>
                  <a:pt x="204" y="404"/>
                </a:lnTo>
                <a:lnTo>
                  <a:pt x="56" y="526"/>
                </a:lnTo>
                <a:lnTo>
                  <a:pt x="56" y="526"/>
                </a:lnTo>
                <a:lnTo>
                  <a:pt x="50" y="530"/>
                </a:lnTo>
                <a:lnTo>
                  <a:pt x="45" y="532"/>
                </a:lnTo>
                <a:lnTo>
                  <a:pt x="39" y="533"/>
                </a:lnTo>
                <a:lnTo>
                  <a:pt x="34" y="533"/>
                </a:lnTo>
                <a:lnTo>
                  <a:pt x="34" y="533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" name="iṣļïḑè">
            <a:extLst>
              <a:ext uri="{FF2B5EF4-FFF2-40B4-BE49-F238E27FC236}">
                <a16:creationId xmlns:a16="http://schemas.microsoft.com/office/drawing/2014/main" id="{5632F0B0-7B1B-E047-B307-A6B2C574946C}"/>
              </a:ext>
            </a:extLst>
          </p:cNvPr>
          <p:cNvSpPr/>
          <p:nvPr/>
        </p:nvSpPr>
        <p:spPr bwMode="auto">
          <a:xfrm>
            <a:off x="4940092" y="3807784"/>
            <a:ext cx="410901" cy="722764"/>
          </a:xfrm>
          <a:custGeom>
            <a:avLst/>
            <a:gdLst>
              <a:gd name="T0" fmla="*/ 173 w 195"/>
              <a:gd name="T1" fmla="*/ 343 h 343"/>
              <a:gd name="T2" fmla="*/ 173 w 195"/>
              <a:gd name="T3" fmla="*/ 343 h 343"/>
              <a:gd name="T4" fmla="*/ 165 w 195"/>
              <a:gd name="T5" fmla="*/ 342 h 343"/>
              <a:gd name="T6" fmla="*/ 158 w 195"/>
              <a:gd name="T7" fmla="*/ 338 h 343"/>
              <a:gd name="T8" fmla="*/ 8 w 195"/>
              <a:gd name="T9" fmla="*/ 217 h 343"/>
              <a:gd name="T10" fmla="*/ 8 w 195"/>
              <a:gd name="T11" fmla="*/ 217 h 343"/>
              <a:gd name="T12" fmla="*/ 5 w 195"/>
              <a:gd name="T13" fmla="*/ 213 h 343"/>
              <a:gd name="T14" fmla="*/ 3 w 195"/>
              <a:gd name="T15" fmla="*/ 210 h 343"/>
              <a:gd name="T16" fmla="*/ 1 w 195"/>
              <a:gd name="T17" fmla="*/ 205 h 343"/>
              <a:gd name="T18" fmla="*/ 0 w 195"/>
              <a:gd name="T19" fmla="*/ 199 h 343"/>
              <a:gd name="T20" fmla="*/ 0 w 195"/>
              <a:gd name="T21" fmla="*/ 22 h 343"/>
              <a:gd name="T22" fmla="*/ 0 w 195"/>
              <a:gd name="T23" fmla="*/ 22 h 343"/>
              <a:gd name="T24" fmla="*/ 0 w 195"/>
              <a:gd name="T25" fmla="*/ 17 h 343"/>
              <a:gd name="T26" fmla="*/ 3 w 195"/>
              <a:gd name="T27" fmla="*/ 13 h 343"/>
              <a:gd name="T28" fmla="*/ 4 w 195"/>
              <a:gd name="T29" fmla="*/ 9 h 343"/>
              <a:gd name="T30" fmla="*/ 7 w 195"/>
              <a:gd name="T31" fmla="*/ 6 h 343"/>
              <a:gd name="T32" fmla="*/ 10 w 195"/>
              <a:gd name="T33" fmla="*/ 3 h 343"/>
              <a:gd name="T34" fmla="*/ 14 w 195"/>
              <a:gd name="T35" fmla="*/ 1 h 343"/>
              <a:gd name="T36" fmla="*/ 18 w 195"/>
              <a:gd name="T37" fmla="*/ 0 h 343"/>
              <a:gd name="T38" fmla="*/ 23 w 195"/>
              <a:gd name="T39" fmla="*/ 0 h 343"/>
              <a:gd name="T40" fmla="*/ 23 w 195"/>
              <a:gd name="T41" fmla="*/ 0 h 343"/>
              <a:gd name="T42" fmla="*/ 27 w 195"/>
              <a:gd name="T43" fmla="*/ 0 h 343"/>
              <a:gd name="T44" fmla="*/ 31 w 195"/>
              <a:gd name="T45" fmla="*/ 1 h 343"/>
              <a:gd name="T46" fmla="*/ 36 w 195"/>
              <a:gd name="T47" fmla="*/ 3 h 343"/>
              <a:gd name="T48" fmla="*/ 38 w 195"/>
              <a:gd name="T49" fmla="*/ 6 h 343"/>
              <a:gd name="T50" fmla="*/ 42 w 195"/>
              <a:gd name="T51" fmla="*/ 9 h 343"/>
              <a:gd name="T52" fmla="*/ 43 w 195"/>
              <a:gd name="T53" fmla="*/ 13 h 343"/>
              <a:gd name="T54" fmla="*/ 45 w 195"/>
              <a:gd name="T55" fmla="*/ 17 h 343"/>
              <a:gd name="T56" fmla="*/ 45 w 195"/>
              <a:gd name="T57" fmla="*/ 22 h 343"/>
              <a:gd name="T58" fmla="*/ 45 w 195"/>
              <a:gd name="T59" fmla="*/ 189 h 343"/>
              <a:gd name="T60" fmla="*/ 187 w 195"/>
              <a:gd name="T61" fmla="*/ 304 h 343"/>
              <a:gd name="T62" fmla="*/ 187 w 195"/>
              <a:gd name="T63" fmla="*/ 304 h 343"/>
              <a:gd name="T64" fmla="*/ 189 w 195"/>
              <a:gd name="T65" fmla="*/ 307 h 343"/>
              <a:gd name="T66" fmla="*/ 193 w 195"/>
              <a:gd name="T67" fmla="*/ 310 h 343"/>
              <a:gd name="T68" fmla="*/ 194 w 195"/>
              <a:gd name="T69" fmla="*/ 315 h 343"/>
              <a:gd name="T70" fmla="*/ 195 w 195"/>
              <a:gd name="T71" fmla="*/ 318 h 343"/>
              <a:gd name="T72" fmla="*/ 195 w 195"/>
              <a:gd name="T73" fmla="*/ 323 h 343"/>
              <a:gd name="T74" fmla="*/ 194 w 195"/>
              <a:gd name="T75" fmla="*/ 327 h 343"/>
              <a:gd name="T76" fmla="*/ 193 w 195"/>
              <a:gd name="T77" fmla="*/ 331 h 343"/>
              <a:gd name="T78" fmla="*/ 190 w 195"/>
              <a:gd name="T79" fmla="*/ 335 h 343"/>
              <a:gd name="T80" fmla="*/ 190 w 195"/>
              <a:gd name="T81" fmla="*/ 335 h 343"/>
              <a:gd name="T82" fmla="*/ 185 w 195"/>
              <a:gd name="T83" fmla="*/ 338 h 343"/>
              <a:gd name="T84" fmla="*/ 182 w 195"/>
              <a:gd name="T85" fmla="*/ 341 h 343"/>
              <a:gd name="T86" fmla="*/ 177 w 195"/>
              <a:gd name="T87" fmla="*/ 343 h 343"/>
              <a:gd name="T88" fmla="*/ 173 w 195"/>
              <a:gd name="T89" fmla="*/ 343 h 343"/>
              <a:gd name="T90" fmla="*/ 173 w 195"/>
              <a:gd name="T91" fmla="*/ 343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5" h="343">
                <a:moveTo>
                  <a:pt x="173" y="343"/>
                </a:moveTo>
                <a:lnTo>
                  <a:pt x="173" y="343"/>
                </a:lnTo>
                <a:lnTo>
                  <a:pt x="165" y="342"/>
                </a:lnTo>
                <a:lnTo>
                  <a:pt x="158" y="338"/>
                </a:lnTo>
                <a:lnTo>
                  <a:pt x="8" y="217"/>
                </a:lnTo>
                <a:lnTo>
                  <a:pt x="8" y="217"/>
                </a:lnTo>
                <a:lnTo>
                  <a:pt x="5" y="213"/>
                </a:lnTo>
                <a:lnTo>
                  <a:pt x="3" y="210"/>
                </a:lnTo>
                <a:lnTo>
                  <a:pt x="1" y="205"/>
                </a:lnTo>
                <a:lnTo>
                  <a:pt x="0" y="199"/>
                </a:lnTo>
                <a:lnTo>
                  <a:pt x="0" y="22"/>
                </a:lnTo>
                <a:lnTo>
                  <a:pt x="0" y="22"/>
                </a:lnTo>
                <a:lnTo>
                  <a:pt x="0" y="17"/>
                </a:lnTo>
                <a:lnTo>
                  <a:pt x="3" y="13"/>
                </a:lnTo>
                <a:lnTo>
                  <a:pt x="4" y="9"/>
                </a:lnTo>
                <a:lnTo>
                  <a:pt x="7" y="6"/>
                </a:lnTo>
                <a:lnTo>
                  <a:pt x="10" y="3"/>
                </a:lnTo>
                <a:lnTo>
                  <a:pt x="14" y="1"/>
                </a:lnTo>
                <a:lnTo>
                  <a:pt x="18" y="0"/>
                </a:lnTo>
                <a:lnTo>
                  <a:pt x="23" y="0"/>
                </a:lnTo>
                <a:lnTo>
                  <a:pt x="23" y="0"/>
                </a:lnTo>
                <a:lnTo>
                  <a:pt x="27" y="0"/>
                </a:lnTo>
                <a:lnTo>
                  <a:pt x="31" y="1"/>
                </a:lnTo>
                <a:lnTo>
                  <a:pt x="36" y="3"/>
                </a:lnTo>
                <a:lnTo>
                  <a:pt x="38" y="6"/>
                </a:lnTo>
                <a:lnTo>
                  <a:pt x="42" y="9"/>
                </a:lnTo>
                <a:lnTo>
                  <a:pt x="43" y="13"/>
                </a:lnTo>
                <a:lnTo>
                  <a:pt x="45" y="17"/>
                </a:lnTo>
                <a:lnTo>
                  <a:pt x="45" y="22"/>
                </a:lnTo>
                <a:lnTo>
                  <a:pt x="45" y="189"/>
                </a:lnTo>
                <a:lnTo>
                  <a:pt x="187" y="304"/>
                </a:lnTo>
                <a:lnTo>
                  <a:pt x="187" y="304"/>
                </a:lnTo>
                <a:lnTo>
                  <a:pt x="189" y="307"/>
                </a:lnTo>
                <a:lnTo>
                  <a:pt x="193" y="310"/>
                </a:lnTo>
                <a:lnTo>
                  <a:pt x="194" y="315"/>
                </a:lnTo>
                <a:lnTo>
                  <a:pt x="195" y="318"/>
                </a:lnTo>
                <a:lnTo>
                  <a:pt x="195" y="323"/>
                </a:lnTo>
                <a:lnTo>
                  <a:pt x="194" y="327"/>
                </a:lnTo>
                <a:lnTo>
                  <a:pt x="193" y="331"/>
                </a:lnTo>
                <a:lnTo>
                  <a:pt x="190" y="335"/>
                </a:lnTo>
                <a:lnTo>
                  <a:pt x="190" y="335"/>
                </a:lnTo>
                <a:lnTo>
                  <a:pt x="185" y="338"/>
                </a:lnTo>
                <a:lnTo>
                  <a:pt x="182" y="341"/>
                </a:lnTo>
                <a:lnTo>
                  <a:pt x="177" y="343"/>
                </a:lnTo>
                <a:lnTo>
                  <a:pt x="173" y="343"/>
                </a:lnTo>
                <a:lnTo>
                  <a:pt x="173" y="343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" name="iṣlîḑê">
            <a:extLst>
              <a:ext uri="{FF2B5EF4-FFF2-40B4-BE49-F238E27FC236}">
                <a16:creationId xmlns:a16="http://schemas.microsoft.com/office/drawing/2014/main" id="{BF681043-D3E6-A44D-BBF0-E016E21604BA}"/>
              </a:ext>
            </a:extLst>
          </p:cNvPr>
          <p:cNvSpPr/>
          <p:nvPr/>
        </p:nvSpPr>
        <p:spPr bwMode="auto">
          <a:xfrm>
            <a:off x="6416676" y="3792777"/>
            <a:ext cx="735408" cy="939804"/>
          </a:xfrm>
          <a:custGeom>
            <a:avLst/>
            <a:gdLst>
              <a:gd name="T0" fmla="*/ 22 w 349"/>
              <a:gd name="T1" fmla="*/ 446 h 446"/>
              <a:gd name="T2" fmla="*/ 22 w 349"/>
              <a:gd name="T3" fmla="*/ 446 h 446"/>
              <a:gd name="T4" fmla="*/ 18 w 349"/>
              <a:gd name="T5" fmla="*/ 445 h 446"/>
              <a:gd name="T6" fmla="*/ 13 w 349"/>
              <a:gd name="T7" fmla="*/ 443 h 446"/>
              <a:gd name="T8" fmla="*/ 8 w 349"/>
              <a:gd name="T9" fmla="*/ 441 h 446"/>
              <a:gd name="T10" fmla="*/ 5 w 349"/>
              <a:gd name="T11" fmla="*/ 438 h 446"/>
              <a:gd name="T12" fmla="*/ 5 w 349"/>
              <a:gd name="T13" fmla="*/ 438 h 446"/>
              <a:gd name="T14" fmla="*/ 2 w 349"/>
              <a:gd name="T15" fmla="*/ 433 h 446"/>
              <a:gd name="T16" fmla="*/ 1 w 349"/>
              <a:gd name="T17" fmla="*/ 429 h 446"/>
              <a:gd name="T18" fmla="*/ 0 w 349"/>
              <a:gd name="T19" fmla="*/ 425 h 446"/>
              <a:gd name="T20" fmla="*/ 0 w 349"/>
              <a:gd name="T21" fmla="*/ 421 h 446"/>
              <a:gd name="T22" fmla="*/ 1 w 349"/>
              <a:gd name="T23" fmla="*/ 416 h 446"/>
              <a:gd name="T24" fmla="*/ 2 w 349"/>
              <a:gd name="T25" fmla="*/ 413 h 446"/>
              <a:gd name="T26" fmla="*/ 5 w 349"/>
              <a:gd name="T27" fmla="*/ 409 h 446"/>
              <a:gd name="T28" fmla="*/ 8 w 349"/>
              <a:gd name="T29" fmla="*/ 406 h 446"/>
              <a:gd name="T30" fmla="*/ 204 w 349"/>
              <a:gd name="T31" fmla="*/ 246 h 446"/>
              <a:gd name="T32" fmla="*/ 204 w 349"/>
              <a:gd name="T33" fmla="*/ 100 h 446"/>
              <a:gd name="T34" fmla="*/ 204 w 349"/>
              <a:gd name="T35" fmla="*/ 100 h 446"/>
              <a:gd name="T36" fmla="*/ 204 w 349"/>
              <a:gd name="T37" fmla="*/ 95 h 446"/>
              <a:gd name="T38" fmla="*/ 207 w 349"/>
              <a:gd name="T39" fmla="*/ 91 h 446"/>
              <a:gd name="T40" fmla="*/ 209 w 349"/>
              <a:gd name="T41" fmla="*/ 86 h 446"/>
              <a:gd name="T42" fmla="*/ 212 w 349"/>
              <a:gd name="T43" fmla="*/ 82 h 446"/>
              <a:gd name="T44" fmla="*/ 314 w 349"/>
              <a:gd name="T45" fmla="*/ 4 h 446"/>
              <a:gd name="T46" fmla="*/ 314 w 349"/>
              <a:gd name="T47" fmla="*/ 4 h 446"/>
              <a:gd name="T48" fmla="*/ 317 w 349"/>
              <a:gd name="T49" fmla="*/ 2 h 446"/>
              <a:gd name="T50" fmla="*/ 322 w 349"/>
              <a:gd name="T51" fmla="*/ 0 h 446"/>
              <a:gd name="T52" fmla="*/ 326 w 349"/>
              <a:gd name="T53" fmla="*/ 0 h 446"/>
              <a:gd name="T54" fmla="*/ 330 w 349"/>
              <a:gd name="T55" fmla="*/ 0 h 446"/>
              <a:gd name="T56" fmla="*/ 334 w 349"/>
              <a:gd name="T57" fmla="*/ 1 h 446"/>
              <a:gd name="T58" fmla="*/ 339 w 349"/>
              <a:gd name="T59" fmla="*/ 2 h 446"/>
              <a:gd name="T60" fmla="*/ 342 w 349"/>
              <a:gd name="T61" fmla="*/ 4 h 446"/>
              <a:gd name="T62" fmla="*/ 345 w 349"/>
              <a:gd name="T63" fmla="*/ 8 h 446"/>
              <a:gd name="T64" fmla="*/ 345 w 349"/>
              <a:gd name="T65" fmla="*/ 8 h 446"/>
              <a:gd name="T66" fmla="*/ 348 w 349"/>
              <a:gd name="T67" fmla="*/ 12 h 446"/>
              <a:gd name="T68" fmla="*/ 349 w 349"/>
              <a:gd name="T69" fmla="*/ 16 h 446"/>
              <a:gd name="T70" fmla="*/ 349 w 349"/>
              <a:gd name="T71" fmla="*/ 21 h 446"/>
              <a:gd name="T72" fmla="*/ 349 w 349"/>
              <a:gd name="T73" fmla="*/ 25 h 446"/>
              <a:gd name="T74" fmla="*/ 348 w 349"/>
              <a:gd name="T75" fmla="*/ 29 h 446"/>
              <a:gd name="T76" fmla="*/ 347 w 349"/>
              <a:gd name="T77" fmla="*/ 33 h 446"/>
              <a:gd name="T78" fmla="*/ 345 w 349"/>
              <a:gd name="T79" fmla="*/ 36 h 446"/>
              <a:gd name="T80" fmla="*/ 341 w 349"/>
              <a:gd name="T81" fmla="*/ 40 h 446"/>
              <a:gd name="T82" fmla="*/ 249 w 349"/>
              <a:gd name="T83" fmla="*/ 111 h 446"/>
              <a:gd name="T84" fmla="*/ 249 w 349"/>
              <a:gd name="T85" fmla="*/ 257 h 446"/>
              <a:gd name="T86" fmla="*/ 249 w 349"/>
              <a:gd name="T87" fmla="*/ 257 h 446"/>
              <a:gd name="T88" fmla="*/ 248 w 349"/>
              <a:gd name="T89" fmla="*/ 262 h 446"/>
              <a:gd name="T90" fmla="*/ 247 w 349"/>
              <a:gd name="T91" fmla="*/ 266 h 446"/>
              <a:gd name="T92" fmla="*/ 244 w 349"/>
              <a:gd name="T93" fmla="*/ 270 h 446"/>
              <a:gd name="T94" fmla="*/ 241 w 349"/>
              <a:gd name="T95" fmla="*/ 274 h 446"/>
              <a:gd name="T96" fmla="*/ 37 w 349"/>
              <a:gd name="T97" fmla="*/ 440 h 446"/>
              <a:gd name="T98" fmla="*/ 37 w 349"/>
              <a:gd name="T99" fmla="*/ 440 h 446"/>
              <a:gd name="T100" fmla="*/ 30 w 349"/>
              <a:gd name="T101" fmla="*/ 443 h 446"/>
              <a:gd name="T102" fmla="*/ 22 w 349"/>
              <a:gd name="T103" fmla="*/ 446 h 446"/>
              <a:gd name="T104" fmla="*/ 22 w 349"/>
              <a:gd name="T105" fmla="*/ 446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" h="446">
                <a:moveTo>
                  <a:pt x="22" y="446"/>
                </a:moveTo>
                <a:lnTo>
                  <a:pt x="22" y="446"/>
                </a:lnTo>
                <a:lnTo>
                  <a:pt x="18" y="445"/>
                </a:lnTo>
                <a:lnTo>
                  <a:pt x="13" y="443"/>
                </a:lnTo>
                <a:lnTo>
                  <a:pt x="8" y="441"/>
                </a:lnTo>
                <a:lnTo>
                  <a:pt x="5" y="438"/>
                </a:lnTo>
                <a:lnTo>
                  <a:pt x="5" y="438"/>
                </a:lnTo>
                <a:lnTo>
                  <a:pt x="2" y="433"/>
                </a:lnTo>
                <a:lnTo>
                  <a:pt x="1" y="429"/>
                </a:lnTo>
                <a:lnTo>
                  <a:pt x="0" y="425"/>
                </a:lnTo>
                <a:lnTo>
                  <a:pt x="0" y="421"/>
                </a:lnTo>
                <a:lnTo>
                  <a:pt x="1" y="416"/>
                </a:lnTo>
                <a:lnTo>
                  <a:pt x="2" y="413"/>
                </a:lnTo>
                <a:lnTo>
                  <a:pt x="5" y="409"/>
                </a:lnTo>
                <a:lnTo>
                  <a:pt x="8" y="406"/>
                </a:lnTo>
                <a:lnTo>
                  <a:pt x="204" y="246"/>
                </a:lnTo>
                <a:lnTo>
                  <a:pt x="204" y="100"/>
                </a:lnTo>
                <a:lnTo>
                  <a:pt x="204" y="100"/>
                </a:lnTo>
                <a:lnTo>
                  <a:pt x="204" y="95"/>
                </a:lnTo>
                <a:lnTo>
                  <a:pt x="207" y="91"/>
                </a:lnTo>
                <a:lnTo>
                  <a:pt x="209" y="86"/>
                </a:lnTo>
                <a:lnTo>
                  <a:pt x="212" y="82"/>
                </a:lnTo>
                <a:lnTo>
                  <a:pt x="314" y="4"/>
                </a:lnTo>
                <a:lnTo>
                  <a:pt x="314" y="4"/>
                </a:lnTo>
                <a:lnTo>
                  <a:pt x="317" y="2"/>
                </a:lnTo>
                <a:lnTo>
                  <a:pt x="322" y="0"/>
                </a:lnTo>
                <a:lnTo>
                  <a:pt x="326" y="0"/>
                </a:lnTo>
                <a:lnTo>
                  <a:pt x="330" y="0"/>
                </a:lnTo>
                <a:lnTo>
                  <a:pt x="334" y="1"/>
                </a:lnTo>
                <a:lnTo>
                  <a:pt x="339" y="2"/>
                </a:lnTo>
                <a:lnTo>
                  <a:pt x="342" y="4"/>
                </a:lnTo>
                <a:lnTo>
                  <a:pt x="345" y="8"/>
                </a:lnTo>
                <a:lnTo>
                  <a:pt x="345" y="8"/>
                </a:lnTo>
                <a:lnTo>
                  <a:pt x="348" y="12"/>
                </a:lnTo>
                <a:lnTo>
                  <a:pt x="349" y="16"/>
                </a:lnTo>
                <a:lnTo>
                  <a:pt x="349" y="21"/>
                </a:lnTo>
                <a:lnTo>
                  <a:pt x="349" y="25"/>
                </a:lnTo>
                <a:lnTo>
                  <a:pt x="348" y="29"/>
                </a:lnTo>
                <a:lnTo>
                  <a:pt x="347" y="33"/>
                </a:lnTo>
                <a:lnTo>
                  <a:pt x="345" y="36"/>
                </a:lnTo>
                <a:lnTo>
                  <a:pt x="341" y="40"/>
                </a:lnTo>
                <a:lnTo>
                  <a:pt x="249" y="111"/>
                </a:lnTo>
                <a:lnTo>
                  <a:pt x="249" y="257"/>
                </a:lnTo>
                <a:lnTo>
                  <a:pt x="249" y="257"/>
                </a:lnTo>
                <a:lnTo>
                  <a:pt x="248" y="262"/>
                </a:lnTo>
                <a:lnTo>
                  <a:pt x="247" y="266"/>
                </a:lnTo>
                <a:lnTo>
                  <a:pt x="244" y="270"/>
                </a:lnTo>
                <a:lnTo>
                  <a:pt x="241" y="274"/>
                </a:lnTo>
                <a:lnTo>
                  <a:pt x="37" y="440"/>
                </a:lnTo>
                <a:lnTo>
                  <a:pt x="37" y="440"/>
                </a:lnTo>
                <a:lnTo>
                  <a:pt x="30" y="443"/>
                </a:lnTo>
                <a:lnTo>
                  <a:pt x="22" y="446"/>
                </a:lnTo>
                <a:lnTo>
                  <a:pt x="22" y="446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" name="išľîḑé">
            <a:extLst>
              <a:ext uri="{FF2B5EF4-FFF2-40B4-BE49-F238E27FC236}">
                <a16:creationId xmlns:a16="http://schemas.microsoft.com/office/drawing/2014/main" id="{F94E4E8A-54AB-5440-89A6-CDADF3788898}"/>
              </a:ext>
            </a:extLst>
          </p:cNvPr>
          <p:cNvSpPr/>
          <p:nvPr/>
        </p:nvSpPr>
        <p:spPr bwMode="auto">
          <a:xfrm>
            <a:off x="5087565" y="2821623"/>
            <a:ext cx="573154" cy="1089414"/>
          </a:xfrm>
          <a:custGeom>
            <a:avLst/>
            <a:gdLst>
              <a:gd name="T0" fmla="*/ 249 w 272"/>
              <a:gd name="T1" fmla="*/ 517 h 517"/>
              <a:gd name="T2" fmla="*/ 249 w 272"/>
              <a:gd name="T3" fmla="*/ 517 h 517"/>
              <a:gd name="T4" fmla="*/ 242 w 272"/>
              <a:gd name="T5" fmla="*/ 516 h 517"/>
              <a:gd name="T6" fmla="*/ 236 w 272"/>
              <a:gd name="T7" fmla="*/ 514 h 517"/>
              <a:gd name="T8" fmla="*/ 111 w 272"/>
              <a:gd name="T9" fmla="*/ 428 h 517"/>
              <a:gd name="T10" fmla="*/ 111 w 272"/>
              <a:gd name="T11" fmla="*/ 428 h 517"/>
              <a:gd name="T12" fmla="*/ 108 w 272"/>
              <a:gd name="T13" fmla="*/ 424 h 517"/>
              <a:gd name="T14" fmla="*/ 104 w 272"/>
              <a:gd name="T15" fmla="*/ 419 h 517"/>
              <a:gd name="T16" fmla="*/ 103 w 272"/>
              <a:gd name="T17" fmla="*/ 415 h 517"/>
              <a:gd name="T18" fmla="*/ 102 w 272"/>
              <a:gd name="T19" fmla="*/ 409 h 517"/>
              <a:gd name="T20" fmla="*/ 102 w 272"/>
              <a:gd name="T21" fmla="*/ 112 h 517"/>
              <a:gd name="T22" fmla="*/ 10 w 272"/>
              <a:gd name="T23" fmla="*/ 40 h 517"/>
              <a:gd name="T24" fmla="*/ 10 w 272"/>
              <a:gd name="T25" fmla="*/ 40 h 517"/>
              <a:gd name="T26" fmla="*/ 6 w 272"/>
              <a:gd name="T27" fmla="*/ 37 h 517"/>
              <a:gd name="T28" fmla="*/ 4 w 272"/>
              <a:gd name="T29" fmla="*/ 33 h 517"/>
              <a:gd name="T30" fmla="*/ 2 w 272"/>
              <a:gd name="T31" fmla="*/ 30 h 517"/>
              <a:gd name="T32" fmla="*/ 0 w 272"/>
              <a:gd name="T33" fmla="*/ 25 h 517"/>
              <a:gd name="T34" fmla="*/ 0 w 272"/>
              <a:gd name="T35" fmla="*/ 22 h 517"/>
              <a:gd name="T36" fmla="*/ 2 w 272"/>
              <a:gd name="T37" fmla="*/ 17 h 517"/>
              <a:gd name="T38" fmla="*/ 3 w 272"/>
              <a:gd name="T39" fmla="*/ 13 h 517"/>
              <a:gd name="T40" fmla="*/ 5 w 272"/>
              <a:gd name="T41" fmla="*/ 9 h 517"/>
              <a:gd name="T42" fmla="*/ 5 w 272"/>
              <a:gd name="T43" fmla="*/ 9 h 517"/>
              <a:gd name="T44" fmla="*/ 9 w 272"/>
              <a:gd name="T45" fmla="*/ 6 h 517"/>
              <a:gd name="T46" fmla="*/ 12 w 272"/>
              <a:gd name="T47" fmla="*/ 3 h 517"/>
              <a:gd name="T48" fmla="*/ 16 w 272"/>
              <a:gd name="T49" fmla="*/ 2 h 517"/>
              <a:gd name="T50" fmla="*/ 20 w 272"/>
              <a:gd name="T51" fmla="*/ 0 h 517"/>
              <a:gd name="T52" fmla="*/ 25 w 272"/>
              <a:gd name="T53" fmla="*/ 0 h 517"/>
              <a:gd name="T54" fmla="*/ 29 w 272"/>
              <a:gd name="T55" fmla="*/ 2 h 517"/>
              <a:gd name="T56" fmla="*/ 33 w 272"/>
              <a:gd name="T57" fmla="*/ 3 h 517"/>
              <a:gd name="T58" fmla="*/ 37 w 272"/>
              <a:gd name="T59" fmla="*/ 5 h 517"/>
              <a:gd name="T60" fmla="*/ 138 w 272"/>
              <a:gd name="T61" fmla="*/ 83 h 517"/>
              <a:gd name="T62" fmla="*/ 138 w 272"/>
              <a:gd name="T63" fmla="*/ 83 h 517"/>
              <a:gd name="T64" fmla="*/ 142 w 272"/>
              <a:gd name="T65" fmla="*/ 87 h 517"/>
              <a:gd name="T66" fmla="*/ 144 w 272"/>
              <a:gd name="T67" fmla="*/ 91 h 517"/>
              <a:gd name="T68" fmla="*/ 146 w 272"/>
              <a:gd name="T69" fmla="*/ 96 h 517"/>
              <a:gd name="T70" fmla="*/ 147 w 272"/>
              <a:gd name="T71" fmla="*/ 101 h 517"/>
              <a:gd name="T72" fmla="*/ 147 w 272"/>
              <a:gd name="T73" fmla="*/ 397 h 517"/>
              <a:gd name="T74" fmla="*/ 261 w 272"/>
              <a:gd name="T75" fmla="*/ 477 h 517"/>
              <a:gd name="T76" fmla="*/ 261 w 272"/>
              <a:gd name="T77" fmla="*/ 477 h 517"/>
              <a:gd name="T78" fmla="*/ 265 w 272"/>
              <a:gd name="T79" fmla="*/ 480 h 517"/>
              <a:gd name="T80" fmla="*/ 268 w 272"/>
              <a:gd name="T81" fmla="*/ 483 h 517"/>
              <a:gd name="T82" fmla="*/ 269 w 272"/>
              <a:gd name="T83" fmla="*/ 487 h 517"/>
              <a:gd name="T84" fmla="*/ 271 w 272"/>
              <a:gd name="T85" fmla="*/ 491 h 517"/>
              <a:gd name="T86" fmla="*/ 272 w 272"/>
              <a:gd name="T87" fmla="*/ 495 h 517"/>
              <a:gd name="T88" fmla="*/ 271 w 272"/>
              <a:gd name="T89" fmla="*/ 500 h 517"/>
              <a:gd name="T90" fmla="*/ 269 w 272"/>
              <a:gd name="T91" fmla="*/ 504 h 517"/>
              <a:gd name="T92" fmla="*/ 267 w 272"/>
              <a:gd name="T93" fmla="*/ 508 h 517"/>
              <a:gd name="T94" fmla="*/ 267 w 272"/>
              <a:gd name="T95" fmla="*/ 508 h 517"/>
              <a:gd name="T96" fmla="*/ 264 w 272"/>
              <a:gd name="T97" fmla="*/ 513 h 517"/>
              <a:gd name="T98" fmla="*/ 259 w 272"/>
              <a:gd name="T99" fmla="*/ 515 h 517"/>
              <a:gd name="T100" fmla="*/ 254 w 272"/>
              <a:gd name="T101" fmla="*/ 517 h 517"/>
              <a:gd name="T102" fmla="*/ 249 w 272"/>
              <a:gd name="T103" fmla="*/ 517 h 517"/>
              <a:gd name="T104" fmla="*/ 249 w 272"/>
              <a:gd name="T105" fmla="*/ 517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72" h="517">
                <a:moveTo>
                  <a:pt x="249" y="517"/>
                </a:moveTo>
                <a:lnTo>
                  <a:pt x="249" y="517"/>
                </a:lnTo>
                <a:lnTo>
                  <a:pt x="242" y="516"/>
                </a:lnTo>
                <a:lnTo>
                  <a:pt x="236" y="514"/>
                </a:lnTo>
                <a:lnTo>
                  <a:pt x="111" y="428"/>
                </a:lnTo>
                <a:lnTo>
                  <a:pt x="111" y="428"/>
                </a:lnTo>
                <a:lnTo>
                  <a:pt x="108" y="424"/>
                </a:lnTo>
                <a:lnTo>
                  <a:pt x="104" y="419"/>
                </a:lnTo>
                <a:lnTo>
                  <a:pt x="103" y="415"/>
                </a:lnTo>
                <a:lnTo>
                  <a:pt x="102" y="409"/>
                </a:lnTo>
                <a:lnTo>
                  <a:pt x="102" y="112"/>
                </a:lnTo>
                <a:lnTo>
                  <a:pt x="10" y="40"/>
                </a:lnTo>
                <a:lnTo>
                  <a:pt x="10" y="40"/>
                </a:lnTo>
                <a:lnTo>
                  <a:pt x="6" y="37"/>
                </a:lnTo>
                <a:lnTo>
                  <a:pt x="4" y="33"/>
                </a:lnTo>
                <a:lnTo>
                  <a:pt x="2" y="30"/>
                </a:lnTo>
                <a:lnTo>
                  <a:pt x="0" y="25"/>
                </a:lnTo>
                <a:lnTo>
                  <a:pt x="0" y="22"/>
                </a:lnTo>
                <a:lnTo>
                  <a:pt x="2" y="17"/>
                </a:lnTo>
                <a:lnTo>
                  <a:pt x="3" y="13"/>
                </a:lnTo>
                <a:lnTo>
                  <a:pt x="5" y="9"/>
                </a:lnTo>
                <a:lnTo>
                  <a:pt x="5" y="9"/>
                </a:lnTo>
                <a:lnTo>
                  <a:pt x="9" y="6"/>
                </a:lnTo>
                <a:lnTo>
                  <a:pt x="12" y="3"/>
                </a:lnTo>
                <a:lnTo>
                  <a:pt x="16" y="2"/>
                </a:lnTo>
                <a:lnTo>
                  <a:pt x="20" y="0"/>
                </a:lnTo>
                <a:lnTo>
                  <a:pt x="25" y="0"/>
                </a:lnTo>
                <a:lnTo>
                  <a:pt x="29" y="2"/>
                </a:lnTo>
                <a:lnTo>
                  <a:pt x="33" y="3"/>
                </a:lnTo>
                <a:lnTo>
                  <a:pt x="37" y="5"/>
                </a:lnTo>
                <a:lnTo>
                  <a:pt x="138" y="83"/>
                </a:lnTo>
                <a:lnTo>
                  <a:pt x="138" y="83"/>
                </a:lnTo>
                <a:lnTo>
                  <a:pt x="142" y="87"/>
                </a:lnTo>
                <a:lnTo>
                  <a:pt x="144" y="91"/>
                </a:lnTo>
                <a:lnTo>
                  <a:pt x="146" y="96"/>
                </a:lnTo>
                <a:lnTo>
                  <a:pt x="147" y="101"/>
                </a:lnTo>
                <a:lnTo>
                  <a:pt x="147" y="397"/>
                </a:lnTo>
                <a:lnTo>
                  <a:pt x="261" y="477"/>
                </a:lnTo>
                <a:lnTo>
                  <a:pt x="261" y="477"/>
                </a:lnTo>
                <a:lnTo>
                  <a:pt x="265" y="480"/>
                </a:lnTo>
                <a:lnTo>
                  <a:pt x="268" y="483"/>
                </a:lnTo>
                <a:lnTo>
                  <a:pt x="269" y="487"/>
                </a:lnTo>
                <a:lnTo>
                  <a:pt x="271" y="491"/>
                </a:lnTo>
                <a:lnTo>
                  <a:pt x="272" y="495"/>
                </a:lnTo>
                <a:lnTo>
                  <a:pt x="271" y="500"/>
                </a:lnTo>
                <a:lnTo>
                  <a:pt x="269" y="504"/>
                </a:lnTo>
                <a:lnTo>
                  <a:pt x="267" y="508"/>
                </a:lnTo>
                <a:lnTo>
                  <a:pt x="267" y="508"/>
                </a:lnTo>
                <a:lnTo>
                  <a:pt x="264" y="513"/>
                </a:lnTo>
                <a:lnTo>
                  <a:pt x="259" y="515"/>
                </a:lnTo>
                <a:lnTo>
                  <a:pt x="254" y="517"/>
                </a:lnTo>
                <a:lnTo>
                  <a:pt x="249" y="517"/>
                </a:lnTo>
                <a:lnTo>
                  <a:pt x="249" y="517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" name="íš1îḍe">
            <a:extLst>
              <a:ext uri="{FF2B5EF4-FFF2-40B4-BE49-F238E27FC236}">
                <a16:creationId xmlns:a16="http://schemas.microsoft.com/office/drawing/2014/main" id="{9A552385-70F6-9043-897B-C9298A5B6C91}"/>
              </a:ext>
            </a:extLst>
          </p:cNvPr>
          <p:cNvSpPr/>
          <p:nvPr/>
        </p:nvSpPr>
        <p:spPr bwMode="auto">
          <a:xfrm>
            <a:off x="6074305" y="4461011"/>
            <a:ext cx="126431" cy="1652222"/>
          </a:xfrm>
          <a:custGeom>
            <a:avLst/>
            <a:gdLst>
              <a:gd name="connsiteX0" fmla="*/ 0 w 126431"/>
              <a:gd name="connsiteY0" fmla="*/ 0 h 1652222"/>
              <a:gd name="connsiteX1" fmla="*/ 25286 w 126431"/>
              <a:gd name="connsiteY1" fmla="*/ 2107 h 1652222"/>
              <a:gd name="connsiteX2" fmla="*/ 50573 w 126431"/>
              <a:gd name="connsiteY2" fmla="*/ 10536 h 1652222"/>
              <a:gd name="connsiteX3" fmla="*/ 71644 w 126431"/>
              <a:gd name="connsiteY3" fmla="*/ 23179 h 1652222"/>
              <a:gd name="connsiteX4" fmla="*/ 88502 w 126431"/>
              <a:gd name="connsiteY4" fmla="*/ 37930 h 1652222"/>
              <a:gd name="connsiteX5" fmla="*/ 107467 w 126431"/>
              <a:gd name="connsiteY5" fmla="*/ 56894 h 1652222"/>
              <a:gd name="connsiteX6" fmla="*/ 115895 w 126431"/>
              <a:gd name="connsiteY6" fmla="*/ 77966 h 1652222"/>
              <a:gd name="connsiteX7" fmla="*/ 124324 w 126431"/>
              <a:gd name="connsiteY7" fmla="*/ 101145 h 1652222"/>
              <a:gd name="connsiteX8" fmla="*/ 126431 w 126431"/>
              <a:gd name="connsiteY8" fmla="*/ 126431 h 1652222"/>
              <a:gd name="connsiteX9" fmla="*/ 126431 w 126431"/>
              <a:gd name="connsiteY9" fmla="*/ 1652222 h 1652222"/>
              <a:gd name="connsiteX10" fmla="*/ 0 w 126431"/>
              <a:gd name="connsiteY10" fmla="*/ 1652222 h 1652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6431" h="1652222">
                <a:moveTo>
                  <a:pt x="0" y="0"/>
                </a:moveTo>
                <a:lnTo>
                  <a:pt x="25286" y="2107"/>
                </a:lnTo>
                <a:lnTo>
                  <a:pt x="50573" y="10536"/>
                </a:lnTo>
                <a:lnTo>
                  <a:pt x="71644" y="23179"/>
                </a:lnTo>
                <a:lnTo>
                  <a:pt x="88502" y="37930"/>
                </a:lnTo>
                <a:lnTo>
                  <a:pt x="107467" y="56894"/>
                </a:lnTo>
                <a:lnTo>
                  <a:pt x="115895" y="77966"/>
                </a:lnTo>
                <a:lnTo>
                  <a:pt x="124324" y="101145"/>
                </a:lnTo>
                <a:lnTo>
                  <a:pt x="126431" y="126431"/>
                </a:lnTo>
                <a:lnTo>
                  <a:pt x="126431" y="1652222"/>
                </a:lnTo>
                <a:lnTo>
                  <a:pt x="0" y="1652222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" name="ísľiḍê">
            <a:extLst>
              <a:ext uri="{FF2B5EF4-FFF2-40B4-BE49-F238E27FC236}">
                <a16:creationId xmlns:a16="http://schemas.microsoft.com/office/drawing/2014/main" id="{FA0CBDF0-8281-E94E-8BAC-5AA1B7C9F4D0}"/>
              </a:ext>
            </a:extLst>
          </p:cNvPr>
          <p:cNvSpPr/>
          <p:nvPr/>
        </p:nvSpPr>
        <p:spPr bwMode="auto">
          <a:xfrm>
            <a:off x="6416678" y="4610623"/>
            <a:ext cx="98489" cy="1502610"/>
          </a:xfrm>
          <a:custGeom>
            <a:avLst/>
            <a:gdLst>
              <a:gd name="connsiteX0" fmla="*/ 98489 w 98489"/>
              <a:gd name="connsiteY0" fmla="*/ 0 h 1502610"/>
              <a:gd name="connsiteX1" fmla="*/ 98489 w 98489"/>
              <a:gd name="connsiteY1" fmla="*/ 1502610 h 1502610"/>
              <a:gd name="connsiteX2" fmla="*/ 0 w 98489"/>
              <a:gd name="connsiteY2" fmla="*/ 1502610 h 1502610"/>
              <a:gd name="connsiteX3" fmla="*/ 0 w 98489"/>
              <a:gd name="connsiteY3" fmla="*/ 99716 h 1502610"/>
              <a:gd name="connsiteX4" fmla="*/ 1642 w 98489"/>
              <a:gd name="connsiteY4" fmla="*/ 78808 h 1502610"/>
              <a:gd name="connsiteX5" fmla="*/ 8208 w 98489"/>
              <a:gd name="connsiteY5" fmla="*/ 61116 h 1502610"/>
              <a:gd name="connsiteX6" fmla="*/ 16415 w 98489"/>
              <a:gd name="connsiteY6" fmla="*/ 43425 h 1502610"/>
              <a:gd name="connsiteX7" fmla="*/ 29547 w 98489"/>
              <a:gd name="connsiteY7" fmla="*/ 28950 h 1502610"/>
              <a:gd name="connsiteX8" fmla="*/ 42679 w 98489"/>
              <a:gd name="connsiteY8" fmla="*/ 17692 h 1502610"/>
              <a:gd name="connsiteX9" fmla="*/ 59094 w 98489"/>
              <a:gd name="connsiteY9" fmla="*/ 8042 h 1502610"/>
              <a:gd name="connsiteX10" fmla="*/ 78791 w 98489"/>
              <a:gd name="connsiteY10" fmla="*/ 1609 h 1502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8489" h="1502610">
                <a:moveTo>
                  <a:pt x="98489" y="0"/>
                </a:moveTo>
                <a:lnTo>
                  <a:pt x="98489" y="1502610"/>
                </a:lnTo>
                <a:lnTo>
                  <a:pt x="0" y="1502610"/>
                </a:lnTo>
                <a:lnTo>
                  <a:pt x="0" y="99716"/>
                </a:lnTo>
                <a:lnTo>
                  <a:pt x="1642" y="78808"/>
                </a:lnTo>
                <a:lnTo>
                  <a:pt x="8208" y="61116"/>
                </a:lnTo>
                <a:lnTo>
                  <a:pt x="16415" y="43425"/>
                </a:lnTo>
                <a:lnTo>
                  <a:pt x="29547" y="28950"/>
                </a:lnTo>
                <a:lnTo>
                  <a:pt x="42679" y="17692"/>
                </a:lnTo>
                <a:lnTo>
                  <a:pt x="59094" y="8042"/>
                </a:lnTo>
                <a:lnTo>
                  <a:pt x="78791" y="1609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" name="ïś1îḓê">
            <a:extLst>
              <a:ext uri="{FF2B5EF4-FFF2-40B4-BE49-F238E27FC236}">
                <a16:creationId xmlns:a16="http://schemas.microsoft.com/office/drawing/2014/main" id="{7EE2F4A2-AD94-F74A-8DC5-BABC6D09CB16}"/>
              </a:ext>
            </a:extLst>
          </p:cNvPr>
          <p:cNvSpPr/>
          <p:nvPr/>
        </p:nvSpPr>
        <p:spPr bwMode="auto">
          <a:xfrm>
            <a:off x="5840312" y="2116771"/>
            <a:ext cx="579477" cy="2454869"/>
          </a:xfrm>
          <a:custGeom>
            <a:avLst/>
            <a:gdLst>
              <a:gd name="T0" fmla="*/ 210 w 267"/>
              <a:gd name="T1" fmla="*/ 1165 h 1165"/>
              <a:gd name="T2" fmla="*/ 210 w 267"/>
              <a:gd name="T3" fmla="*/ 1165 h 1165"/>
              <a:gd name="T4" fmla="*/ 200 w 267"/>
              <a:gd name="T5" fmla="*/ 1163 h 1165"/>
              <a:gd name="T6" fmla="*/ 189 w 267"/>
              <a:gd name="T7" fmla="*/ 1160 h 1165"/>
              <a:gd name="T8" fmla="*/ 180 w 267"/>
              <a:gd name="T9" fmla="*/ 1155 h 1165"/>
              <a:gd name="T10" fmla="*/ 172 w 267"/>
              <a:gd name="T11" fmla="*/ 1148 h 1165"/>
              <a:gd name="T12" fmla="*/ 164 w 267"/>
              <a:gd name="T13" fmla="*/ 1140 h 1165"/>
              <a:gd name="T14" fmla="*/ 160 w 267"/>
              <a:gd name="T15" fmla="*/ 1130 h 1165"/>
              <a:gd name="T16" fmla="*/ 156 w 267"/>
              <a:gd name="T17" fmla="*/ 1120 h 1165"/>
              <a:gd name="T18" fmla="*/ 155 w 267"/>
              <a:gd name="T19" fmla="*/ 1108 h 1165"/>
              <a:gd name="T20" fmla="*/ 155 w 267"/>
              <a:gd name="T21" fmla="*/ 779 h 1165"/>
              <a:gd name="T22" fmla="*/ 22 w 267"/>
              <a:gd name="T23" fmla="*/ 674 h 1165"/>
              <a:gd name="T24" fmla="*/ 22 w 267"/>
              <a:gd name="T25" fmla="*/ 674 h 1165"/>
              <a:gd name="T26" fmla="*/ 17 w 267"/>
              <a:gd name="T27" fmla="*/ 669 h 1165"/>
              <a:gd name="T28" fmla="*/ 13 w 267"/>
              <a:gd name="T29" fmla="*/ 664 h 1165"/>
              <a:gd name="T30" fmla="*/ 6 w 267"/>
              <a:gd name="T31" fmla="*/ 655 h 1165"/>
              <a:gd name="T32" fmla="*/ 2 w 267"/>
              <a:gd name="T33" fmla="*/ 642 h 1165"/>
              <a:gd name="T34" fmla="*/ 2 w 267"/>
              <a:gd name="T35" fmla="*/ 636 h 1165"/>
              <a:gd name="T36" fmla="*/ 0 w 267"/>
              <a:gd name="T37" fmla="*/ 630 h 1165"/>
              <a:gd name="T38" fmla="*/ 0 w 267"/>
              <a:gd name="T39" fmla="*/ 55 h 1165"/>
              <a:gd name="T40" fmla="*/ 0 w 267"/>
              <a:gd name="T41" fmla="*/ 55 h 1165"/>
              <a:gd name="T42" fmla="*/ 2 w 267"/>
              <a:gd name="T43" fmla="*/ 45 h 1165"/>
              <a:gd name="T44" fmla="*/ 5 w 267"/>
              <a:gd name="T45" fmla="*/ 34 h 1165"/>
              <a:gd name="T46" fmla="*/ 10 w 267"/>
              <a:gd name="T47" fmla="*/ 25 h 1165"/>
              <a:gd name="T48" fmla="*/ 17 w 267"/>
              <a:gd name="T49" fmla="*/ 16 h 1165"/>
              <a:gd name="T50" fmla="*/ 25 w 267"/>
              <a:gd name="T51" fmla="*/ 9 h 1165"/>
              <a:gd name="T52" fmla="*/ 35 w 267"/>
              <a:gd name="T53" fmla="*/ 3 h 1165"/>
              <a:gd name="T54" fmla="*/ 45 w 267"/>
              <a:gd name="T55" fmla="*/ 1 h 1165"/>
              <a:gd name="T56" fmla="*/ 57 w 267"/>
              <a:gd name="T57" fmla="*/ 0 h 1165"/>
              <a:gd name="T58" fmla="*/ 57 w 267"/>
              <a:gd name="T59" fmla="*/ 0 h 1165"/>
              <a:gd name="T60" fmla="*/ 68 w 267"/>
              <a:gd name="T61" fmla="*/ 1 h 1165"/>
              <a:gd name="T62" fmla="*/ 78 w 267"/>
              <a:gd name="T63" fmla="*/ 3 h 1165"/>
              <a:gd name="T64" fmla="*/ 88 w 267"/>
              <a:gd name="T65" fmla="*/ 9 h 1165"/>
              <a:gd name="T66" fmla="*/ 96 w 267"/>
              <a:gd name="T67" fmla="*/ 16 h 1165"/>
              <a:gd name="T68" fmla="*/ 103 w 267"/>
              <a:gd name="T69" fmla="*/ 25 h 1165"/>
              <a:gd name="T70" fmla="*/ 109 w 267"/>
              <a:gd name="T71" fmla="*/ 34 h 1165"/>
              <a:gd name="T72" fmla="*/ 111 w 267"/>
              <a:gd name="T73" fmla="*/ 45 h 1165"/>
              <a:gd name="T74" fmla="*/ 113 w 267"/>
              <a:gd name="T75" fmla="*/ 55 h 1165"/>
              <a:gd name="T76" fmla="*/ 113 w 267"/>
              <a:gd name="T77" fmla="*/ 603 h 1165"/>
              <a:gd name="T78" fmla="*/ 246 w 267"/>
              <a:gd name="T79" fmla="*/ 708 h 1165"/>
              <a:gd name="T80" fmla="*/ 246 w 267"/>
              <a:gd name="T81" fmla="*/ 708 h 1165"/>
              <a:gd name="T82" fmla="*/ 251 w 267"/>
              <a:gd name="T83" fmla="*/ 711 h 1165"/>
              <a:gd name="T84" fmla="*/ 254 w 267"/>
              <a:gd name="T85" fmla="*/ 716 h 1165"/>
              <a:gd name="T86" fmla="*/ 261 w 267"/>
              <a:gd name="T87" fmla="*/ 727 h 1165"/>
              <a:gd name="T88" fmla="*/ 266 w 267"/>
              <a:gd name="T89" fmla="*/ 739 h 1165"/>
              <a:gd name="T90" fmla="*/ 267 w 267"/>
              <a:gd name="T91" fmla="*/ 745 h 1165"/>
              <a:gd name="T92" fmla="*/ 267 w 267"/>
              <a:gd name="T93" fmla="*/ 752 h 1165"/>
              <a:gd name="T94" fmla="*/ 267 w 267"/>
              <a:gd name="T95" fmla="*/ 1108 h 1165"/>
              <a:gd name="T96" fmla="*/ 267 w 267"/>
              <a:gd name="T97" fmla="*/ 1108 h 1165"/>
              <a:gd name="T98" fmla="*/ 266 w 267"/>
              <a:gd name="T99" fmla="*/ 1120 h 1165"/>
              <a:gd name="T100" fmla="*/ 262 w 267"/>
              <a:gd name="T101" fmla="*/ 1130 h 1165"/>
              <a:gd name="T102" fmla="*/ 258 w 267"/>
              <a:gd name="T103" fmla="*/ 1140 h 1165"/>
              <a:gd name="T104" fmla="*/ 251 w 267"/>
              <a:gd name="T105" fmla="*/ 1148 h 1165"/>
              <a:gd name="T106" fmla="*/ 242 w 267"/>
              <a:gd name="T107" fmla="*/ 1155 h 1165"/>
              <a:gd name="T108" fmla="*/ 233 w 267"/>
              <a:gd name="T109" fmla="*/ 1160 h 1165"/>
              <a:gd name="T110" fmla="*/ 222 w 267"/>
              <a:gd name="T111" fmla="*/ 1163 h 1165"/>
              <a:gd name="T112" fmla="*/ 210 w 267"/>
              <a:gd name="T113" fmla="*/ 1165 h 1165"/>
              <a:gd name="T114" fmla="*/ 210 w 267"/>
              <a:gd name="T115" fmla="*/ 1165 h 1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67" h="1165">
                <a:moveTo>
                  <a:pt x="210" y="1165"/>
                </a:moveTo>
                <a:lnTo>
                  <a:pt x="210" y="1165"/>
                </a:lnTo>
                <a:lnTo>
                  <a:pt x="200" y="1163"/>
                </a:lnTo>
                <a:lnTo>
                  <a:pt x="189" y="1160"/>
                </a:lnTo>
                <a:lnTo>
                  <a:pt x="180" y="1155"/>
                </a:lnTo>
                <a:lnTo>
                  <a:pt x="172" y="1148"/>
                </a:lnTo>
                <a:lnTo>
                  <a:pt x="164" y="1140"/>
                </a:lnTo>
                <a:lnTo>
                  <a:pt x="160" y="1130"/>
                </a:lnTo>
                <a:lnTo>
                  <a:pt x="156" y="1120"/>
                </a:lnTo>
                <a:lnTo>
                  <a:pt x="155" y="1108"/>
                </a:lnTo>
                <a:lnTo>
                  <a:pt x="155" y="779"/>
                </a:lnTo>
                <a:lnTo>
                  <a:pt x="22" y="674"/>
                </a:lnTo>
                <a:lnTo>
                  <a:pt x="22" y="674"/>
                </a:lnTo>
                <a:lnTo>
                  <a:pt x="17" y="669"/>
                </a:lnTo>
                <a:lnTo>
                  <a:pt x="13" y="664"/>
                </a:lnTo>
                <a:lnTo>
                  <a:pt x="6" y="655"/>
                </a:lnTo>
                <a:lnTo>
                  <a:pt x="2" y="642"/>
                </a:lnTo>
                <a:lnTo>
                  <a:pt x="2" y="636"/>
                </a:lnTo>
                <a:lnTo>
                  <a:pt x="0" y="630"/>
                </a:lnTo>
                <a:lnTo>
                  <a:pt x="0" y="55"/>
                </a:lnTo>
                <a:lnTo>
                  <a:pt x="0" y="55"/>
                </a:lnTo>
                <a:lnTo>
                  <a:pt x="2" y="45"/>
                </a:lnTo>
                <a:lnTo>
                  <a:pt x="5" y="34"/>
                </a:lnTo>
                <a:lnTo>
                  <a:pt x="10" y="25"/>
                </a:lnTo>
                <a:lnTo>
                  <a:pt x="17" y="16"/>
                </a:lnTo>
                <a:lnTo>
                  <a:pt x="25" y="9"/>
                </a:lnTo>
                <a:lnTo>
                  <a:pt x="35" y="3"/>
                </a:lnTo>
                <a:lnTo>
                  <a:pt x="45" y="1"/>
                </a:lnTo>
                <a:lnTo>
                  <a:pt x="57" y="0"/>
                </a:lnTo>
                <a:lnTo>
                  <a:pt x="57" y="0"/>
                </a:lnTo>
                <a:lnTo>
                  <a:pt x="68" y="1"/>
                </a:lnTo>
                <a:lnTo>
                  <a:pt x="78" y="3"/>
                </a:lnTo>
                <a:lnTo>
                  <a:pt x="88" y="9"/>
                </a:lnTo>
                <a:lnTo>
                  <a:pt x="96" y="16"/>
                </a:lnTo>
                <a:lnTo>
                  <a:pt x="103" y="25"/>
                </a:lnTo>
                <a:lnTo>
                  <a:pt x="109" y="34"/>
                </a:lnTo>
                <a:lnTo>
                  <a:pt x="111" y="45"/>
                </a:lnTo>
                <a:lnTo>
                  <a:pt x="113" y="55"/>
                </a:lnTo>
                <a:lnTo>
                  <a:pt x="113" y="603"/>
                </a:lnTo>
                <a:lnTo>
                  <a:pt x="246" y="708"/>
                </a:lnTo>
                <a:lnTo>
                  <a:pt x="246" y="708"/>
                </a:lnTo>
                <a:lnTo>
                  <a:pt x="251" y="711"/>
                </a:lnTo>
                <a:lnTo>
                  <a:pt x="254" y="716"/>
                </a:lnTo>
                <a:lnTo>
                  <a:pt x="261" y="727"/>
                </a:lnTo>
                <a:lnTo>
                  <a:pt x="266" y="739"/>
                </a:lnTo>
                <a:lnTo>
                  <a:pt x="267" y="745"/>
                </a:lnTo>
                <a:lnTo>
                  <a:pt x="267" y="752"/>
                </a:lnTo>
                <a:lnTo>
                  <a:pt x="267" y="1108"/>
                </a:lnTo>
                <a:lnTo>
                  <a:pt x="267" y="1108"/>
                </a:lnTo>
                <a:lnTo>
                  <a:pt x="266" y="1120"/>
                </a:lnTo>
                <a:lnTo>
                  <a:pt x="262" y="1130"/>
                </a:lnTo>
                <a:lnTo>
                  <a:pt x="258" y="1140"/>
                </a:lnTo>
                <a:lnTo>
                  <a:pt x="251" y="1148"/>
                </a:lnTo>
                <a:lnTo>
                  <a:pt x="242" y="1155"/>
                </a:lnTo>
                <a:lnTo>
                  <a:pt x="233" y="1160"/>
                </a:lnTo>
                <a:lnTo>
                  <a:pt x="222" y="1163"/>
                </a:lnTo>
                <a:lnTo>
                  <a:pt x="210" y="1165"/>
                </a:lnTo>
                <a:lnTo>
                  <a:pt x="210" y="1165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6" name="iś1ídê">
            <a:extLst>
              <a:ext uri="{FF2B5EF4-FFF2-40B4-BE49-F238E27FC236}">
                <a16:creationId xmlns:a16="http://schemas.microsoft.com/office/drawing/2014/main" id="{45AB719F-A763-F043-BFDB-44CE22900109}"/>
              </a:ext>
            </a:extLst>
          </p:cNvPr>
          <p:cNvSpPr/>
          <p:nvPr/>
        </p:nvSpPr>
        <p:spPr bwMode="auto">
          <a:xfrm>
            <a:off x="5243526" y="3883645"/>
            <a:ext cx="1074663" cy="1670997"/>
          </a:xfrm>
          <a:custGeom>
            <a:avLst/>
            <a:gdLst>
              <a:gd name="T0" fmla="*/ 477 w 510"/>
              <a:gd name="T1" fmla="*/ 793 h 793"/>
              <a:gd name="T2" fmla="*/ 477 w 510"/>
              <a:gd name="T3" fmla="*/ 793 h 793"/>
              <a:gd name="T4" fmla="*/ 471 w 510"/>
              <a:gd name="T5" fmla="*/ 792 h 793"/>
              <a:gd name="T6" fmla="*/ 465 w 510"/>
              <a:gd name="T7" fmla="*/ 791 h 793"/>
              <a:gd name="T8" fmla="*/ 460 w 510"/>
              <a:gd name="T9" fmla="*/ 789 h 793"/>
              <a:gd name="T10" fmla="*/ 456 w 510"/>
              <a:gd name="T11" fmla="*/ 785 h 793"/>
              <a:gd name="T12" fmla="*/ 12 w 510"/>
              <a:gd name="T13" fmla="*/ 405 h 793"/>
              <a:gd name="T14" fmla="*/ 12 w 510"/>
              <a:gd name="T15" fmla="*/ 405 h 793"/>
              <a:gd name="T16" fmla="*/ 7 w 510"/>
              <a:gd name="T17" fmla="*/ 399 h 793"/>
              <a:gd name="T18" fmla="*/ 4 w 510"/>
              <a:gd name="T19" fmla="*/ 393 h 793"/>
              <a:gd name="T20" fmla="*/ 1 w 510"/>
              <a:gd name="T21" fmla="*/ 386 h 793"/>
              <a:gd name="T22" fmla="*/ 0 w 510"/>
              <a:gd name="T23" fmla="*/ 379 h 793"/>
              <a:gd name="T24" fmla="*/ 0 w 510"/>
              <a:gd name="T25" fmla="*/ 35 h 793"/>
              <a:gd name="T26" fmla="*/ 0 w 510"/>
              <a:gd name="T27" fmla="*/ 35 h 793"/>
              <a:gd name="T28" fmla="*/ 1 w 510"/>
              <a:gd name="T29" fmla="*/ 27 h 793"/>
              <a:gd name="T30" fmla="*/ 3 w 510"/>
              <a:gd name="T31" fmla="*/ 22 h 793"/>
              <a:gd name="T32" fmla="*/ 6 w 510"/>
              <a:gd name="T33" fmla="*/ 16 h 793"/>
              <a:gd name="T34" fmla="*/ 10 w 510"/>
              <a:gd name="T35" fmla="*/ 11 h 793"/>
              <a:gd name="T36" fmla="*/ 14 w 510"/>
              <a:gd name="T37" fmla="*/ 6 h 793"/>
              <a:gd name="T38" fmla="*/ 20 w 510"/>
              <a:gd name="T39" fmla="*/ 4 h 793"/>
              <a:gd name="T40" fmla="*/ 27 w 510"/>
              <a:gd name="T41" fmla="*/ 1 h 793"/>
              <a:gd name="T42" fmla="*/ 33 w 510"/>
              <a:gd name="T43" fmla="*/ 0 h 793"/>
              <a:gd name="T44" fmla="*/ 33 w 510"/>
              <a:gd name="T45" fmla="*/ 0 h 793"/>
              <a:gd name="T46" fmla="*/ 40 w 510"/>
              <a:gd name="T47" fmla="*/ 1 h 793"/>
              <a:gd name="T48" fmla="*/ 46 w 510"/>
              <a:gd name="T49" fmla="*/ 4 h 793"/>
              <a:gd name="T50" fmla="*/ 52 w 510"/>
              <a:gd name="T51" fmla="*/ 6 h 793"/>
              <a:gd name="T52" fmla="*/ 57 w 510"/>
              <a:gd name="T53" fmla="*/ 11 h 793"/>
              <a:gd name="T54" fmla="*/ 62 w 510"/>
              <a:gd name="T55" fmla="*/ 16 h 793"/>
              <a:gd name="T56" fmla="*/ 65 w 510"/>
              <a:gd name="T57" fmla="*/ 22 h 793"/>
              <a:gd name="T58" fmla="*/ 66 w 510"/>
              <a:gd name="T59" fmla="*/ 27 h 793"/>
              <a:gd name="T60" fmla="*/ 67 w 510"/>
              <a:gd name="T61" fmla="*/ 35 h 793"/>
              <a:gd name="T62" fmla="*/ 67 w 510"/>
              <a:gd name="T63" fmla="*/ 364 h 793"/>
              <a:gd name="T64" fmla="*/ 499 w 510"/>
              <a:gd name="T65" fmla="*/ 734 h 793"/>
              <a:gd name="T66" fmla="*/ 499 w 510"/>
              <a:gd name="T67" fmla="*/ 734 h 793"/>
              <a:gd name="T68" fmla="*/ 504 w 510"/>
              <a:gd name="T69" fmla="*/ 739 h 793"/>
              <a:gd name="T70" fmla="*/ 508 w 510"/>
              <a:gd name="T71" fmla="*/ 745 h 793"/>
              <a:gd name="T72" fmla="*/ 510 w 510"/>
              <a:gd name="T73" fmla="*/ 751 h 793"/>
              <a:gd name="T74" fmla="*/ 510 w 510"/>
              <a:gd name="T75" fmla="*/ 757 h 793"/>
              <a:gd name="T76" fmla="*/ 510 w 510"/>
              <a:gd name="T77" fmla="*/ 764 h 793"/>
              <a:gd name="T78" fmla="*/ 509 w 510"/>
              <a:gd name="T79" fmla="*/ 770 h 793"/>
              <a:gd name="T80" fmla="*/ 506 w 510"/>
              <a:gd name="T81" fmla="*/ 776 h 793"/>
              <a:gd name="T82" fmla="*/ 503 w 510"/>
              <a:gd name="T83" fmla="*/ 782 h 793"/>
              <a:gd name="T84" fmla="*/ 503 w 510"/>
              <a:gd name="T85" fmla="*/ 782 h 793"/>
              <a:gd name="T86" fmla="*/ 497 w 510"/>
              <a:gd name="T87" fmla="*/ 786 h 793"/>
              <a:gd name="T88" fmla="*/ 491 w 510"/>
              <a:gd name="T89" fmla="*/ 790 h 793"/>
              <a:gd name="T90" fmla="*/ 484 w 510"/>
              <a:gd name="T91" fmla="*/ 792 h 793"/>
              <a:gd name="T92" fmla="*/ 477 w 510"/>
              <a:gd name="T93" fmla="*/ 793 h 793"/>
              <a:gd name="T94" fmla="*/ 477 w 510"/>
              <a:gd name="T95" fmla="*/ 793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0" h="793">
                <a:moveTo>
                  <a:pt x="477" y="793"/>
                </a:moveTo>
                <a:lnTo>
                  <a:pt x="477" y="793"/>
                </a:lnTo>
                <a:lnTo>
                  <a:pt x="471" y="792"/>
                </a:lnTo>
                <a:lnTo>
                  <a:pt x="465" y="791"/>
                </a:lnTo>
                <a:lnTo>
                  <a:pt x="460" y="789"/>
                </a:lnTo>
                <a:lnTo>
                  <a:pt x="456" y="785"/>
                </a:lnTo>
                <a:lnTo>
                  <a:pt x="12" y="405"/>
                </a:lnTo>
                <a:lnTo>
                  <a:pt x="12" y="405"/>
                </a:lnTo>
                <a:lnTo>
                  <a:pt x="7" y="399"/>
                </a:lnTo>
                <a:lnTo>
                  <a:pt x="4" y="393"/>
                </a:lnTo>
                <a:lnTo>
                  <a:pt x="1" y="386"/>
                </a:lnTo>
                <a:lnTo>
                  <a:pt x="0" y="379"/>
                </a:lnTo>
                <a:lnTo>
                  <a:pt x="0" y="35"/>
                </a:lnTo>
                <a:lnTo>
                  <a:pt x="0" y="35"/>
                </a:lnTo>
                <a:lnTo>
                  <a:pt x="1" y="27"/>
                </a:lnTo>
                <a:lnTo>
                  <a:pt x="3" y="22"/>
                </a:lnTo>
                <a:lnTo>
                  <a:pt x="6" y="16"/>
                </a:lnTo>
                <a:lnTo>
                  <a:pt x="10" y="11"/>
                </a:lnTo>
                <a:lnTo>
                  <a:pt x="14" y="6"/>
                </a:lnTo>
                <a:lnTo>
                  <a:pt x="20" y="4"/>
                </a:lnTo>
                <a:lnTo>
                  <a:pt x="27" y="1"/>
                </a:lnTo>
                <a:lnTo>
                  <a:pt x="33" y="0"/>
                </a:lnTo>
                <a:lnTo>
                  <a:pt x="33" y="0"/>
                </a:lnTo>
                <a:lnTo>
                  <a:pt x="40" y="1"/>
                </a:lnTo>
                <a:lnTo>
                  <a:pt x="46" y="4"/>
                </a:lnTo>
                <a:lnTo>
                  <a:pt x="52" y="6"/>
                </a:lnTo>
                <a:lnTo>
                  <a:pt x="57" y="11"/>
                </a:lnTo>
                <a:lnTo>
                  <a:pt x="62" y="16"/>
                </a:lnTo>
                <a:lnTo>
                  <a:pt x="65" y="22"/>
                </a:lnTo>
                <a:lnTo>
                  <a:pt x="66" y="27"/>
                </a:lnTo>
                <a:lnTo>
                  <a:pt x="67" y="35"/>
                </a:lnTo>
                <a:lnTo>
                  <a:pt x="67" y="364"/>
                </a:lnTo>
                <a:lnTo>
                  <a:pt x="499" y="734"/>
                </a:lnTo>
                <a:lnTo>
                  <a:pt x="499" y="734"/>
                </a:lnTo>
                <a:lnTo>
                  <a:pt x="504" y="739"/>
                </a:lnTo>
                <a:lnTo>
                  <a:pt x="508" y="745"/>
                </a:lnTo>
                <a:lnTo>
                  <a:pt x="510" y="751"/>
                </a:lnTo>
                <a:lnTo>
                  <a:pt x="510" y="757"/>
                </a:lnTo>
                <a:lnTo>
                  <a:pt x="510" y="764"/>
                </a:lnTo>
                <a:lnTo>
                  <a:pt x="509" y="770"/>
                </a:lnTo>
                <a:lnTo>
                  <a:pt x="506" y="776"/>
                </a:lnTo>
                <a:lnTo>
                  <a:pt x="503" y="782"/>
                </a:lnTo>
                <a:lnTo>
                  <a:pt x="503" y="782"/>
                </a:lnTo>
                <a:lnTo>
                  <a:pt x="497" y="786"/>
                </a:lnTo>
                <a:lnTo>
                  <a:pt x="491" y="790"/>
                </a:lnTo>
                <a:lnTo>
                  <a:pt x="484" y="792"/>
                </a:lnTo>
                <a:lnTo>
                  <a:pt x="477" y="793"/>
                </a:lnTo>
                <a:lnTo>
                  <a:pt x="477" y="793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7" name="îṡ1îďè">
            <a:extLst>
              <a:ext uri="{FF2B5EF4-FFF2-40B4-BE49-F238E27FC236}">
                <a16:creationId xmlns:a16="http://schemas.microsoft.com/office/drawing/2014/main" id="{F223DDFB-940F-8447-91FB-8FAFCDF039AD}"/>
              </a:ext>
            </a:extLst>
          </p:cNvPr>
          <p:cNvSpPr/>
          <p:nvPr/>
        </p:nvSpPr>
        <p:spPr bwMode="auto">
          <a:xfrm>
            <a:off x="5565925" y="1761887"/>
            <a:ext cx="741729" cy="741729"/>
          </a:xfrm>
          <a:custGeom>
            <a:avLst/>
            <a:gdLst>
              <a:gd name="T0" fmla="*/ 0 w 320"/>
              <a:gd name="T1" fmla="*/ 159 h 320"/>
              <a:gd name="T2" fmla="*/ 3 w 320"/>
              <a:gd name="T3" fmla="*/ 127 h 320"/>
              <a:gd name="T4" fmla="*/ 13 w 320"/>
              <a:gd name="T5" fmla="*/ 98 h 320"/>
              <a:gd name="T6" fmla="*/ 27 w 320"/>
              <a:gd name="T7" fmla="*/ 70 h 320"/>
              <a:gd name="T8" fmla="*/ 47 w 320"/>
              <a:gd name="T9" fmla="*/ 46 h 320"/>
              <a:gd name="T10" fmla="*/ 70 w 320"/>
              <a:gd name="T11" fmla="*/ 27 h 320"/>
              <a:gd name="T12" fmla="*/ 97 w 320"/>
              <a:gd name="T13" fmla="*/ 12 h 320"/>
              <a:gd name="T14" fmla="*/ 127 w 320"/>
              <a:gd name="T15" fmla="*/ 2 h 320"/>
              <a:gd name="T16" fmla="*/ 160 w 320"/>
              <a:gd name="T17" fmla="*/ 0 h 320"/>
              <a:gd name="T18" fmla="*/ 177 w 320"/>
              <a:gd name="T19" fmla="*/ 0 h 320"/>
              <a:gd name="T20" fmla="*/ 207 w 320"/>
              <a:gd name="T21" fmla="*/ 7 h 320"/>
              <a:gd name="T22" fmla="*/ 237 w 320"/>
              <a:gd name="T23" fmla="*/ 19 h 320"/>
              <a:gd name="T24" fmla="*/ 261 w 320"/>
              <a:gd name="T25" fmla="*/ 37 h 320"/>
              <a:gd name="T26" fmla="*/ 284 w 320"/>
              <a:gd name="T27" fmla="*/ 58 h 320"/>
              <a:gd name="T28" fmla="*/ 300 w 320"/>
              <a:gd name="T29" fmla="*/ 84 h 320"/>
              <a:gd name="T30" fmla="*/ 313 w 320"/>
              <a:gd name="T31" fmla="*/ 112 h 320"/>
              <a:gd name="T32" fmla="*/ 319 w 320"/>
              <a:gd name="T33" fmla="*/ 144 h 320"/>
              <a:gd name="T34" fmla="*/ 320 w 320"/>
              <a:gd name="T35" fmla="*/ 159 h 320"/>
              <a:gd name="T36" fmla="*/ 317 w 320"/>
              <a:gd name="T37" fmla="*/ 192 h 320"/>
              <a:gd name="T38" fmla="*/ 308 w 320"/>
              <a:gd name="T39" fmla="*/ 222 h 320"/>
              <a:gd name="T40" fmla="*/ 292 w 320"/>
              <a:gd name="T41" fmla="*/ 249 h 320"/>
              <a:gd name="T42" fmla="*/ 273 w 320"/>
              <a:gd name="T43" fmla="*/ 274 h 320"/>
              <a:gd name="T44" fmla="*/ 250 w 320"/>
              <a:gd name="T45" fmla="*/ 293 h 320"/>
              <a:gd name="T46" fmla="*/ 223 w 320"/>
              <a:gd name="T47" fmla="*/ 308 h 320"/>
              <a:gd name="T48" fmla="*/ 192 w 320"/>
              <a:gd name="T49" fmla="*/ 317 h 320"/>
              <a:gd name="T50" fmla="*/ 160 w 320"/>
              <a:gd name="T51" fmla="*/ 320 h 320"/>
              <a:gd name="T52" fmla="*/ 143 w 320"/>
              <a:gd name="T53" fmla="*/ 320 h 320"/>
              <a:gd name="T54" fmla="*/ 112 w 320"/>
              <a:gd name="T55" fmla="*/ 313 h 320"/>
              <a:gd name="T56" fmla="*/ 83 w 320"/>
              <a:gd name="T57" fmla="*/ 301 h 320"/>
              <a:gd name="T58" fmla="*/ 57 w 320"/>
              <a:gd name="T59" fmla="*/ 283 h 320"/>
              <a:gd name="T60" fmla="*/ 36 w 320"/>
              <a:gd name="T61" fmla="*/ 262 h 320"/>
              <a:gd name="T62" fmla="*/ 18 w 320"/>
              <a:gd name="T63" fmla="*/ 236 h 320"/>
              <a:gd name="T64" fmla="*/ 7 w 320"/>
              <a:gd name="T65" fmla="*/ 208 h 320"/>
              <a:gd name="T66" fmla="*/ 1 w 320"/>
              <a:gd name="T67" fmla="*/ 176 h 320"/>
              <a:gd name="T68" fmla="*/ 0 w 320"/>
              <a:gd name="T69" fmla="*/ 159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320">
                <a:moveTo>
                  <a:pt x="0" y="159"/>
                </a:moveTo>
                <a:lnTo>
                  <a:pt x="0" y="159"/>
                </a:lnTo>
                <a:lnTo>
                  <a:pt x="1" y="144"/>
                </a:lnTo>
                <a:lnTo>
                  <a:pt x="3" y="127"/>
                </a:lnTo>
                <a:lnTo>
                  <a:pt x="7" y="112"/>
                </a:lnTo>
                <a:lnTo>
                  <a:pt x="13" y="98"/>
                </a:lnTo>
                <a:lnTo>
                  <a:pt x="18" y="84"/>
                </a:lnTo>
                <a:lnTo>
                  <a:pt x="27" y="70"/>
                </a:lnTo>
                <a:lnTo>
                  <a:pt x="36" y="58"/>
                </a:lnTo>
                <a:lnTo>
                  <a:pt x="47" y="46"/>
                </a:lnTo>
                <a:lnTo>
                  <a:pt x="57" y="37"/>
                </a:lnTo>
                <a:lnTo>
                  <a:pt x="70" y="27"/>
                </a:lnTo>
                <a:lnTo>
                  <a:pt x="83" y="19"/>
                </a:lnTo>
                <a:lnTo>
                  <a:pt x="97" y="12"/>
                </a:lnTo>
                <a:lnTo>
                  <a:pt x="112" y="7"/>
                </a:lnTo>
                <a:lnTo>
                  <a:pt x="127" y="2"/>
                </a:lnTo>
                <a:lnTo>
                  <a:pt x="143" y="0"/>
                </a:lnTo>
                <a:lnTo>
                  <a:pt x="160" y="0"/>
                </a:lnTo>
                <a:lnTo>
                  <a:pt x="160" y="0"/>
                </a:lnTo>
                <a:lnTo>
                  <a:pt x="177" y="0"/>
                </a:lnTo>
                <a:lnTo>
                  <a:pt x="192" y="2"/>
                </a:lnTo>
                <a:lnTo>
                  <a:pt x="207" y="7"/>
                </a:lnTo>
                <a:lnTo>
                  <a:pt x="223" y="12"/>
                </a:lnTo>
                <a:lnTo>
                  <a:pt x="237" y="19"/>
                </a:lnTo>
                <a:lnTo>
                  <a:pt x="250" y="27"/>
                </a:lnTo>
                <a:lnTo>
                  <a:pt x="261" y="37"/>
                </a:lnTo>
                <a:lnTo>
                  <a:pt x="273" y="46"/>
                </a:lnTo>
                <a:lnTo>
                  <a:pt x="284" y="58"/>
                </a:lnTo>
                <a:lnTo>
                  <a:pt x="292" y="70"/>
                </a:lnTo>
                <a:lnTo>
                  <a:pt x="300" y="84"/>
                </a:lnTo>
                <a:lnTo>
                  <a:pt x="308" y="98"/>
                </a:lnTo>
                <a:lnTo>
                  <a:pt x="313" y="112"/>
                </a:lnTo>
                <a:lnTo>
                  <a:pt x="317" y="127"/>
                </a:lnTo>
                <a:lnTo>
                  <a:pt x="319" y="144"/>
                </a:lnTo>
                <a:lnTo>
                  <a:pt x="320" y="159"/>
                </a:lnTo>
                <a:lnTo>
                  <a:pt x="320" y="159"/>
                </a:lnTo>
                <a:lnTo>
                  <a:pt x="319" y="176"/>
                </a:lnTo>
                <a:lnTo>
                  <a:pt x="317" y="192"/>
                </a:lnTo>
                <a:lnTo>
                  <a:pt x="313" y="208"/>
                </a:lnTo>
                <a:lnTo>
                  <a:pt x="308" y="222"/>
                </a:lnTo>
                <a:lnTo>
                  <a:pt x="300" y="236"/>
                </a:lnTo>
                <a:lnTo>
                  <a:pt x="292" y="249"/>
                </a:lnTo>
                <a:lnTo>
                  <a:pt x="284" y="262"/>
                </a:lnTo>
                <a:lnTo>
                  <a:pt x="273" y="274"/>
                </a:lnTo>
                <a:lnTo>
                  <a:pt x="261" y="283"/>
                </a:lnTo>
                <a:lnTo>
                  <a:pt x="250" y="293"/>
                </a:lnTo>
                <a:lnTo>
                  <a:pt x="237" y="301"/>
                </a:lnTo>
                <a:lnTo>
                  <a:pt x="223" y="308"/>
                </a:lnTo>
                <a:lnTo>
                  <a:pt x="207" y="313"/>
                </a:lnTo>
                <a:lnTo>
                  <a:pt x="192" y="317"/>
                </a:lnTo>
                <a:lnTo>
                  <a:pt x="177" y="320"/>
                </a:lnTo>
                <a:lnTo>
                  <a:pt x="160" y="320"/>
                </a:lnTo>
                <a:lnTo>
                  <a:pt x="160" y="320"/>
                </a:lnTo>
                <a:lnTo>
                  <a:pt x="143" y="320"/>
                </a:lnTo>
                <a:lnTo>
                  <a:pt x="127" y="317"/>
                </a:lnTo>
                <a:lnTo>
                  <a:pt x="112" y="313"/>
                </a:lnTo>
                <a:lnTo>
                  <a:pt x="97" y="308"/>
                </a:lnTo>
                <a:lnTo>
                  <a:pt x="83" y="301"/>
                </a:lnTo>
                <a:lnTo>
                  <a:pt x="70" y="293"/>
                </a:lnTo>
                <a:lnTo>
                  <a:pt x="57" y="283"/>
                </a:lnTo>
                <a:lnTo>
                  <a:pt x="47" y="274"/>
                </a:lnTo>
                <a:lnTo>
                  <a:pt x="36" y="262"/>
                </a:lnTo>
                <a:lnTo>
                  <a:pt x="27" y="249"/>
                </a:lnTo>
                <a:lnTo>
                  <a:pt x="18" y="236"/>
                </a:lnTo>
                <a:lnTo>
                  <a:pt x="13" y="222"/>
                </a:lnTo>
                <a:lnTo>
                  <a:pt x="7" y="208"/>
                </a:lnTo>
                <a:lnTo>
                  <a:pt x="3" y="192"/>
                </a:lnTo>
                <a:lnTo>
                  <a:pt x="1" y="176"/>
                </a:lnTo>
                <a:lnTo>
                  <a:pt x="0" y="159"/>
                </a:lnTo>
                <a:lnTo>
                  <a:pt x="0" y="159"/>
                </a:lnTo>
                <a:close/>
              </a:path>
            </a:pathLst>
          </a:custGeom>
          <a:solidFill>
            <a:schemeClr val="accent3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83" name="ïṩ1íḍe">
            <a:extLst>
              <a:ext uri="{FF2B5EF4-FFF2-40B4-BE49-F238E27FC236}">
                <a16:creationId xmlns:a16="http://schemas.microsoft.com/office/drawing/2014/main" id="{C10B0893-4164-9346-BAA1-E6193478E89B}"/>
              </a:ext>
            </a:extLst>
          </p:cNvPr>
          <p:cNvSpPr/>
          <p:nvPr/>
        </p:nvSpPr>
        <p:spPr bwMode="auto">
          <a:xfrm>
            <a:off x="4986541" y="2670316"/>
            <a:ext cx="87903" cy="89215"/>
          </a:xfrm>
          <a:custGeom>
            <a:avLst/>
            <a:gdLst>
              <a:gd name="T0" fmla="*/ 239 w 270"/>
              <a:gd name="T1" fmla="*/ 0 h 270"/>
              <a:gd name="T2" fmla="*/ 214 w 270"/>
              <a:gd name="T3" fmla="*/ 3 h 270"/>
              <a:gd name="T4" fmla="*/ 189 w 270"/>
              <a:gd name="T5" fmla="*/ 8 h 270"/>
              <a:gd name="T6" fmla="*/ 165 w 270"/>
              <a:gd name="T7" fmla="*/ 15 h 270"/>
              <a:gd name="T8" fmla="*/ 142 w 270"/>
              <a:gd name="T9" fmla="*/ 25 h 270"/>
              <a:gd name="T10" fmla="*/ 121 w 270"/>
              <a:gd name="T11" fmla="*/ 37 h 270"/>
              <a:gd name="T12" fmla="*/ 101 w 270"/>
              <a:gd name="T13" fmla="*/ 50 h 270"/>
              <a:gd name="T14" fmla="*/ 83 w 270"/>
              <a:gd name="T15" fmla="*/ 66 h 270"/>
              <a:gd name="T16" fmla="*/ 66 w 270"/>
              <a:gd name="T17" fmla="*/ 82 h 270"/>
              <a:gd name="T18" fmla="*/ 50 w 270"/>
              <a:gd name="T19" fmla="*/ 102 h 270"/>
              <a:gd name="T20" fmla="*/ 37 w 270"/>
              <a:gd name="T21" fmla="*/ 121 h 270"/>
              <a:gd name="T22" fmla="*/ 25 w 270"/>
              <a:gd name="T23" fmla="*/ 143 h 270"/>
              <a:gd name="T24" fmla="*/ 15 w 270"/>
              <a:gd name="T25" fmla="*/ 165 h 270"/>
              <a:gd name="T26" fmla="*/ 7 w 270"/>
              <a:gd name="T27" fmla="*/ 189 h 270"/>
              <a:gd name="T28" fmla="*/ 3 w 270"/>
              <a:gd name="T29" fmla="*/ 214 h 270"/>
              <a:gd name="T30" fmla="*/ 0 w 270"/>
              <a:gd name="T31" fmla="*/ 239 h 270"/>
              <a:gd name="T32" fmla="*/ 0 w 270"/>
              <a:gd name="T33" fmla="*/ 256 h 270"/>
              <a:gd name="T34" fmla="*/ 3 w 270"/>
              <a:gd name="T35" fmla="*/ 262 h 270"/>
              <a:gd name="T36" fmla="*/ 7 w 270"/>
              <a:gd name="T37" fmla="*/ 267 h 270"/>
              <a:gd name="T38" fmla="*/ 14 w 270"/>
              <a:gd name="T39" fmla="*/ 270 h 270"/>
              <a:gd name="T40" fmla="*/ 21 w 270"/>
              <a:gd name="T41" fmla="*/ 270 h 270"/>
              <a:gd name="T42" fmla="*/ 28 w 270"/>
              <a:gd name="T43" fmla="*/ 267 h 270"/>
              <a:gd name="T44" fmla="*/ 33 w 270"/>
              <a:gd name="T45" fmla="*/ 262 h 270"/>
              <a:gd name="T46" fmla="*/ 35 w 270"/>
              <a:gd name="T47" fmla="*/ 256 h 270"/>
              <a:gd name="T48" fmla="*/ 37 w 270"/>
              <a:gd name="T49" fmla="*/ 241 h 270"/>
              <a:gd name="T50" fmla="*/ 39 w 270"/>
              <a:gd name="T51" fmla="*/ 219 h 270"/>
              <a:gd name="T52" fmla="*/ 45 w 270"/>
              <a:gd name="T53" fmla="*/ 188 h 270"/>
              <a:gd name="T54" fmla="*/ 62 w 270"/>
              <a:gd name="T55" fmla="*/ 149 h 270"/>
              <a:gd name="T56" fmla="*/ 85 w 270"/>
              <a:gd name="T57" fmla="*/ 114 h 270"/>
              <a:gd name="T58" fmla="*/ 114 w 270"/>
              <a:gd name="T59" fmla="*/ 85 h 270"/>
              <a:gd name="T60" fmla="*/ 149 w 270"/>
              <a:gd name="T61" fmla="*/ 62 h 270"/>
              <a:gd name="T62" fmla="*/ 188 w 270"/>
              <a:gd name="T63" fmla="*/ 45 h 270"/>
              <a:gd name="T64" fmla="*/ 219 w 270"/>
              <a:gd name="T65" fmla="*/ 39 h 270"/>
              <a:gd name="T66" fmla="*/ 241 w 270"/>
              <a:gd name="T67" fmla="*/ 37 h 270"/>
              <a:gd name="T68" fmla="*/ 256 w 270"/>
              <a:gd name="T69" fmla="*/ 36 h 270"/>
              <a:gd name="T70" fmla="*/ 262 w 270"/>
              <a:gd name="T71" fmla="*/ 32 h 270"/>
              <a:gd name="T72" fmla="*/ 267 w 270"/>
              <a:gd name="T73" fmla="*/ 28 h 270"/>
              <a:gd name="T74" fmla="*/ 270 w 270"/>
              <a:gd name="T75" fmla="*/ 22 h 270"/>
              <a:gd name="T76" fmla="*/ 270 w 270"/>
              <a:gd name="T77" fmla="*/ 14 h 270"/>
              <a:gd name="T78" fmla="*/ 267 w 270"/>
              <a:gd name="T79" fmla="*/ 8 h 270"/>
              <a:gd name="T80" fmla="*/ 262 w 270"/>
              <a:gd name="T81" fmla="*/ 3 h 270"/>
              <a:gd name="T82" fmla="*/ 256 w 270"/>
              <a:gd name="T83" fmla="*/ 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70" h="270">
                <a:moveTo>
                  <a:pt x="251" y="0"/>
                </a:moveTo>
                <a:lnTo>
                  <a:pt x="239" y="0"/>
                </a:lnTo>
                <a:lnTo>
                  <a:pt x="227" y="1"/>
                </a:lnTo>
                <a:lnTo>
                  <a:pt x="214" y="3"/>
                </a:lnTo>
                <a:lnTo>
                  <a:pt x="201" y="5"/>
                </a:lnTo>
                <a:lnTo>
                  <a:pt x="189" y="8"/>
                </a:lnTo>
                <a:lnTo>
                  <a:pt x="177" y="11"/>
                </a:lnTo>
                <a:lnTo>
                  <a:pt x="165" y="15"/>
                </a:lnTo>
                <a:lnTo>
                  <a:pt x="154" y="19"/>
                </a:lnTo>
                <a:lnTo>
                  <a:pt x="142" y="25"/>
                </a:lnTo>
                <a:lnTo>
                  <a:pt x="132" y="30"/>
                </a:lnTo>
                <a:lnTo>
                  <a:pt x="121" y="37"/>
                </a:lnTo>
                <a:lnTo>
                  <a:pt x="111" y="43"/>
                </a:lnTo>
                <a:lnTo>
                  <a:pt x="101" y="50"/>
                </a:lnTo>
                <a:lnTo>
                  <a:pt x="92" y="57"/>
                </a:lnTo>
                <a:lnTo>
                  <a:pt x="83" y="66"/>
                </a:lnTo>
                <a:lnTo>
                  <a:pt x="73" y="73"/>
                </a:lnTo>
                <a:lnTo>
                  <a:pt x="66" y="82"/>
                </a:lnTo>
                <a:lnTo>
                  <a:pt x="57" y="92"/>
                </a:lnTo>
                <a:lnTo>
                  <a:pt x="50" y="102"/>
                </a:lnTo>
                <a:lnTo>
                  <a:pt x="43" y="111"/>
                </a:lnTo>
                <a:lnTo>
                  <a:pt x="37" y="121"/>
                </a:lnTo>
                <a:lnTo>
                  <a:pt x="30" y="132"/>
                </a:lnTo>
                <a:lnTo>
                  <a:pt x="25" y="143"/>
                </a:lnTo>
                <a:lnTo>
                  <a:pt x="19" y="153"/>
                </a:lnTo>
                <a:lnTo>
                  <a:pt x="15" y="165"/>
                </a:lnTo>
                <a:lnTo>
                  <a:pt x="12" y="177"/>
                </a:lnTo>
                <a:lnTo>
                  <a:pt x="7" y="189"/>
                </a:lnTo>
                <a:lnTo>
                  <a:pt x="5" y="201"/>
                </a:lnTo>
                <a:lnTo>
                  <a:pt x="3" y="214"/>
                </a:lnTo>
                <a:lnTo>
                  <a:pt x="1" y="226"/>
                </a:lnTo>
                <a:lnTo>
                  <a:pt x="0" y="239"/>
                </a:lnTo>
                <a:lnTo>
                  <a:pt x="0" y="252"/>
                </a:lnTo>
                <a:lnTo>
                  <a:pt x="0" y="256"/>
                </a:lnTo>
                <a:lnTo>
                  <a:pt x="1" y="259"/>
                </a:lnTo>
                <a:lnTo>
                  <a:pt x="3" y="262"/>
                </a:lnTo>
                <a:lnTo>
                  <a:pt x="5" y="265"/>
                </a:lnTo>
                <a:lnTo>
                  <a:pt x="7" y="267"/>
                </a:lnTo>
                <a:lnTo>
                  <a:pt x="11" y="269"/>
                </a:lnTo>
                <a:lnTo>
                  <a:pt x="14" y="270"/>
                </a:lnTo>
                <a:lnTo>
                  <a:pt x="18" y="270"/>
                </a:lnTo>
                <a:lnTo>
                  <a:pt x="21" y="270"/>
                </a:lnTo>
                <a:lnTo>
                  <a:pt x="25" y="269"/>
                </a:lnTo>
                <a:lnTo>
                  <a:pt x="28" y="267"/>
                </a:lnTo>
                <a:lnTo>
                  <a:pt x="31" y="265"/>
                </a:lnTo>
                <a:lnTo>
                  <a:pt x="33" y="262"/>
                </a:lnTo>
                <a:lnTo>
                  <a:pt x="34" y="259"/>
                </a:lnTo>
                <a:lnTo>
                  <a:pt x="35" y="256"/>
                </a:lnTo>
                <a:lnTo>
                  <a:pt x="35" y="252"/>
                </a:lnTo>
                <a:lnTo>
                  <a:pt x="37" y="241"/>
                </a:lnTo>
                <a:lnTo>
                  <a:pt x="37" y="230"/>
                </a:lnTo>
                <a:lnTo>
                  <a:pt x="39" y="219"/>
                </a:lnTo>
                <a:lnTo>
                  <a:pt x="41" y="208"/>
                </a:lnTo>
                <a:lnTo>
                  <a:pt x="45" y="188"/>
                </a:lnTo>
                <a:lnTo>
                  <a:pt x="53" y="167"/>
                </a:lnTo>
                <a:lnTo>
                  <a:pt x="62" y="149"/>
                </a:lnTo>
                <a:lnTo>
                  <a:pt x="73" y="131"/>
                </a:lnTo>
                <a:lnTo>
                  <a:pt x="85" y="114"/>
                </a:lnTo>
                <a:lnTo>
                  <a:pt x="99" y="99"/>
                </a:lnTo>
                <a:lnTo>
                  <a:pt x="114" y="85"/>
                </a:lnTo>
                <a:lnTo>
                  <a:pt x="132" y="72"/>
                </a:lnTo>
                <a:lnTo>
                  <a:pt x="149" y="62"/>
                </a:lnTo>
                <a:lnTo>
                  <a:pt x="168" y="53"/>
                </a:lnTo>
                <a:lnTo>
                  <a:pt x="188" y="45"/>
                </a:lnTo>
                <a:lnTo>
                  <a:pt x="208" y="40"/>
                </a:lnTo>
                <a:lnTo>
                  <a:pt x="219" y="39"/>
                </a:lnTo>
                <a:lnTo>
                  <a:pt x="230" y="37"/>
                </a:lnTo>
                <a:lnTo>
                  <a:pt x="241" y="37"/>
                </a:lnTo>
                <a:lnTo>
                  <a:pt x="251" y="36"/>
                </a:lnTo>
                <a:lnTo>
                  <a:pt x="256" y="36"/>
                </a:lnTo>
                <a:lnTo>
                  <a:pt x="259" y="35"/>
                </a:lnTo>
                <a:lnTo>
                  <a:pt x="262" y="32"/>
                </a:lnTo>
                <a:lnTo>
                  <a:pt x="264" y="30"/>
                </a:lnTo>
                <a:lnTo>
                  <a:pt x="267" y="28"/>
                </a:lnTo>
                <a:lnTo>
                  <a:pt x="269" y="25"/>
                </a:lnTo>
                <a:lnTo>
                  <a:pt x="270" y="22"/>
                </a:lnTo>
                <a:lnTo>
                  <a:pt x="270" y="18"/>
                </a:lnTo>
                <a:lnTo>
                  <a:pt x="270" y="14"/>
                </a:lnTo>
                <a:lnTo>
                  <a:pt x="269" y="11"/>
                </a:lnTo>
                <a:lnTo>
                  <a:pt x="267" y="8"/>
                </a:lnTo>
                <a:lnTo>
                  <a:pt x="264" y="5"/>
                </a:lnTo>
                <a:lnTo>
                  <a:pt x="262" y="3"/>
                </a:lnTo>
                <a:lnTo>
                  <a:pt x="259" y="1"/>
                </a:lnTo>
                <a:lnTo>
                  <a:pt x="256" y="0"/>
                </a:lnTo>
                <a:lnTo>
                  <a:pt x="2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îšḷidê">
            <a:extLst>
              <a:ext uri="{FF2B5EF4-FFF2-40B4-BE49-F238E27FC236}">
                <a16:creationId xmlns:a16="http://schemas.microsoft.com/office/drawing/2014/main" id="{2E0C3209-C463-BF41-8653-A8D980DB7D0A}"/>
              </a:ext>
            </a:extLst>
          </p:cNvPr>
          <p:cNvSpPr/>
          <p:nvPr/>
        </p:nvSpPr>
        <p:spPr bwMode="auto">
          <a:xfrm>
            <a:off x="4725788" y="3394683"/>
            <a:ext cx="591065" cy="593383"/>
          </a:xfrm>
          <a:custGeom>
            <a:avLst/>
            <a:gdLst>
              <a:gd name="T0" fmla="*/ 128 w 255"/>
              <a:gd name="T1" fmla="*/ 256 h 256"/>
              <a:gd name="T2" fmla="*/ 102 w 255"/>
              <a:gd name="T3" fmla="*/ 252 h 256"/>
              <a:gd name="T4" fmla="*/ 78 w 255"/>
              <a:gd name="T5" fmla="*/ 245 h 256"/>
              <a:gd name="T6" fmla="*/ 56 w 255"/>
              <a:gd name="T7" fmla="*/ 233 h 256"/>
              <a:gd name="T8" fmla="*/ 37 w 255"/>
              <a:gd name="T9" fmla="*/ 218 h 256"/>
              <a:gd name="T10" fmla="*/ 22 w 255"/>
              <a:gd name="T11" fmla="*/ 199 h 256"/>
              <a:gd name="T12" fmla="*/ 10 w 255"/>
              <a:gd name="T13" fmla="*/ 177 h 256"/>
              <a:gd name="T14" fmla="*/ 3 w 255"/>
              <a:gd name="T15" fmla="*/ 153 h 256"/>
              <a:gd name="T16" fmla="*/ 0 w 255"/>
              <a:gd name="T17" fmla="*/ 127 h 256"/>
              <a:gd name="T18" fmla="*/ 0 w 255"/>
              <a:gd name="T19" fmla="*/ 114 h 256"/>
              <a:gd name="T20" fmla="*/ 5 w 255"/>
              <a:gd name="T21" fmla="*/ 89 h 256"/>
              <a:gd name="T22" fmla="*/ 16 w 255"/>
              <a:gd name="T23" fmla="*/ 67 h 256"/>
              <a:gd name="T24" fmla="*/ 29 w 255"/>
              <a:gd name="T25" fmla="*/ 47 h 256"/>
              <a:gd name="T26" fmla="*/ 46 w 255"/>
              <a:gd name="T27" fmla="*/ 29 h 256"/>
              <a:gd name="T28" fmla="*/ 66 w 255"/>
              <a:gd name="T29" fmla="*/ 15 h 256"/>
              <a:gd name="T30" fmla="*/ 90 w 255"/>
              <a:gd name="T31" fmla="*/ 6 h 256"/>
              <a:gd name="T32" fmla="*/ 115 w 255"/>
              <a:gd name="T33" fmla="*/ 1 h 256"/>
              <a:gd name="T34" fmla="*/ 128 w 255"/>
              <a:gd name="T35" fmla="*/ 0 h 256"/>
              <a:gd name="T36" fmla="*/ 154 w 255"/>
              <a:gd name="T37" fmla="*/ 2 h 256"/>
              <a:gd name="T38" fmla="*/ 177 w 255"/>
              <a:gd name="T39" fmla="*/ 10 h 256"/>
              <a:gd name="T40" fmla="*/ 199 w 255"/>
              <a:gd name="T41" fmla="*/ 22 h 256"/>
              <a:gd name="T42" fmla="*/ 218 w 255"/>
              <a:gd name="T43" fmla="*/ 38 h 256"/>
              <a:gd name="T44" fmla="*/ 233 w 255"/>
              <a:gd name="T45" fmla="*/ 56 h 256"/>
              <a:gd name="T46" fmla="*/ 245 w 255"/>
              <a:gd name="T47" fmla="*/ 78 h 256"/>
              <a:gd name="T48" fmla="*/ 253 w 255"/>
              <a:gd name="T49" fmla="*/ 102 h 256"/>
              <a:gd name="T50" fmla="*/ 255 w 255"/>
              <a:gd name="T51" fmla="*/ 127 h 256"/>
              <a:gd name="T52" fmla="*/ 254 w 255"/>
              <a:gd name="T53" fmla="*/ 140 h 256"/>
              <a:gd name="T54" fmla="*/ 249 w 255"/>
              <a:gd name="T55" fmla="*/ 166 h 256"/>
              <a:gd name="T56" fmla="*/ 240 w 255"/>
              <a:gd name="T57" fmla="*/ 189 h 256"/>
              <a:gd name="T58" fmla="*/ 226 w 255"/>
              <a:gd name="T59" fmla="*/ 209 h 256"/>
              <a:gd name="T60" fmla="*/ 209 w 255"/>
              <a:gd name="T61" fmla="*/ 226 h 256"/>
              <a:gd name="T62" fmla="*/ 188 w 255"/>
              <a:gd name="T63" fmla="*/ 239 h 256"/>
              <a:gd name="T64" fmla="*/ 166 w 255"/>
              <a:gd name="T65" fmla="*/ 250 h 256"/>
              <a:gd name="T66" fmla="*/ 141 w 255"/>
              <a:gd name="T67" fmla="*/ 255 h 256"/>
              <a:gd name="T68" fmla="*/ 128 w 255"/>
              <a:gd name="T69" fmla="*/ 25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5" h="256">
                <a:moveTo>
                  <a:pt x="128" y="256"/>
                </a:moveTo>
                <a:lnTo>
                  <a:pt x="128" y="256"/>
                </a:lnTo>
                <a:lnTo>
                  <a:pt x="115" y="255"/>
                </a:lnTo>
                <a:lnTo>
                  <a:pt x="102" y="252"/>
                </a:lnTo>
                <a:lnTo>
                  <a:pt x="90" y="250"/>
                </a:lnTo>
                <a:lnTo>
                  <a:pt x="78" y="245"/>
                </a:lnTo>
                <a:lnTo>
                  <a:pt x="66" y="239"/>
                </a:lnTo>
                <a:lnTo>
                  <a:pt x="56" y="233"/>
                </a:lnTo>
                <a:lnTo>
                  <a:pt x="46" y="226"/>
                </a:lnTo>
                <a:lnTo>
                  <a:pt x="37" y="218"/>
                </a:lnTo>
                <a:lnTo>
                  <a:pt x="29" y="209"/>
                </a:lnTo>
                <a:lnTo>
                  <a:pt x="22" y="199"/>
                </a:lnTo>
                <a:lnTo>
                  <a:pt x="16" y="189"/>
                </a:lnTo>
                <a:lnTo>
                  <a:pt x="10" y="177"/>
                </a:lnTo>
                <a:lnTo>
                  <a:pt x="5" y="166"/>
                </a:lnTo>
                <a:lnTo>
                  <a:pt x="3" y="153"/>
                </a:lnTo>
                <a:lnTo>
                  <a:pt x="0" y="140"/>
                </a:lnTo>
                <a:lnTo>
                  <a:pt x="0" y="127"/>
                </a:lnTo>
                <a:lnTo>
                  <a:pt x="0" y="127"/>
                </a:lnTo>
                <a:lnTo>
                  <a:pt x="0" y="114"/>
                </a:lnTo>
                <a:lnTo>
                  <a:pt x="3" y="102"/>
                </a:lnTo>
                <a:lnTo>
                  <a:pt x="5" y="89"/>
                </a:lnTo>
                <a:lnTo>
                  <a:pt x="10" y="78"/>
                </a:lnTo>
                <a:lnTo>
                  <a:pt x="16" y="67"/>
                </a:lnTo>
                <a:lnTo>
                  <a:pt x="22" y="56"/>
                </a:lnTo>
                <a:lnTo>
                  <a:pt x="29" y="47"/>
                </a:lnTo>
                <a:lnTo>
                  <a:pt x="37" y="38"/>
                </a:lnTo>
                <a:lnTo>
                  <a:pt x="46" y="29"/>
                </a:lnTo>
                <a:lnTo>
                  <a:pt x="56" y="22"/>
                </a:lnTo>
                <a:lnTo>
                  <a:pt x="66" y="15"/>
                </a:lnTo>
                <a:lnTo>
                  <a:pt x="78" y="10"/>
                </a:lnTo>
                <a:lnTo>
                  <a:pt x="90" y="6"/>
                </a:lnTo>
                <a:lnTo>
                  <a:pt x="102" y="2"/>
                </a:lnTo>
                <a:lnTo>
                  <a:pt x="115" y="1"/>
                </a:lnTo>
                <a:lnTo>
                  <a:pt x="128" y="0"/>
                </a:lnTo>
                <a:lnTo>
                  <a:pt x="128" y="0"/>
                </a:lnTo>
                <a:lnTo>
                  <a:pt x="141" y="1"/>
                </a:lnTo>
                <a:lnTo>
                  <a:pt x="154" y="2"/>
                </a:lnTo>
                <a:lnTo>
                  <a:pt x="166" y="6"/>
                </a:lnTo>
                <a:lnTo>
                  <a:pt x="177" y="10"/>
                </a:lnTo>
                <a:lnTo>
                  <a:pt x="188" y="15"/>
                </a:lnTo>
                <a:lnTo>
                  <a:pt x="199" y="22"/>
                </a:lnTo>
                <a:lnTo>
                  <a:pt x="209" y="29"/>
                </a:lnTo>
                <a:lnTo>
                  <a:pt x="218" y="38"/>
                </a:lnTo>
                <a:lnTo>
                  <a:pt x="226" y="47"/>
                </a:lnTo>
                <a:lnTo>
                  <a:pt x="233" y="56"/>
                </a:lnTo>
                <a:lnTo>
                  <a:pt x="240" y="67"/>
                </a:lnTo>
                <a:lnTo>
                  <a:pt x="245" y="78"/>
                </a:lnTo>
                <a:lnTo>
                  <a:pt x="249" y="89"/>
                </a:lnTo>
                <a:lnTo>
                  <a:pt x="253" y="102"/>
                </a:lnTo>
                <a:lnTo>
                  <a:pt x="254" y="114"/>
                </a:lnTo>
                <a:lnTo>
                  <a:pt x="255" y="127"/>
                </a:lnTo>
                <a:lnTo>
                  <a:pt x="255" y="127"/>
                </a:lnTo>
                <a:lnTo>
                  <a:pt x="254" y="140"/>
                </a:lnTo>
                <a:lnTo>
                  <a:pt x="253" y="153"/>
                </a:lnTo>
                <a:lnTo>
                  <a:pt x="249" y="166"/>
                </a:lnTo>
                <a:lnTo>
                  <a:pt x="245" y="177"/>
                </a:lnTo>
                <a:lnTo>
                  <a:pt x="240" y="189"/>
                </a:lnTo>
                <a:lnTo>
                  <a:pt x="233" y="199"/>
                </a:lnTo>
                <a:lnTo>
                  <a:pt x="226" y="209"/>
                </a:lnTo>
                <a:lnTo>
                  <a:pt x="218" y="218"/>
                </a:lnTo>
                <a:lnTo>
                  <a:pt x="209" y="226"/>
                </a:lnTo>
                <a:lnTo>
                  <a:pt x="199" y="233"/>
                </a:lnTo>
                <a:lnTo>
                  <a:pt x="188" y="239"/>
                </a:lnTo>
                <a:lnTo>
                  <a:pt x="177" y="245"/>
                </a:lnTo>
                <a:lnTo>
                  <a:pt x="166" y="250"/>
                </a:lnTo>
                <a:lnTo>
                  <a:pt x="154" y="252"/>
                </a:lnTo>
                <a:lnTo>
                  <a:pt x="141" y="255"/>
                </a:lnTo>
                <a:lnTo>
                  <a:pt x="128" y="256"/>
                </a:lnTo>
                <a:lnTo>
                  <a:pt x="128" y="256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grpSp>
        <p:nvGrpSpPr>
          <p:cNvPr id="34" name="ïśḷîḑé">
            <a:extLst>
              <a:ext uri="{FF2B5EF4-FFF2-40B4-BE49-F238E27FC236}">
                <a16:creationId xmlns:a16="http://schemas.microsoft.com/office/drawing/2014/main" id="{8ED076BE-4986-0E47-89BD-C250FDCF054B}"/>
              </a:ext>
            </a:extLst>
          </p:cNvPr>
          <p:cNvGrpSpPr/>
          <p:nvPr/>
        </p:nvGrpSpPr>
        <p:grpSpPr>
          <a:xfrm>
            <a:off x="6569997" y="2814312"/>
            <a:ext cx="257010" cy="373023"/>
            <a:chOff x="5079289" y="3762422"/>
            <a:chExt cx="310982" cy="451357"/>
          </a:xfrm>
          <a:solidFill>
            <a:schemeClr val="bg1"/>
          </a:solidFill>
        </p:grpSpPr>
        <p:sp>
          <p:nvSpPr>
            <p:cNvPr id="80" name="îṣḻîḑe">
              <a:extLst>
                <a:ext uri="{FF2B5EF4-FFF2-40B4-BE49-F238E27FC236}">
                  <a16:creationId xmlns:a16="http://schemas.microsoft.com/office/drawing/2014/main" id="{80DEF4E8-A0B0-4E46-9190-CE85AF801BDA}"/>
                </a:ext>
              </a:extLst>
            </p:cNvPr>
            <p:cNvSpPr/>
            <p:nvPr/>
          </p:nvSpPr>
          <p:spPr bwMode="auto">
            <a:xfrm>
              <a:off x="5079289" y="3762422"/>
              <a:ext cx="310982" cy="451357"/>
            </a:xfrm>
            <a:custGeom>
              <a:avLst/>
              <a:gdLst>
                <a:gd name="connsiteX0" fmla="*/ 146050 w 228600"/>
                <a:gd name="connsiteY0" fmla="*/ 228600 h 331788"/>
                <a:gd name="connsiteX1" fmla="*/ 146050 w 228600"/>
                <a:gd name="connsiteY1" fmla="*/ 242888 h 331788"/>
                <a:gd name="connsiteX2" fmla="*/ 149225 w 228600"/>
                <a:gd name="connsiteY2" fmla="*/ 235744 h 331788"/>
                <a:gd name="connsiteX3" fmla="*/ 147108 w 228600"/>
                <a:gd name="connsiteY3" fmla="*/ 228600 h 331788"/>
                <a:gd name="connsiteX4" fmla="*/ 146050 w 228600"/>
                <a:gd name="connsiteY4" fmla="*/ 228600 h 331788"/>
                <a:gd name="connsiteX5" fmla="*/ 123825 w 228600"/>
                <a:gd name="connsiteY5" fmla="*/ 193675 h 331788"/>
                <a:gd name="connsiteX6" fmla="*/ 160656 w 228600"/>
                <a:gd name="connsiteY6" fmla="*/ 214159 h 331788"/>
                <a:gd name="connsiteX7" fmla="*/ 169863 w 228600"/>
                <a:gd name="connsiteY7" fmla="*/ 235923 h 331788"/>
                <a:gd name="connsiteX8" fmla="*/ 156709 w 228600"/>
                <a:gd name="connsiteY8" fmla="*/ 260248 h 331788"/>
                <a:gd name="connsiteX9" fmla="*/ 123825 w 228600"/>
                <a:gd name="connsiteY9" fmla="*/ 273050 h 331788"/>
                <a:gd name="connsiteX10" fmla="*/ 123825 w 228600"/>
                <a:gd name="connsiteY10" fmla="*/ 193675 h 331788"/>
                <a:gd name="connsiteX11" fmla="*/ 100630 w 228600"/>
                <a:gd name="connsiteY11" fmla="*/ 57150 h 331788"/>
                <a:gd name="connsiteX12" fmla="*/ 103188 w 228600"/>
                <a:gd name="connsiteY12" fmla="*/ 57150 h 331788"/>
                <a:gd name="connsiteX13" fmla="*/ 103188 w 228600"/>
                <a:gd name="connsiteY13" fmla="*/ 136525 h 331788"/>
                <a:gd name="connsiteX14" fmla="*/ 100630 w 228600"/>
                <a:gd name="connsiteY14" fmla="*/ 135224 h 331788"/>
                <a:gd name="connsiteX15" fmla="*/ 57150 w 228600"/>
                <a:gd name="connsiteY15" fmla="*/ 93584 h 331788"/>
                <a:gd name="connsiteX16" fmla="*/ 69938 w 228600"/>
                <a:gd name="connsiteY16" fmla="*/ 68861 h 331788"/>
                <a:gd name="connsiteX17" fmla="*/ 100630 w 228600"/>
                <a:gd name="connsiteY17" fmla="*/ 57150 h 331788"/>
                <a:gd name="connsiteX18" fmla="*/ 103893 w 228600"/>
                <a:gd name="connsiteY18" fmla="*/ 20637 h 331788"/>
                <a:gd name="connsiteX19" fmla="*/ 103893 w 228600"/>
                <a:gd name="connsiteY19" fmla="*/ 41388 h 331788"/>
                <a:gd name="connsiteX20" fmla="*/ 101292 w 228600"/>
                <a:gd name="connsiteY20" fmla="*/ 41388 h 331788"/>
                <a:gd name="connsiteX21" fmla="*/ 45354 w 228600"/>
                <a:gd name="connsiteY21" fmla="*/ 63436 h 331788"/>
                <a:gd name="connsiteX22" fmla="*/ 24540 w 228600"/>
                <a:gd name="connsiteY22" fmla="*/ 108828 h 331788"/>
                <a:gd name="connsiteX23" fmla="*/ 31045 w 228600"/>
                <a:gd name="connsiteY23" fmla="*/ 138658 h 331788"/>
                <a:gd name="connsiteX24" fmla="*/ 51859 w 228600"/>
                <a:gd name="connsiteY24" fmla="*/ 162003 h 331788"/>
                <a:gd name="connsiteX25" fmla="*/ 101292 w 228600"/>
                <a:gd name="connsiteY25" fmla="*/ 185347 h 331788"/>
                <a:gd name="connsiteX26" fmla="*/ 103893 w 228600"/>
                <a:gd name="connsiteY26" fmla="*/ 185347 h 331788"/>
                <a:gd name="connsiteX27" fmla="*/ 103893 w 228600"/>
                <a:gd name="connsiteY27" fmla="*/ 274836 h 331788"/>
                <a:gd name="connsiteX28" fmla="*/ 101292 w 228600"/>
                <a:gd name="connsiteY28" fmla="*/ 274836 h 331788"/>
                <a:gd name="connsiteX29" fmla="*/ 67469 w 228600"/>
                <a:gd name="connsiteY29" fmla="*/ 269648 h 331788"/>
                <a:gd name="connsiteX30" fmla="*/ 59664 w 228600"/>
                <a:gd name="connsiteY30" fmla="*/ 260570 h 331788"/>
                <a:gd name="connsiteX31" fmla="*/ 60965 w 228600"/>
                <a:gd name="connsiteY31" fmla="*/ 257976 h 331788"/>
                <a:gd name="connsiteX32" fmla="*/ 67469 w 228600"/>
                <a:gd name="connsiteY32" fmla="*/ 254085 h 331788"/>
                <a:gd name="connsiteX33" fmla="*/ 80478 w 228600"/>
                <a:gd name="connsiteY33" fmla="*/ 230740 h 331788"/>
                <a:gd name="connsiteX34" fmla="*/ 72673 w 228600"/>
                <a:gd name="connsiteY34" fmla="*/ 212583 h 331788"/>
                <a:gd name="connsiteX35" fmla="*/ 51859 w 228600"/>
                <a:gd name="connsiteY35" fmla="*/ 206098 h 331788"/>
                <a:gd name="connsiteX36" fmla="*/ 29744 w 228600"/>
                <a:gd name="connsiteY36" fmla="*/ 213880 h 331788"/>
                <a:gd name="connsiteX37" fmla="*/ 20638 w 228600"/>
                <a:gd name="connsiteY37" fmla="*/ 237225 h 331788"/>
                <a:gd name="connsiteX38" fmla="*/ 44053 w 228600"/>
                <a:gd name="connsiteY38" fmla="*/ 276133 h 331788"/>
                <a:gd name="connsiteX39" fmla="*/ 101292 w 228600"/>
                <a:gd name="connsiteY39" fmla="*/ 290399 h 331788"/>
                <a:gd name="connsiteX40" fmla="*/ 103893 w 228600"/>
                <a:gd name="connsiteY40" fmla="*/ 290399 h 331788"/>
                <a:gd name="connsiteX41" fmla="*/ 103893 w 228600"/>
                <a:gd name="connsiteY41" fmla="*/ 311150 h 331788"/>
                <a:gd name="connsiteX42" fmla="*/ 124707 w 228600"/>
                <a:gd name="connsiteY42" fmla="*/ 311150 h 331788"/>
                <a:gd name="connsiteX43" fmla="*/ 124707 w 228600"/>
                <a:gd name="connsiteY43" fmla="*/ 290399 h 331788"/>
                <a:gd name="connsiteX44" fmla="*/ 185848 w 228600"/>
                <a:gd name="connsiteY44" fmla="*/ 265757 h 331788"/>
                <a:gd name="connsiteX45" fmla="*/ 207963 w 228600"/>
                <a:gd name="connsiteY45" fmla="*/ 219068 h 331788"/>
                <a:gd name="connsiteX46" fmla="*/ 184548 w 228600"/>
                <a:gd name="connsiteY46" fmla="*/ 174972 h 331788"/>
                <a:gd name="connsiteX47" fmla="*/ 124707 w 228600"/>
                <a:gd name="connsiteY47" fmla="*/ 143846 h 331788"/>
                <a:gd name="connsiteX48" fmla="*/ 124707 w 228600"/>
                <a:gd name="connsiteY48" fmla="*/ 56951 h 331788"/>
                <a:gd name="connsiteX49" fmla="*/ 146822 w 228600"/>
                <a:gd name="connsiteY49" fmla="*/ 62139 h 331788"/>
                <a:gd name="connsiteX50" fmla="*/ 155928 w 228600"/>
                <a:gd name="connsiteY50" fmla="*/ 71217 h 331788"/>
                <a:gd name="connsiteX51" fmla="*/ 149424 w 228600"/>
                <a:gd name="connsiteY51" fmla="*/ 82890 h 331788"/>
                <a:gd name="connsiteX52" fmla="*/ 142919 w 228600"/>
                <a:gd name="connsiteY52" fmla="*/ 98453 h 331788"/>
                <a:gd name="connsiteX53" fmla="*/ 150725 w 228600"/>
                <a:gd name="connsiteY53" fmla="*/ 114016 h 331788"/>
                <a:gd name="connsiteX54" fmla="*/ 168937 w 228600"/>
                <a:gd name="connsiteY54" fmla="*/ 120501 h 331788"/>
                <a:gd name="connsiteX55" fmla="*/ 189751 w 228600"/>
                <a:gd name="connsiteY55" fmla="*/ 112719 h 331788"/>
                <a:gd name="connsiteX56" fmla="*/ 198857 w 228600"/>
                <a:gd name="connsiteY56" fmla="*/ 91968 h 331788"/>
                <a:gd name="connsiteX57" fmla="*/ 187149 w 228600"/>
                <a:gd name="connsiteY57" fmla="*/ 64733 h 331788"/>
                <a:gd name="connsiteX58" fmla="*/ 155928 w 228600"/>
                <a:gd name="connsiteY58" fmla="*/ 46576 h 331788"/>
                <a:gd name="connsiteX59" fmla="*/ 124707 w 228600"/>
                <a:gd name="connsiteY59" fmla="*/ 41388 h 331788"/>
                <a:gd name="connsiteX60" fmla="*/ 124707 w 228600"/>
                <a:gd name="connsiteY60" fmla="*/ 20637 h 331788"/>
                <a:gd name="connsiteX61" fmla="*/ 103893 w 228600"/>
                <a:gd name="connsiteY61" fmla="*/ 20637 h 331788"/>
                <a:gd name="connsiteX62" fmla="*/ 83127 w 228600"/>
                <a:gd name="connsiteY62" fmla="*/ 0 h 331788"/>
                <a:gd name="connsiteX63" fmla="*/ 145473 w 228600"/>
                <a:gd name="connsiteY63" fmla="*/ 0 h 331788"/>
                <a:gd name="connsiteX64" fmla="*/ 145473 w 228600"/>
                <a:gd name="connsiteY64" fmla="*/ 23329 h 331788"/>
                <a:gd name="connsiteX65" fmla="*/ 161059 w 228600"/>
                <a:gd name="connsiteY65" fmla="*/ 27217 h 331788"/>
                <a:gd name="connsiteX66" fmla="*/ 201324 w 228600"/>
                <a:gd name="connsiteY66" fmla="*/ 50546 h 331788"/>
                <a:gd name="connsiteX67" fmla="*/ 219508 w 228600"/>
                <a:gd name="connsiteY67" fmla="*/ 92019 h 331788"/>
                <a:gd name="connsiteX68" fmla="*/ 203922 w 228600"/>
                <a:gd name="connsiteY68" fmla="*/ 127013 h 331788"/>
                <a:gd name="connsiteX69" fmla="*/ 171450 w 228600"/>
                <a:gd name="connsiteY69" fmla="*/ 141269 h 331788"/>
                <a:gd name="connsiteX70" fmla="*/ 198726 w 228600"/>
                <a:gd name="connsiteY70" fmla="*/ 158118 h 331788"/>
                <a:gd name="connsiteX71" fmla="*/ 228600 w 228600"/>
                <a:gd name="connsiteY71" fmla="*/ 219032 h 331788"/>
                <a:gd name="connsiteX72" fmla="*/ 198726 w 228600"/>
                <a:gd name="connsiteY72" fmla="*/ 281242 h 331788"/>
                <a:gd name="connsiteX73" fmla="*/ 145473 w 228600"/>
                <a:gd name="connsiteY73" fmla="*/ 307163 h 331788"/>
                <a:gd name="connsiteX74" fmla="*/ 145473 w 228600"/>
                <a:gd name="connsiteY74" fmla="*/ 331788 h 331788"/>
                <a:gd name="connsiteX75" fmla="*/ 83127 w 228600"/>
                <a:gd name="connsiteY75" fmla="*/ 331788 h 331788"/>
                <a:gd name="connsiteX76" fmla="*/ 83127 w 228600"/>
                <a:gd name="connsiteY76" fmla="*/ 309755 h 331788"/>
                <a:gd name="connsiteX77" fmla="*/ 32471 w 228600"/>
                <a:gd name="connsiteY77" fmla="*/ 292907 h 331788"/>
                <a:gd name="connsiteX78" fmla="*/ 0 w 228600"/>
                <a:gd name="connsiteY78" fmla="*/ 237177 h 331788"/>
                <a:gd name="connsiteX79" fmla="*/ 15586 w 228600"/>
                <a:gd name="connsiteY79" fmla="*/ 199591 h 331788"/>
                <a:gd name="connsiteX80" fmla="*/ 50656 w 228600"/>
                <a:gd name="connsiteY80" fmla="*/ 185335 h 331788"/>
                <a:gd name="connsiteX81" fmla="*/ 40265 w 228600"/>
                <a:gd name="connsiteY81" fmla="*/ 178854 h 331788"/>
                <a:gd name="connsiteX82" fmla="*/ 12989 w 228600"/>
                <a:gd name="connsiteY82" fmla="*/ 149045 h 331788"/>
                <a:gd name="connsiteX83" fmla="*/ 3896 w 228600"/>
                <a:gd name="connsiteY83" fmla="*/ 108868 h 331788"/>
                <a:gd name="connsiteX84" fmla="*/ 31173 w 228600"/>
                <a:gd name="connsiteY84" fmla="*/ 47954 h 331788"/>
                <a:gd name="connsiteX85" fmla="*/ 83127 w 228600"/>
                <a:gd name="connsiteY85" fmla="*/ 23329 h 331788"/>
                <a:gd name="connsiteX86" fmla="*/ 83127 w 228600"/>
                <a:gd name="connsiteY86" fmla="*/ 0 h 33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28600" h="331788">
                  <a:moveTo>
                    <a:pt x="146050" y="228600"/>
                  </a:moveTo>
                  <a:cubicBezTo>
                    <a:pt x="146050" y="228600"/>
                    <a:pt x="146050" y="228600"/>
                    <a:pt x="146050" y="242888"/>
                  </a:cubicBezTo>
                  <a:cubicBezTo>
                    <a:pt x="148167" y="240507"/>
                    <a:pt x="149225" y="238125"/>
                    <a:pt x="149225" y="235744"/>
                  </a:cubicBezTo>
                  <a:cubicBezTo>
                    <a:pt x="149225" y="234553"/>
                    <a:pt x="149225" y="232172"/>
                    <a:pt x="147108" y="228600"/>
                  </a:cubicBezTo>
                  <a:cubicBezTo>
                    <a:pt x="146050" y="228600"/>
                    <a:pt x="146050" y="228600"/>
                    <a:pt x="146050" y="228600"/>
                  </a:cubicBezTo>
                  <a:close/>
                  <a:moveTo>
                    <a:pt x="123825" y="193675"/>
                  </a:moveTo>
                  <a:cubicBezTo>
                    <a:pt x="142240" y="201356"/>
                    <a:pt x="155394" y="207758"/>
                    <a:pt x="160656" y="214159"/>
                  </a:cubicBezTo>
                  <a:cubicBezTo>
                    <a:pt x="167232" y="220560"/>
                    <a:pt x="169863" y="228242"/>
                    <a:pt x="169863" y="235923"/>
                  </a:cubicBezTo>
                  <a:cubicBezTo>
                    <a:pt x="169863" y="244885"/>
                    <a:pt x="165917" y="253846"/>
                    <a:pt x="156709" y="260248"/>
                  </a:cubicBezTo>
                  <a:cubicBezTo>
                    <a:pt x="148817" y="267929"/>
                    <a:pt x="136979" y="271770"/>
                    <a:pt x="123825" y="273050"/>
                  </a:cubicBezTo>
                  <a:cubicBezTo>
                    <a:pt x="123825" y="273050"/>
                    <a:pt x="123825" y="273050"/>
                    <a:pt x="123825" y="193675"/>
                  </a:cubicBezTo>
                  <a:close/>
                  <a:moveTo>
                    <a:pt x="100630" y="57150"/>
                  </a:moveTo>
                  <a:cubicBezTo>
                    <a:pt x="100630" y="57150"/>
                    <a:pt x="100630" y="57150"/>
                    <a:pt x="103188" y="57150"/>
                  </a:cubicBezTo>
                  <a:cubicBezTo>
                    <a:pt x="103188" y="57150"/>
                    <a:pt x="103188" y="57150"/>
                    <a:pt x="103188" y="136525"/>
                  </a:cubicBezTo>
                  <a:cubicBezTo>
                    <a:pt x="103188" y="136525"/>
                    <a:pt x="103188" y="136525"/>
                    <a:pt x="100630" y="135224"/>
                  </a:cubicBezTo>
                  <a:cubicBezTo>
                    <a:pt x="72496" y="124814"/>
                    <a:pt x="57150" y="110500"/>
                    <a:pt x="57150" y="93584"/>
                  </a:cubicBezTo>
                  <a:cubicBezTo>
                    <a:pt x="57150" y="84476"/>
                    <a:pt x="60986" y="76668"/>
                    <a:pt x="69938" y="68861"/>
                  </a:cubicBezTo>
                  <a:cubicBezTo>
                    <a:pt x="77611" y="62355"/>
                    <a:pt x="87842" y="58451"/>
                    <a:pt x="100630" y="57150"/>
                  </a:cubicBezTo>
                  <a:close/>
                  <a:moveTo>
                    <a:pt x="103893" y="20637"/>
                  </a:moveTo>
                  <a:cubicBezTo>
                    <a:pt x="103893" y="20637"/>
                    <a:pt x="103893" y="20637"/>
                    <a:pt x="103893" y="41388"/>
                  </a:cubicBezTo>
                  <a:cubicBezTo>
                    <a:pt x="103893" y="41388"/>
                    <a:pt x="103893" y="41388"/>
                    <a:pt x="101292" y="41388"/>
                  </a:cubicBezTo>
                  <a:cubicBezTo>
                    <a:pt x="77876" y="43982"/>
                    <a:pt x="59664" y="50466"/>
                    <a:pt x="45354" y="63436"/>
                  </a:cubicBezTo>
                  <a:cubicBezTo>
                    <a:pt x="31045" y="76405"/>
                    <a:pt x="24540" y="90671"/>
                    <a:pt x="24540" y="108828"/>
                  </a:cubicBezTo>
                  <a:cubicBezTo>
                    <a:pt x="24540" y="119204"/>
                    <a:pt x="27142" y="129579"/>
                    <a:pt x="31045" y="138658"/>
                  </a:cubicBezTo>
                  <a:cubicBezTo>
                    <a:pt x="36248" y="147736"/>
                    <a:pt x="42753" y="155518"/>
                    <a:pt x="51859" y="162003"/>
                  </a:cubicBezTo>
                  <a:cubicBezTo>
                    <a:pt x="60965" y="167190"/>
                    <a:pt x="76575" y="174972"/>
                    <a:pt x="101292" y="185347"/>
                  </a:cubicBezTo>
                  <a:cubicBezTo>
                    <a:pt x="101292" y="185347"/>
                    <a:pt x="101292" y="185347"/>
                    <a:pt x="103893" y="185347"/>
                  </a:cubicBezTo>
                  <a:cubicBezTo>
                    <a:pt x="103893" y="185347"/>
                    <a:pt x="103893" y="185347"/>
                    <a:pt x="103893" y="274836"/>
                  </a:cubicBezTo>
                  <a:cubicBezTo>
                    <a:pt x="103893" y="274836"/>
                    <a:pt x="103893" y="274836"/>
                    <a:pt x="101292" y="274836"/>
                  </a:cubicBezTo>
                  <a:cubicBezTo>
                    <a:pt x="85681" y="274836"/>
                    <a:pt x="75274" y="272242"/>
                    <a:pt x="67469" y="269648"/>
                  </a:cubicBezTo>
                  <a:cubicBezTo>
                    <a:pt x="62266" y="267054"/>
                    <a:pt x="59664" y="264460"/>
                    <a:pt x="59664" y="260570"/>
                  </a:cubicBezTo>
                  <a:cubicBezTo>
                    <a:pt x="59664" y="260570"/>
                    <a:pt x="60965" y="259273"/>
                    <a:pt x="60965" y="257976"/>
                  </a:cubicBezTo>
                  <a:cubicBezTo>
                    <a:pt x="62266" y="256679"/>
                    <a:pt x="63567" y="255382"/>
                    <a:pt x="67469" y="254085"/>
                  </a:cubicBezTo>
                  <a:cubicBezTo>
                    <a:pt x="76575" y="247600"/>
                    <a:pt x="80478" y="239819"/>
                    <a:pt x="80478" y="230740"/>
                  </a:cubicBezTo>
                  <a:cubicBezTo>
                    <a:pt x="80478" y="222959"/>
                    <a:pt x="77876" y="217771"/>
                    <a:pt x="72673" y="212583"/>
                  </a:cubicBezTo>
                  <a:cubicBezTo>
                    <a:pt x="67469" y="208692"/>
                    <a:pt x="60965" y="206098"/>
                    <a:pt x="51859" y="206098"/>
                  </a:cubicBezTo>
                  <a:cubicBezTo>
                    <a:pt x="42753" y="206098"/>
                    <a:pt x="36248" y="208692"/>
                    <a:pt x="29744" y="213880"/>
                  </a:cubicBezTo>
                  <a:cubicBezTo>
                    <a:pt x="23240" y="220365"/>
                    <a:pt x="20638" y="226849"/>
                    <a:pt x="20638" y="237225"/>
                  </a:cubicBezTo>
                  <a:cubicBezTo>
                    <a:pt x="20638" y="252788"/>
                    <a:pt x="28443" y="265757"/>
                    <a:pt x="44053" y="276133"/>
                  </a:cubicBezTo>
                  <a:cubicBezTo>
                    <a:pt x="59664" y="285211"/>
                    <a:pt x="77876" y="290399"/>
                    <a:pt x="101292" y="290399"/>
                  </a:cubicBezTo>
                  <a:cubicBezTo>
                    <a:pt x="101292" y="290399"/>
                    <a:pt x="101292" y="290399"/>
                    <a:pt x="103893" y="290399"/>
                  </a:cubicBezTo>
                  <a:cubicBezTo>
                    <a:pt x="103893" y="290399"/>
                    <a:pt x="103893" y="290399"/>
                    <a:pt x="103893" y="311150"/>
                  </a:cubicBezTo>
                  <a:cubicBezTo>
                    <a:pt x="103893" y="311150"/>
                    <a:pt x="103893" y="311150"/>
                    <a:pt x="124707" y="311150"/>
                  </a:cubicBezTo>
                  <a:cubicBezTo>
                    <a:pt x="124707" y="311150"/>
                    <a:pt x="124707" y="311150"/>
                    <a:pt x="124707" y="290399"/>
                  </a:cubicBezTo>
                  <a:cubicBezTo>
                    <a:pt x="150725" y="286508"/>
                    <a:pt x="171539" y="278727"/>
                    <a:pt x="185848" y="265757"/>
                  </a:cubicBezTo>
                  <a:cubicBezTo>
                    <a:pt x="200158" y="252788"/>
                    <a:pt x="207963" y="237225"/>
                    <a:pt x="207963" y="219068"/>
                  </a:cubicBezTo>
                  <a:cubicBezTo>
                    <a:pt x="207963" y="202208"/>
                    <a:pt x="200158" y="187941"/>
                    <a:pt x="184548" y="174972"/>
                  </a:cubicBezTo>
                  <a:cubicBezTo>
                    <a:pt x="174141" y="164597"/>
                    <a:pt x="153327" y="154221"/>
                    <a:pt x="124707" y="143846"/>
                  </a:cubicBezTo>
                  <a:cubicBezTo>
                    <a:pt x="124707" y="143846"/>
                    <a:pt x="124707" y="143846"/>
                    <a:pt x="124707" y="56951"/>
                  </a:cubicBezTo>
                  <a:cubicBezTo>
                    <a:pt x="133813" y="56951"/>
                    <a:pt x="141619" y="58248"/>
                    <a:pt x="146822" y="62139"/>
                  </a:cubicBezTo>
                  <a:cubicBezTo>
                    <a:pt x="153327" y="64733"/>
                    <a:pt x="155928" y="67327"/>
                    <a:pt x="155928" y="71217"/>
                  </a:cubicBezTo>
                  <a:cubicBezTo>
                    <a:pt x="155928" y="73811"/>
                    <a:pt x="153327" y="77702"/>
                    <a:pt x="149424" y="82890"/>
                  </a:cubicBezTo>
                  <a:cubicBezTo>
                    <a:pt x="145521" y="89374"/>
                    <a:pt x="142919" y="94562"/>
                    <a:pt x="142919" y="98453"/>
                  </a:cubicBezTo>
                  <a:cubicBezTo>
                    <a:pt x="142919" y="104938"/>
                    <a:pt x="145521" y="110125"/>
                    <a:pt x="150725" y="114016"/>
                  </a:cubicBezTo>
                  <a:cubicBezTo>
                    <a:pt x="155928" y="119204"/>
                    <a:pt x="162433" y="120501"/>
                    <a:pt x="168937" y="120501"/>
                  </a:cubicBezTo>
                  <a:cubicBezTo>
                    <a:pt x="176742" y="120501"/>
                    <a:pt x="184548" y="117907"/>
                    <a:pt x="189751" y="112719"/>
                  </a:cubicBezTo>
                  <a:cubicBezTo>
                    <a:pt x="196255" y="106235"/>
                    <a:pt x="198857" y="99750"/>
                    <a:pt x="198857" y="91968"/>
                  </a:cubicBezTo>
                  <a:cubicBezTo>
                    <a:pt x="198857" y="82890"/>
                    <a:pt x="194954" y="73811"/>
                    <a:pt x="187149" y="64733"/>
                  </a:cubicBezTo>
                  <a:cubicBezTo>
                    <a:pt x="178043" y="56951"/>
                    <a:pt x="167636" y="50466"/>
                    <a:pt x="155928" y="46576"/>
                  </a:cubicBezTo>
                  <a:cubicBezTo>
                    <a:pt x="144220" y="43982"/>
                    <a:pt x="133813" y="41388"/>
                    <a:pt x="124707" y="41388"/>
                  </a:cubicBezTo>
                  <a:cubicBezTo>
                    <a:pt x="124707" y="41388"/>
                    <a:pt x="124707" y="41388"/>
                    <a:pt x="124707" y="20637"/>
                  </a:cubicBezTo>
                  <a:cubicBezTo>
                    <a:pt x="124707" y="20637"/>
                    <a:pt x="124707" y="20637"/>
                    <a:pt x="103893" y="20637"/>
                  </a:cubicBezTo>
                  <a:close/>
                  <a:moveTo>
                    <a:pt x="83127" y="0"/>
                  </a:moveTo>
                  <a:cubicBezTo>
                    <a:pt x="83127" y="0"/>
                    <a:pt x="83127" y="0"/>
                    <a:pt x="145473" y="0"/>
                  </a:cubicBezTo>
                  <a:cubicBezTo>
                    <a:pt x="145473" y="0"/>
                    <a:pt x="145473" y="0"/>
                    <a:pt x="145473" y="23329"/>
                  </a:cubicBezTo>
                  <a:cubicBezTo>
                    <a:pt x="150668" y="24625"/>
                    <a:pt x="155864" y="25921"/>
                    <a:pt x="161059" y="27217"/>
                  </a:cubicBezTo>
                  <a:cubicBezTo>
                    <a:pt x="176646" y="31105"/>
                    <a:pt x="190933" y="40177"/>
                    <a:pt x="201324" y="50546"/>
                  </a:cubicBezTo>
                  <a:cubicBezTo>
                    <a:pt x="214313" y="63506"/>
                    <a:pt x="219508" y="76467"/>
                    <a:pt x="219508" y="92019"/>
                  </a:cubicBezTo>
                  <a:cubicBezTo>
                    <a:pt x="219508" y="104980"/>
                    <a:pt x="214313" y="117940"/>
                    <a:pt x="203922" y="127013"/>
                  </a:cubicBezTo>
                  <a:cubicBezTo>
                    <a:pt x="194830" y="136085"/>
                    <a:pt x="184439" y="141269"/>
                    <a:pt x="171450" y="141269"/>
                  </a:cubicBezTo>
                  <a:cubicBezTo>
                    <a:pt x="183140" y="147749"/>
                    <a:pt x="192232" y="152934"/>
                    <a:pt x="198726" y="158118"/>
                  </a:cubicBezTo>
                  <a:cubicBezTo>
                    <a:pt x="218209" y="176262"/>
                    <a:pt x="228600" y="195703"/>
                    <a:pt x="228600" y="219032"/>
                  </a:cubicBezTo>
                  <a:cubicBezTo>
                    <a:pt x="228600" y="243657"/>
                    <a:pt x="218209" y="264394"/>
                    <a:pt x="198726" y="281242"/>
                  </a:cubicBezTo>
                  <a:cubicBezTo>
                    <a:pt x="185738" y="294203"/>
                    <a:pt x="167554" y="301979"/>
                    <a:pt x="145473" y="307163"/>
                  </a:cubicBezTo>
                  <a:cubicBezTo>
                    <a:pt x="145473" y="307163"/>
                    <a:pt x="145473" y="307163"/>
                    <a:pt x="145473" y="331788"/>
                  </a:cubicBezTo>
                  <a:cubicBezTo>
                    <a:pt x="145473" y="331788"/>
                    <a:pt x="145473" y="331788"/>
                    <a:pt x="83127" y="331788"/>
                  </a:cubicBezTo>
                  <a:cubicBezTo>
                    <a:pt x="83127" y="331788"/>
                    <a:pt x="83127" y="331788"/>
                    <a:pt x="83127" y="309755"/>
                  </a:cubicBezTo>
                  <a:cubicBezTo>
                    <a:pt x="63644" y="308459"/>
                    <a:pt x="46759" y="301979"/>
                    <a:pt x="32471" y="292907"/>
                  </a:cubicBezTo>
                  <a:cubicBezTo>
                    <a:pt x="5195" y="276058"/>
                    <a:pt x="0" y="252729"/>
                    <a:pt x="0" y="237177"/>
                  </a:cubicBezTo>
                  <a:cubicBezTo>
                    <a:pt x="0" y="221624"/>
                    <a:pt x="5195" y="208664"/>
                    <a:pt x="15586" y="199591"/>
                  </a:cubicBezTo>
                  <a:cubicBezTo>
                    <a:pt x="24678" y="190519"/>
                    <a:pt x="36368" y="185335"/>
                    <a:pt x="50656" y="185335"/>
                  </a:cubicBezTo>
                  <a:cubicBezTo>
                    <a:pt x="46759" y="182743"/>
                    <a:pt x="42862" y="180151"/>
                    <a:pt x="40265" y="178854"/>
                  </a:cubicBezTo>
                  <a:cubicBezTo>
                    <a:pt x="28575" y="171078"/>
                    <a:pt x="19483" y="160710"/>
                    <a:pt x="12989" y="149045"/>
                  </a:cubicBezTo>
                  <a:cubicBezTo>
                    <a:pt x="6494" y="136085"/>
                    <a:pt x="3896" y="123124"/>
                    <a:pt x="3896" y="108868"/>
                  </a:cubicBezTo>
                  <a:cubicBezTo>
                    <a:pt x="3896" y="85539"/>
                    <a:pt x="12989" y="64802"/>
                    <a:pt x="31173" y="47954"/>
                  </a:cubicBezTo>
                  <a:cubicBezTo>
                    <a:pt x="45460" y="36289"/>
                    <a:pt x="62345" y="27217"/>
                    <a:pt x="83127" y="23329"/>
                  </a:cubicBezTo>
                  <a:cubicBezTo>
                    <a:pt x="83127" y="23329"/>
                    <a:pt x="83127" y="23329"/>
                    <a:pt x="831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sḷïḓè">
              <a:extLst>
                <a:ext uri="{FF2B5EF4-FFF2-40B4-BE49-F238E27FC236}">
                  <a16:creationId xmlns:a16="http://schemas.microsoft.com/office/drawing/2014/main" id="{F30F5912-BB8B-AE43-8D5B-0185845FE74C}"/>
                </a:ext>
              </a:extLst>
            </p:cNvPr>
            <p:cNvSpPr/>
            <p:nvPr/>
          </p:nvSpPr>
          <p:spPr bwMode="auto">
            <a:xfrm>
              <a:off x="5140870" y="3894917"/>
              <a:ext cx="187823" cy="186367"/>
            </a:xfrm>
            <a:custGeom>
              <a:avLst/>
              <a:gdLst>
                <a:gd name="T0" fmla="*/ 161 w 386"/>
                <a:gd name="T1" fmla="*/ 42 h 386"/>
                <a:gd name="T2" fmla="*/ 119 w 386"/>
                <a:gd name="T3" fmla="*/ 58 h 386"/>
                <a:gd name="T4" fmla="*/ 83 w 386"/>
                <a:gd name="T5" fmla="*/ 84 h 386"/>
                <a:gd name="T6" fmla="*/ 56 w 386"/>
                <a:gd name="T7" fmla="*/ 120 h 386"/>
                <a:gd name="T8" fmla="*/ 42 w 386"/>
                <a:gd name="T9" fmla="*/ 162 h 386"/>
                <a:gd name="T10" fmla="*/ 39 w 386"/>
                <a:gd name="T11" fmla="*/ 209 h 386"/>
                <a:gd name="T12" fmla="*/ 50 w 386"/>
                <a:gd name="T13" fmla="*/ 254 h 386"/>
                <a:gd name="T14" fmla="*/ 73 w 386"/>
                <a:gd name="T15" fmla="*/ 291 h 386"/>
                <a:gd name="T16" fmla="*/ 107 w 386"/>
                <a:gd name="T17" fmla="*/ 321 h 386"/>
                <a:gd name="T18" fmla="*/ 147 w 386"/>
                <a:gd name="T19" fmla="*/ 342 h 386"/>
                <a:gd name="T20" fmla="*/ 193 w 386"/>
                <a:gd name="T21" fmla="*/ 347 h 386"/>
                <a:gd name="T22" fmla="*/ 239 w 386"/>
                <a:gd name="T23" fmla="*/ 342 h 386"/>
                <a:gd name="T24" fmla="*/ 279 w 386"/>
                <a:gd name="T25" fmla="*/ 321 h 386"/>
                <a:gd name="T26" fmla="*/ 311 w 386"/>
                <a:gd name="T27" fmla="*/ 291 h 386"/>
                <a:gd name="T28" fmla="*/ 335 w 386"/>
                <a:gd name="T29" fmla="*/ 254 h 386"/>
                <a:gd name="T30" fmla="*/ 346 w 386"/>
                <a:gd name="T31" fmla="*/ 209 h 386"/>
                <a:gd name="T32" fmla="*/ 344 w 386"/>
                <a:gd name="T33" fmla="*/ 162 h 386"/>
                <a:gd name="T34" fmla="*/ 328 w 386"/>
                <a:gd name="T35" fmla="*/ 120 h 386"/>
                <a:gd name="T36" fmla="*/ 302 w 386"/>
                <a:gd name="T37" fmla="*/ 84 h 386"/>
                <a:gd name="T38" fmla="*/ 266 w 386"/>
                <a:gd name="T39" fmla="*/ 58 h 386"/>
                <a:gd name="T40" fmla="*/ 223 w 386"/>
                <a:gd name="T41" fmla="*/ 42 h 386"/>
                <a:gd name="T42" fmla="*/ 193 w 386"/>
                <a:gd name="T43" fmla="*/ 386 h 386"/>
                <a:gd name="T44" fmla="*/ 135 w 386"/>
                <a:gd name="T45" fmla="*/ 378 h 386"/>
                <a:gd name="T46" fmla="*/ 85 w 386"/>
                <a:gd name="T47" fmla="*/ 353 h 386"/>
                <a:gd name="T48" fmla="*/ 43 w 386"/>
                <a:gd name="T49" fmla="*/ 316 h 386"/>
                <a:gd name="T50" fmla="*/ 14 w 386"/>
                <a:gd name="T51" fmla="*/ 268 h 386"/>
                <a:gd name="T52" fmla="*/ 0 w 386"/>
                <a:gd name="T53" fmla="*/ 213 h 386"/>
                <a:gd name="T54" fmla="*/ 3 w 386"/>
                <a:gd name="T55" fmla="*/ 154 h 386"/>
                <a:gd name="T56" fmla="*/ 23 w 386"/>
                <a:gd name="T57" fmla="*/ 101 h 386"/>
                <a:gd name="T58" fmla="*/ 56 w 386"/>
                <a:gd name="T59" fmla="*/ 56 h 386"/>
                <a:gd name="T60" fmla="*/ 101 w 386"/>
                <a:gd name="T61" fmla="*/ 23 h 386"/>
                <a:gd name="T62" fmla="*/ 154 w 386"/>
                <a:gd name="T63" fmla="*/ 5 h 386"/>
                <a:gd name="T64" fmla="*/ 212 w 386"/>
                <a:gd name="T65" fmla="*/ 2 h 386"/>
                <a:gd name="T66" fmla="*/ 268 w 386"/>
                <a:gd name="T67" fmla="*/ 16 h 386"/>
                <a:gd name="T68" fmla="*/ 315 w 386"/>
                <a:gd name="T69" fmla="*/ 45 h 386"/>
                <a:gd name="T70" fmla="*/ 353 w 386"/>
                <a:gd name="T71" fmla="*/ 85 h 386"/>
                <a:gd name="T72" fmla="*/ 377 w 386"/>
                <a:gd name="T73" fmla="*/ 136 h 386"/>
                <a:gd name="T74" fmla="*/ 386 w 386"/>
                <a:gd name="T75" fmla="*/ 193 h 386"/>
                <a:gd name="T76" fmla="*/ 377 w 386"/>
                <a:gd name="T77" fmla="*/ 251 h 386"/>
                <a:gd name="T78" fmla="*/ 353 w 386"/>
                <a:gd name="T79" fmla="*/ 301 h 386"/>
                <a:gd name="T80" fmla="*/ 315 w 386"/>
                <a:gd name="T81" fmla="*/ 343 h 386"/>
                <a:gd name="T82" fmla="*/ 268 w 386"/>
                <a:gd name="T83" fmla="*/ 372 h 386"/>
                <a:gd name="T84" fmla="*/ 212 w 386"/>
                <a:gd name="T85" fmla="*/ 385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6" h="386">
                  <a:moveTo>
                    <a:pt x="193" y="39"/>
                  </a:moveTo>
                  <a:lnTo>
                    <a:pt x="177" y="39"/>
                  </a:lnTo>
                  <a:lnTo>
                    <a:pt x="161" y="42"/>
                  </a:lnTo>
                  <a:lnTo>
                    <a:pt x="147" y="46"/>
                  </a:lnTo>
                  <a:lnTo>
                    <a:pt x="132" y="51"/>
                  </a:lnTo>
                  <a:lnTo>
                    <a:pt x="119" y="58"/>
                  </a:lnTo>
                  <a:lnTo>
                    <a:pt x="107" y="65"/>
                  </a:lnTo>
                  <a:lnTo>
                    <a:pt x="95" y="74"/>
                  </a:lnTo>
                  <a:lnTo>
                    <a:pt x="83" y="84"/>
                  </a:lnTo>
                  <a:lnTo>
                    <a:pt x="73" y="95"/>
                  </a:lnTo>
                  <a:lnTo>
                    <a:pt x="65" y="107"/>
                  </a:lnTo>
                  <a:lnTo>
                    <a:pt x="56" y="120"/>
                  </a:lnTo>
                  <a:lnTo>
                    <a:pt x="50" y="133"/>
                  </a:lnTo>
                  <a:lnTo>
                    <a:pt x="45" y="147"/>
                  </a:lnTo>
                  <a:lnTo>
                    <a:pt x="42" y="162"/>
                  </a:lnTo>
                  <a:lnTo>
                    <a:pt x="39" y="177"/>
                  </a:lnTo>
                  <a:lnTo>
                    <a:pt x="37" y="193"/>
                  </a:lnTo>
                  <a:lnTo>
                    <a:pt x="39" y="209"/>
                  </a:lnTo>
                  <a:lnTo>
                    <a:pt x="42" y="225"/>
                  </a:lnTo>
                  <a:lnTo>
                    <a:pt x="45" y="239"/>
                  </a:lnTo>
                  <a:lnTo>
                    <a:pt x="50" y="254"/>
                  </a:lnTo>
                  <a:lnTo>
                    <a:pt x="56" y="267"/>
                  </a:lnTo>
                  <a:lnTo>
                    <a:pt x="65" y="280"/>
                  </a:lnTo>
                  <a:lnTo>
                    <a:pt x="73" y="291"/>
                  </a:lnTo>
                  <a:lnTo>
                    <a:pt x="83" y="303"/>
                  </a:lnTo>
                  <a:lnTo>
                    <a:pt x="95" y="313"/>
                  </a:lnTo>
                  <a:lnTo>
                    <a:pt x="107" y="321"/>
                  </a:lnTo>
                  <a:lnTo>
                    <a:pt x="119" y="329"/>
                  </a:lnTo>
                  <a:lnTo>
                    <a:pt x="132" y="336"/>
                  </a:lnTo>
                  <a:lnTo>
                    <a:pt x="147" y="342"/>
                  </a:lnTo>
                  <a:lnTo>
                    <a:pt x="161" y="345"/>
                  </a:lnTo>
                  <a:lnTo>
                    <a:pt x="177" y="347"/>
                  </a:lnTo>
                  <a:lnTo>
                    <a:pt x="193" y="347"/>
                  </a:lnTo>
                  <a:lnTo>
                    <a:pt x="209" y="347"/>
                  </a:lnTo>
                  <a:lnTo>
                    <a:pt x="223" y="345"/>
                  </a:lnTo>
                  <a:lnTo>
                    <a:pt x="239" y="342"/>
                  </a:lnTo>
                  <a:lnTo>
                    <a:pt x="252" y="336"/>
                  </a:lnTo>
                  <a:lnTo>
                    <a:pt x="266" y="329"/>
                  </a:lnTo>
                  <a:lnTo>
                    <a:pt x="279" y="321"/>
                  </a:lnTo>
                  <a:lnTo>
                    <a:pt x="291" y="313"/>
                  </a:lnTo>
                  <a:lnTo>
                    <a:pt x="302" y="303"/>
                  </a:lnTo>
                  <a:lnTo>
                    <a:pt x="311" y="291"/>
                  </a:lnTo>
                  <a:lnTo>
                    <a:pt x="321" y="280"/>
                  </a:lnTo>
                  <a:lnTo>
                    <a:pt x="328" y="267"/>
                  </a:lnTo>
                  <a:lnTo>
                    <a:pt x="335" y="254"/>
                  </a:lnTo>
                  <a:lnTo>
                    <a:pt x="340" y="239"/>
                  </a:lnTo>
                  <a:lnTo>
                    <a:pt x="344" y="225"/>
                  </a:lnTo>
                  <a:lnTo>
                    <a:pt x="346" y="209"/>
                  </a:lnTo>
                  <a:lnTo>
                    <a:pt x="347" y="193"/>
                  </a:lnTo>
                  <a:lnTo>
                    <a:pt x="346" y="177"/>
                  </a:lnTo>
                  <a:lnTo>
                    <a:pt x="344" y="162"/>
                  </a:lnTo>
                  <a:lnTo>
                    <a:pt x="340" y="147"/>
                  </a:lnTo>
                  <a:lnTo>
                    <a:pt x="335" y="133"/>
                  </a:lnTo>
                  <a:lnTo>
                    <a:pt x="328" y="120"/>
                  </a:lnTo>
                  <a:lnTo>
                    <a:pt x="321" y="107"/>
                  </a:lnTo>
                  <a:lnTo>
                    <a:pt x="311" y="95"/>
                  </a:lnTo>
                  <a:lnTo>
                    <a:pt x="302" y="84"/>
                  </a:lnTo>
                  <a:lnTo>
                    <a:pt x="291" y="74"/>
                  </a:lnTo>
                  <a:lnTo>
                    <a:pt x="279" y="65"/>
                  </a:lnTo>
                  <a:lnTo>
                    <a:pt x="266" y="58"/>
                  </a:lnTo>
                  <a:lnTo>
                    <a:pt x="252" y="51"/>
                  </a:lnTo>
                  <a:lnTo>
                    <a:pt x="239" y="46"/>
                  </a:lnTo>
                  <a:lnTo>
                    <a:pt x="223" y="42"/>
                  </a:lnTo>
                  <a:lnTo>
                    <a:pt x="209" y="39"/>
                  </a:lnTo>
                  <a:lnTo>
                    <a:pt x="193" y="39"/>
                  </a:lnTo>
                  <a:close/>
                  <a:moveTo>
                    <a:pt x="193" y="386"/>
                  </a:moveTo>
                  <a:lnTo>
                    <a:pt x="173" y="385"/>
                  </a:lnTo>
                  <a:lnTo>
                    <a:pt x="154" y="382"/>
                  </a:lnTo>
                  <a:lnTo>
                    <a:pt x="135" y="378"/>
                  </a:lnTo>
                  <a:lnTo>
                    <a:pt x="118" y="372"/>
                  </a:lnTo>
                  <a:lnTo>
                    <a:pt x="101" y="363"/>
                  </a:lnTo>
                  <a:lnTo>
                    <a:pt x="85" y="353"/>
                  </a:lnTo>
                  <a:lnTo>
                    <a:pt x="69" y="343"/>
                  </a:lnTo>
                  <a:lnTo>
                    <a:pt x="56" y="330"/>
                  </a:lnTo>
                  <a:lnTo>
                    <a:pt x="43" y="316"/>
                  </a:lnTo>
                  <a:lnTo>
                    <a:pt x="33" y="301"/>
                  </a:lnTo>
                  <a:lnTo>
                    <a:pt x="23" y="285"/>
                  </a:lnTo>
                  <a:lnTo>
                    <a:pt x="14" y="268"/>
                  </a:lnTo>
                  <a:lnTo>
                    <a:pt x="9" y="251"/>
                  </a:lnTo>
                  <a:lnTo>
                    <a:pt x="3" y="232"/>
                  </a:lnTo>
                  <a:lnTo>
                    <a:pt x="0" y="213"/>
                  </a:lnTo>
                  <a:lnTo>
                    <a:pt x="0" y="193"/>
                  </a:lnTo>
                  <a:lnTo>
                    <a:pt x="0" y="173"/>
                  </a:lnTo>
                  <a:lnTo>
                    <a:pt x="3" y="154"/>
                  </a:lnTo>
                  <a:lnTo>
                    <a:pt x="9" y="136"/>
                  </a:lnTo>
                  <a:lnTo>
                    <a:pt x="14" y="118"/>
                  </a:lnTo>
                  <a:lnTo>
                    <a:pt x="23" y="101"/>
                  </a:lnTo>
                  <a:lnTo>
                    <a:pt x="33" y="85"/>
                  </a:lnTo>
                  <a:lnTo>
                    <a:pt x="43" y="71"/>
                  </a:lnTo>
                  <a:lnTo>
                    <a:pt x="56" y="56"/>
                  </a:lnTo>
                  <a:lnTo>
                    <a:pt x="69" y="45"/>
                  </a:lnTo>
                  <a:lnTo>
                    <a:pt x="85" y="33"/>
                  </a:lnTo>
                  <a:lnTo>
                    <a:pt x="101" y="23"/>
                  </a:lnTo>
                  <a:lnTo>
                    <a:pt x="118" y="16"/>
                  </a:lnTo>
                  <a:lnTo>
                    <a:pt x="135" y="9"/>
                  </a:lnTo>
                  <a:lnTo>
                    <a:pt x="154" y="5"/>
                  </a:lnTo>
                  <a:lnTo>
                    <a:pt x="173" y="2"/>
                  </a:lnTo>
                  <a:lnTo>
                    <a:pt x="193" y="0"/>
                  </a:lnTo>
                  <a:lnTo>
                    <a:pt x="212" y="2"/>
                  </a:lnTo>
                  <a:lnTo>
                    <a:pt x="232" y="5"/>
                  </a:lnTo>
                  <a:lnTo>
                    <a:pt x="251" y="9"/>
                  </a:lnTo>
                  <a:lnTo>
                    <a:pt x="268" y="16"/>
                  </a:lnTo>
                  <a:lnTo>
                    <a:pt x="285" y="23"/>
                  </a:lnTo>
                  <a:lnTo>
                    <a:pt x="301" y="33"/>
                  </a:lnTo>
                  <a:lnTo>
                    <a:pt x="315" y="45"/>
                  </a:lnTo>
                  <a:lnTo>
                    <a:pt x="330" y="56"/>
                  </a:lnTo>
                  <a:lnTo>
                    <a:pt x="341" y="71"/>
                  </a:lnTo>
                  <a:lnTo>
                    <a:pt x="353" y="85"/>
                  </a:lnTo>
                  <a:lnTo>
                    <a:pt x="363" y="101"/>
                  </a:lnTo>
                  <a:lnTo>
                    <a:pt x="370" y="118"/>
                  </a:lnTo>
                  <a:lnTo>
                    <a:pt x="377" y="136"/>
                  </a:lnTo>
                  <a:lnTo>
                    <a:pt x="382" y="154"/>
                  </a:lnTo>
                  <a:lnTo>
                    <a:pt x="384" y="173"/>
                  </a:lnTo>
                  <a:lnTo>
                    <a:pt x="386" y="193"/>
                  </a:lnTo>
                  <a:lnTo>
                    <a:pt x="384" y="213"/>
                  </a:lnTo>
                  <a:lnTo>
                    <a:pt x="382" y="232"/>
                  </a:lnTo>
                  <a:lnTo>
                    <a:pt x="377" y="251"/>
                  </a:lnTo>
                  <a:lnTo>
                    <a:pt x="370" y="268"/>
                  </a:lnTo>
                  <a:lnTo>
                    <a:pt x="363" y="285"/>
                  </a:lnTo>
                  <a:lnTo>
                    <a:pt x="353" y="301"/>
                  </a:lnTo>
                  <a:lnTo>
                    <a:pt x="341" y="316"/>
                  </a:lnTo>
                  <a:lnTo>
                    <a:pt x="330" y="330"/>
                  </a:lnTo>
                  <a:lnTo>
                    <a:pt x="315" y="343"/>
                  </a:lnTo>
                  <a:lnTo>
                    <a:pt x="301" y="353"/>
                  </a:lnTo>
                  <a:lnTo>
                    <a:pt x="285" y="363"/>
                  </a:lnTo>
                  <a:lnTo>
                    <a:pt x="268" y="372"/>
                  </a:lnTo>
                  <a:lnTo>
                    <a:pt x="251" y="378"/>
                  </a:lnTo>
                  <a:lnTo>
                    <a:pt x="232" y="382"/>
                  </a:lnTo>
                  <a:lnTo>
                    <a:pt x="212" y="385"/>
                  </a:lnTo>
                  <a:lnTo>
                    <a:pt x="193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6" name="ïśḷidè">
            <a:extLst>
              <a:ext uri="{FF2B5EF4-FFF2-40B4-BE49-F238E27FC236}">
                <a16:creationId xmlns:a16="http://schemas.microsoft.com/office/drawing/2014/main" id="{D84BE256-3CAD-2D41-B1D2-8DBAE4A967AD}"/>
              </a:ext>
            </a:extLst>
          </p:cNvPr>
          <p:cNvGrpSpPr/>
          <p:nvPr/>
        </p:nvGrpSpPr>
        <p:grpSpPr>
          <a:xfrm>
            <a:off x="6742806" y="3714447"/>
            <a:ext cx="1416588" cy="857194"/>
            <a:chOff x="1260653" y="5164541"/>
            <a:chExt cx="1885467" cy="1140915"/>
          </a:xfrm>
          <a:solidFill>
            <a:schemeClr val="bg1"/>
          </a:solidFill>
        </p:grpSpPr>
        <p:sp>
          <p:nvSpPr>
            <p:cNvPr id="74" name="îṧľíḍé">
              <a:extLst>
                <a:ext uri="{FF2B5EF4-FFF2-40B4-BE49-F238E27FC236}">
                  <a16:creationId xmlns:a16="http://schemas.microsoft.com/office/drawing/2014/main" id="{79C770BD-AA81-A640-83FD-3607D818DB7D}"/>
                </a:ext>
              </a:extLst>
            </p:cNvPr>
            <p:cNvSpPr/>
            <p:nvPr/>
          </p:nvSpPr>
          <p:spPr bwMode="auto">
            <a:xfrm>
              <a:off x="1317437" y="5538731"/>
              <a:ext cx="75712" cy="75712"/>
            </a:xfrm>
            <a:custGeom>
              <a:avLst/>
              <a:gdLst>
                <a:gd name="T0" fmla="*/ 69 w 154"/>
                <a:gd name="T1" fmla="*/ 39 h 155"/>
                <a:gd name="T2" fmla="*/ 54 w 154"/>
                <a:gd name="T3" fmla="*/ 46 h 155"/>
                <a:gd name="T4" fmla="*/ 44 w 154"/>
                <a:gd name="T5" fmla="*/ 57 h 155"/>
                <a:gd name="T6" fmla="*/ 39 w 154"/>
                <a:gd name="T7" fmla="*/ 70 h 155"/>
                <a:gd name="T8" fmla="*/ 39 w 154"/>
                <a:gd name="T9" fmla="*/ 85 h 155"/>
                <a:gd name="T10" fmla="*/ 44 w 154"/>
                <a:gd name="T11" fmla="*/ 100 h 155"/>
                <a:gd name="T12" fmla="*/ 54 w 154"/>
                <a:gd name="T13" fmla="*/ 110 h 155"/>
                <a:gd name="T14" fmla="*/ 69 w 154"/>
                <a:gd name="T15" fmla="*/ 116 h 155"/>
                <a:gd name="T16" fmla="*/ 85 w 154"/>
                <a:gd name="T17" fmla="*/ 116 h 155"/>
                <a:gd name="T18" fmla="*/ 98 w 154"/>
                <a:gd name="T19" fmla="*/ 110 h 155"/>
                <a:gd name="T20" fmla="*/ 109 w 154"/>
                <a:gd name="T21" fmla="*/ 100 h 155"/>
                <a:gd name="T22" fmla="*/ 115 w 154"/>
                <a:gd name="T23" fmla="*/ 85 h 155"/>
                <a:gd name="T24" fmla="*/ 115 w 154"/>
                <a:gd name="T25" fmla="*/ 70 h 155"/>
                <a:gd name="T26" fmla="*/ 109 w 154"/>
                <a:gd name="T27" fmla="*/ 57 h 155"/>
                <a:gd name="T28" fmla="*/ 98 w 154"/>
                <a:gd name="T29" fmla="*/ 46 h 155"/>
                <a:gd name="T30" fmla="*/ 85 w 154"/>
                <a:gd name="T31" fmla="*/ 39 h 155"/>
                <a:gd name="T32" fmla="*/ 76 w 154"/>
                <a:gd name="T33" fmla="*/ 155 h 155"/>
                <a:gd name="T34" fmla="*/ 62 w 154"/>
                <a:gd name="T35" fmla="*/ 153 h 155"/>
                <a:gd name="T36" fmla="*/ 46 w 154"/>
                <a:gd name="T37" fmla="*/ 149 h 155"/>
                <a:gd name="T38" fmla="*/ 21 w 154"/>
                <a:gd name="T39" fmla="*/ 133 h 155"/>
                <a:gd name="T40" fmla="*/ 5 w 154"/>
                <a:gd name="T41" fmla="*/ 108 h 155"/>
                <a:gd name="T42" fmla="*/ 1 w 154"/>
                <a:gd name="T43" fmla="*/ 94 h 155"/>
                <a:gd name="T44" fmla="*/ 0 w 154"/>
                <a:gd name="T45" fmla="*/ 78 h 155"/>
                <a:gd name="T46" fmla="*/ 1 w 154"/>
                <a:gd name="T47" fmla="*/ 62 h 155"/>
                <a:gd name="T48" fmla="*/ 5 w 154"/>
                <a:gd name="T49" fmla="*/ 48 h 155"/>
                <a:gd name="T50" fmla="*/ 21 w 154"/>
                <a:gd name="T51" fmla="*/ 23 h 155"/>
                <a:gd name="T52" fmla="*/ 46 w 154"/>
                <a:gd name="T53" fmla="*/ 6 h 155"/>
                <a:gd name="T54" fmla="*/ 62 w 154"/>
                <a:gd name="T55" fmla="*/ 2 h 155"/>
                <a:gd name="T56" fmla="*/ 76 w 154"/>
                <a:gd name="T57" fmla="*/ 0 h 155"/>
                <a:gd name="T58" fmla="*/ 92 w 154"/>
                <a:gd name="T59" fmla="*/ 2 h 155"/>
                <a:gd name="T60" fmla="*/ 106 w 154"/>
                <a:gd name="T61" fmla="*/ 6 h 155"/>
                <a:gd name="T62" fmla="*/ 131 w 154"/>
                <a:gd name="T63" fmla="*/ 23 h 155"/>
                <a:gd name="T64" fmla="*/ 148 w 154"/>
                <a:gd name="T65" fmla="*/ 48 h 155"/>
                <a:gd name="T66" fmla="*/ 152 w 154"/>
                <a:gd name="T67" fmla="*/ 62 h 155"/>
                <a:gd name="T68" fmla="*/ 154 w 154"/>
                <a:gd name="T69" fmla="*/ 78 h 155"/>
                <a:gd name="T70" fmla="*/ 152 w 154"/>
                <a:gd name="T71" fmla="*/ 94 h 155"/>
                <a:gd name="T72" fmla="*/ 148 w 154"/>
                <a:gd name="T73" fmla="*/ 108 h 155"/>
                <a:gd name="T74" fmla="*/ 131 w 154"/>
                <a:gd name="T75" fmla="*/ 133 h 155"/>
                <a:gd name="T76" fmla="*/ 106 w 154"/>
                <a:gd name="T77" fmla="*/ 149 h 155"/>
                <a:gd name="T78" fmla="*/ 92 w 154"/>
                <a:gd name="T79" fmla="*/ 153 h 155"/>
                <a:gd name="T80" fmla="*/ 76 w 154"/>
                <a:gd name="T81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55">
                  <a:moveTo>
                    <a:pt x="76" y="39"/>
                  </a:moveTo>
                  <a:lnTo>
                    <a:pt x="69" y="39"/>
                  </a:lnTo>
                  <a:lnTo>
                    <a:pt x="62" y="42"/>
                  </a:lnTo>
                  <a:lnTo>
                    <a:pt x="54" y="46"/>
                  </a:lnTo>
                  <a:lnTo>
                    <a:pt x="49" y="51"/>
                  </a:lnTo>
                  <a:lnTo>
                    <a:pt x="44" y="57"/>
                  </a:lnTo>
                  <a:lnTo>
                    <a:pt x="41" y="62"/>
                  </a:lnTo>
                  <a:lnTo>
                    <a:pt x="39" y="70"/>
                  </a:lnTo>
                  <a:lnTo>
                    <a:pt x="39" y="78"/>
                  </a:lnTo>
                  <a:lnTo>
                    <a:pt x="39" y="85"/>
                  </a:lnTo>
                  <a:lnTo>
                    <a:pt x="41" y="93"/>
                  </a:lnTo>
                  <a:lnTo>
                    <a:pt x="44" y="100"/>
                  </a:lnTo>
                  <a:lnTo>
                    <a:pt x="49" y="106"/>
                  </a:lnTo>
                  <a:lnTo>
                    <a:pt x="54" y="110"/>
                  </a:lnTo>
                  <a:lnTo>
                    <a:pt x="62" y="113"/>
                  </a:lnTo>
                  <a:lnTo>
                    <a:pt x="69" y="116"/>
                  </a:lnTo>
                  <a:lnTo>
                    <a:pt x="76" y="117"/>
                  </a:lnTo>
                  <a:lnTo>
                    <a:pt x="85" y="116"/>
                  </a:lnTo>
                  <a:lnTo>
                    <a:pt x="92" y="113"/>
                  </a:lnTo>
                  <a:lnTo>
                    <a:pt x="98" y="110"/>
                  </a:lnTo>
                  <a:lnTo>
                    <a:pt x="103" y="106"/>
                  </a:lnTo>
                  <a:lnTo>
                    <a:pt x="109" y="100"/>
                  </a:lnTo>
                  <a:lnTo>
                    <a:pt x="112" y="93"/>
                  </a:lnTo>
                  <a:lnTo>
                    <a:pt x="115" y="85"/>
                  </a:lnTo>
                  <a:lnTo>
                    <a:pt x="115" y="78"/>
                  </a:lnTo>
                  <a:lnTo>
                    <a:pt x="115" y="70"/>
                  </a:lnTo>
                  <a:lnTo>
                    <a:pt x="112" y="62"/>
                  </a:lnTo>
                  <a:lnTo>
                    <a:pt x="109" y="57"/>
                  </a:lnTo>
                  <a:lnTo>
                    <a:pt x="103" y="51"/>
                  </a:lnTo>
                  <a:lnTo>
                    <a:pt x="98" y="46"/>
                  </a:lnTo>
                  <a:lnTo>
                    <a:pt x="92" y="42"/>
                  </a:lnTo>
                  <a:lnTo>
                    <a:pt x="85" y="39"/>
                  </a:lnTo>
                  <a:lnTo>
                    <a:pt x="76" y="39"/>
                  </a:lnTo>
                  <a:close/>
                  <a:moveTo>
                    <a:pt x="76" y="155"/>
                  </a:moveTo>
                  <a:lnTo>
                    <a:pt x="69" y="155"/>
                  </a:lnTo>
                  <a:lnTo>
                    <a:pt x="62" y="153"/>
                  </a:lnTo>
                  <a:lnTo>
                    <a:pt x="53" y="152"/>
                  </a:lnTo>
                  <a:lnTo>
                    <a:pt x="46" y="149"/>
                  </a:lnTo>
                  <a:lnTo>
                    <a:pt x="33" y="142"/>
                  </a:lnTo>
                  <a:lnTo>
                    <a:pt x="21" y="133"/>
                  </a:lnTo>
                  <a:lnTo>
                    <a:pt x="13" y="121"/>
                  </a:lnTo>
                  <a:lnTo>
                    <a:pt x="5" y="108"/>
                  </a:lnTo>
                  <a:lnTo>
                    <a:pt x="3" y="101"/>
                  </a:lnTo>
                  <a:lnTo>
                    <a:pt x="1" y="94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13" y="35"/>
                  </a:lnTo>
                  <a:lnTo>
                    <a:pt x="21" y="23"/>
                  </a:lnTo>
                  <a:lnTo>
                    <a:pt x="33" y="13"/>
                  </a:lnTo>
                  <a:lnTo>
                    <a:pt x="46" y="6"/>
                  </a:lnTo>
                  <a:lnTo>
                    <a:pt x="53" y="5"/>
                  </a:lnTo>
                  <a:lnTo>
                    <a:pt x="62" y="2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6" y="6"/>
                  </a:lnTo>
                  <a:lnTo>
                    <a:pt x="119" y="13"/>
                  </a:lnTo>
                  <a:lnTo>
                    <a:pt x="131" y="23"/>
                  </a:lnTo>
                  <a:lnTo>
                    <a:pt x="141" y="35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85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1" y="121"/>
                  </a:lnTo>
                  <a:lnTo>
                    <a:pt x="131" y="133"/>
                  </a:lnTo>
                  <a:lnTo>
                    <a:pt x="119" y="142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5" y="155"/>
                  </a:lnTo>
                  <a:lnTo>
                    <a:pt x="76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ṧḻíḋe">
              <a:extLst>
                <a:ext uri="{FF2B5EF4-FFF2-40B4-BE49-F238E27FC236}">
                  <a16:creationId xmlns:a16="http://schemas.microsoft.com/office/drawing/2014/main" id="{BFADECC1-AC33-1E46-B3A9-29076BF7BFFE}"/>
                </a:ext>
              </a:extLst>
            </p:cNvPr>
            <p:cNvSpPr/>
            <p:nvPr/>
          </p:nvSpPr>
          <p:spPr bwMode="auto">
            <a:xfrm>
              <a:off x="1524188" y="5538731"/>
              <a:ext cx="74256" cy="75712"/>
            </a:xfrm>
            <a:custGeom>
              <a:avLst/>
              <a:gdLst>
                <a:gd name="T0" fmla="*/ 69 w 154"/>
                <a:gd name="T1" fmla="*/ 39 h 155"/>
                <a:gd name="T2" fmla="*/ 54 w 154"/>
                <a:gd name="T3" fmla="*/ 46 h 155"/>
                <a:gd name="T4" fmla="*/ 44 w 154"/>
                <a:gd name="T5" fmla="*/ 57 h 155"/>
                <a:gd name="T6" fmla="*/ 38 w 154"/>
                <a:gd name="T7" fmla="*/ 70 h 155"/>
                <a:gd name="T8" fmla="*/ 38 w 154"/>
                <a:gd name="T9" fmla="*/ 85 h 155"/>
                <a:gd name="T10" fmla="*/ 44 w 154"/>
                <a:gd name="T11" fmla="*/ 100 h 155"/>
                <a:gd name="T12" fmla="*/ 54 w 154"/>
                <a:gd name="T13" fmla="*/ 110 h 155"/>
                <a:gd name="T14" fmla="*/ 69 w 154"/>
                <a:gd name="T15" fmla="*/ 116 h 155"/>
                <a:gd name="T16" fmla="*/ 84 w 154"/>
                <a:gd name="T17" fmla="*/ 116 h 155"/>
                <a:gd name="T18" fmla="*/ 97 w 154"/>
                <a:gd name="T19" fmla="*/ 110 h 155"/>
                <a:gd name="T20" fmla="*/ 109 w 154"/>
                <a:gd name="T21" fmla="*/ 100 h 155"/>
                <a:gd name="T22" fmla="*/ 115 w 154"/>
                <a:gd name="T23" fmla="*/ 85 h 155"/>
                <a:gd name="T24" fmla="*/ 115 w 154"/>
                <a:gd name="T25" fmla="*/ 70 h 155"/>
                <a:gd name="T26" fmla="*/ 109 w 154"/>
                <a:gd name="T27" fmla="*/ 57 h 155"/>
                <a:gd name="T28" fmla="*/ 97 w 154"/>
                <a:gd name="T29" fmla="*/ 46 h 155"/>
                <a:gd name="T30" fmla="*/ 84 w 154"/>
                <a:gd name="T31" fmla="*/ 39 h 155"/>
                <a:gd name="T32" fmla="*/ 76 w 154"/>
                <a:gd name="T33" fmla="*/ 155 h 155"/>
                <a:gd name="T34" fmla="*/ 61 w 154"/>
                <a:gd name="T35" fmla="*/ 153 h 155"/>
                <a:gd name="T36" fmla="*/ 46 w 154"/>
                <a:gd name="T37" fmla="*/ 149 h 155"/>
                <a:gd name="T38" fmla="*/ 21 w 154"/>
                <a:gd name="T39" fmla="*/ 133 h 155"/>
                <a:gd name="T40" fmla="*/ 5 w 154"/>
                <a:gd name="T41" fmla="*/ 108 h 155"/>
                <a:gd name="T42" fmla="*/ 1 w 154"/>
                <a:gd name="T43" fmla="*/ 94 h 155"/>
                <a:gd name="T44" fmla="*/ 0 w 154"/>
                <a:gd name="T45" fmla="*/ 78 h 155"/>
                <a:gd name="T46" fmla="*/ 1 w 154"/>
                <a:gd name="T47" fmla="*/ 62 h 155"/>
                <a:gd name="T48" fmla="*/ 5 w 154"/>
                <a:gd name="T49" fmla="*/ 48 h 155"/>
                <a:gd name="T50" fmla="*/ 21 w 154"/>
                <a:gd name="T51" fmla="*/ 23 h 155"/>
                <a:gd name="T52" fmla="*/ 46 w 154"/>
                <a:gd name="T53" fmla="*/ 6 h 155"/>
                <a:gd name="T54" fmla="*/ 61 w 154"/>
                <a:gd name="T55" fmla="*/ 2 h 155"/>
                <a:gd name="T56" fmla="*/ 76 w 154"/>
                <a:gd name="T57" fmla="*/ 0 h 155"/>
                <a:gd name="T58" fmla="*/ 92 w 154"/>
                <a:gd name="T59" fmla="*/ 2 h 155"/>
                <a:gd name="T60" fmla="*/ 106 w 154"/>
                <a:gd name="T61" fmla="*/ 6 h 155"/>
                <a:gd name="T62" fmla="*/ 131 w 154"/>
                <a:gd name="T63" fmla="*/ 23 h 155"/>
                <a:gd name="T64" fmla="*/ 148 w 154"/>
                <a:gd name="T65" fmla="*/ 48 h 155"/>
                <a:gd name="T66" fmla="*/ 152 w 154"/>
                <a:gd name="T67" fmla="*/ 62 h 155"/>
                <a:gd name="T68" fmla="*/ 154 w 154"/>
                <a:gd name="T69" fmla="*/ 78 h 155"/>
                <a:gd name="T70" fmla="*/ 152 w 154"/>
                <a:gd name="T71" fmla="*/ 94 h 155"/>
                <a:gd name="T72" fmla="*/ 148 w 154"/>
                <a:gd name="T73" fmla="*/ 108 h 155"/>
                <a:gd name="T74" fmla="*/ 131 w 154"/>
                <a:gd name="T75" fmla="*/ 133 h 155"/>
                <a:gd name="T76" fmla="*/ 106 w 154"/>
                <a:gd name="T77" fmla="*/ 149 h 155"/>
                <a:gd name="T78" fmla="*/ 92 w 154"/>
                <a:gd name="T79" fmla="*/ 153 h 155"/>
                <a:gd name="T80" fmla="*/ 76 w 154"/>
                <a:gd name="T81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55">
                  <a:moveTo>
                    <a:pt x="76" y="39"/>
                  </a:moveTo>
                  <a:lnTo>
                    <a:pt x="69" y="39"/>
                  </a:lnTo>
                  <a:lnTo>
                    <a:pt x="61" y="42"/>
                  </a:lnTo>
                  <a:lnTo>
                    <a:pt x="54" y="46"/>
                  </a:lnTo>
                  <a:lnTo>
                    <a:pt x="48" y="51"/>
                  </a:lnTo>
                  <a:lnTo>
                    <a:pt x="44" y="57"/>
                  </a:lnTo>
                  <a:lnTo>
                    <a:pt x="41" y="62"/>
                  </a:lnTo>
                  <a:lnTo>
                    <a:pt x="38" y="70"/>
                  </a:lnTo>
                  <a:lnTo>
                    <a:pt x="38" y="78"/>
                  </a:lnTo>
                  <a:lnTo>
                    <a:pt x="38" y="85"/>
                  </a:lnTo>
                  <a:lnTo>
                    <a:pt x="41" y="93"/>
                  </a:lnTo>
                  <a:lnTo>
                    <a:pt x="44" y="100"/>
                  </a:lnTo>
                  <a:lnTo>
                    <a:pt x="48" y="106"/>
                  </a:lnTo>
                  <a:lnTo>
                    <a:pt x="54" y="110"/>
                  </a:lnTo>
                  <a:lnTo>
                    <a:pt x="61" y="113"/>
                  </a:lnTo>
                  <a:lnTo>
                    <a:pt x="69" y="116"/>
                  </a:lnTo>
                  <a:lnTo>
                    <a:pt x="76" y="117"/>
                  </a:lnTo>
                  <a:lnTo>
                    <a:pt x="84" y="116"/>
                  </a:lnTo>
                  <a:lnTo>
                    <a:pt x="92" y="113"/>
                  </a:lnTo>
                  <a:lnTo>
                    <a:pt x="97" y="110"/>
                  </a:lnTo>
                  <a:lnTo>
                    <a:pt x="103" y="106"/>
                  </a:lnTo>
                  <a:lnTo>
                    <a:pt x="109" y="100"/>
                  </a:lnTo>
                  <a:lnTo>
                    <a:pt x="112" y="93"/>
                  </a:lnTo>
                  <a:lnTo>
                    <a:pt x="115" y="85"/>
                  </a:lnTo>
                  <a:lnTo>
                    <a:pt x="115" y="78"/>
                  </a:lnTo>
                  <a:lnTo>
                    <a:pt x="115" y="70"/>
                  </a:lnTo>
                  <a:lnTo>
                    <a:pt x="112" y="62"/>
                  </a:lnTo>
                  <a:lnTo>
                    <a:pt x="109" y="57"/>
                  </a:lnTo>
                  <a:lnTo>
                    <a:pt x="103" y="51"/>
                  </a:lnTo>
                  <a:lnTo>
                    <a:pt x="97" y="46"/>
                  </a:lnTo>
                  <a:lnTo>
                    <a:pt x="92" y="42"/>
                  </a:lnTo>
                  <a:lnTo>
                    <a:pt x="84" y="39"/>
                  </a:lnTo>
                  <a:lnTo>
                    <a:pt x="76" y="39"/>
                  </a:lnTo>
                  <a:close/>
                  <a:moveTo>
                    <a:pt x="76" y="155"/>
                  </a:moveTo>
                  <a:lnTo>
                    <a:pt x="69" y="155"/>
                  </a:lnTo>
                  <a:lnTo>
                    <a:pt x="61" y="153"/>
                  </a:lnTo>
                  <a:lnTo>
                    <a:pt x="53" y="152"/>
                  </a:lnTo>
                  <a:lnTo>
                    <a:pt x="46" y="149"/>
                  </a:lnTo>
                  <a:lnTo>
                    <a:pt x="33" y="142"/>
                  </a:lnTo>
                  <a:lnTo>
                    <a:pt x="21" y="133"/>
                  </a:lnTo>
                  <a:lnTo>
                    <a:pt x="12" y="121"/>
                  </a:lnTo>
                  <a:lnTo>
                    <a:pt x="5" y="108"/>
                  </a:lnTo>
                  <a:lnTo>
                    <a:pt x="2" y="101"/>
                  </a:lnTo>
                  <a:lnTo>
                    <a:pt x="1" y="94"/>
                  </a:lnTo>
                  <a:lnTo>
                    <a:pt x="0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2" y="55"/>
                  </a:lnTo>
                  <a:lnTo>
                    <a:pt x="5" y="48"/>
                  </a:lnTo>
                  <a:lnTo>
                    <a:pt x="12" y="35"/>
                  </a:lnTo>
                  <a:lnTo>
                    <a:pt x="21" y="23"/>
                  </a:lnTo>
                  <a:lnTo>
                    <a:pt x="33" y="13"/>
                  </a:lnTo>
                  <a:lnTo>
                    <a:pt x="46" y="6"/>
                  </a:lnTo>
                  <a:lnTo>
                    <a:pt x="53" y="5"/>
                  </a:lnTo>
                  <a:lnTo>
                    <a:pt x="61" y="2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2"/>
                  </a:lnTo>
                  <a:lnTo>
                    <a:pt x="99" y="5"/>
                  </a:lnTo>
                  <a:lnTo>
                    <a:pt x="106" y="6"/>
                  </a:lnTo>
                  <a:lnTo>
                    <a:pt x="119" y="13"/>
                  </a:lnTo>
                  <a:lnTo>
                    <a:pt x="131" y="23"/>
                  </a:lnTo>
                  <a:lnTo>
                    <a:pt x="141" y="35"/>
                  </a:lnTo>
                  <a:lnTo>
                    <a:pt x="148" y="48"/>
                  </a:lnTo>
                  <a:lnTo>
                    <a:pt x="151" y="55"/>
                  </a:lnTo>
                  <a:lnTo>
                    <a:pt x="152" y="62"/>
                  </a:lnTo>
                  <a:lnTo>
                    <a:pt x="154" y="70"/>
                  </a:lnTo>
                  <a:lnTo>
                    <a:pt x="154" y="78"/>
                  </a:lnTo>
                  <a:lnTo>
                    <a:pt x="154" y="85"/>
                  </a:lnTo>
                  <a:lnTo>
                    <a:pt x="152" y="94"/>
                  </a:lnTo>
                  <a:lnTo>
                    <a:pt x="151" y="101"/>
                  </a:lnTo>
                  <a:lnTo>
                    <a:pt x="148" y="108"/>
                  </a:lnTo>
                  <a:lnTo>
                    <a:pt x="141" y="121"/>
                  </a:lnTo>
                  <a:lnTo>
                    <a:pt x="131" y="133"/>
                  </a:lnTo>
                  <a:lnTo>
                    <a:pt x="119" y="142"/>
                  </a:lnTo>
                  <a:lnTo>
                    <a:pt x="106" y="149"/>
                  </a:lnTo>
                  <a:lnTo>
                    <a:pt x="99" y="152"/>
                  </a:lnTo>
                  <a:lnTo>
                    <a:pt x="92" y="153"/>
                  </a:lnTo>
                  <a:lnTo>
                    <a:pt x="84" y="155"/>
                  </a:lnTo>
                  <a:lnTo>
                    <a:pt x="76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sļïḓê">
              <a:extLst>
                <a:ext uri="{FF2B5EF4-FFF2-40B4-BE49-F238E27FC236}">
                  <a16:creationId xmlns:a16="http://schemas.microsoft.com/office/drawing/2014/main" id="{1767AC3B-7CBC-974D-BBC5-951C5381F4B4}"/>
                </a:ext>
              </a:extLst>
            </p:cNvPr>
            <p:cNvSpPr/>
            <p:nvPr/>
          </p:nvSpPr>
          <p:spPr bwMode="auto">
            <a:xfrm>
              <a:off x="1448476" y="5164541"/>
              <a:ext cx="18928" cy="149967"/>
            </a:xfrm>
            <a:custGeom>
              <a:avLst/>
              <a:gdLst>
                <a:gd name="T0" fmla="*/ 20 w 39"/>
                <a:gd name="T1" fmla="*/ 309 h 309"/>
                <a:gd name="T2" fmla="*/ 16 w 39"/>
                <a:gd name="T3" fmla="*/ 309 h 309"/>
                <a:gd name="T4" fmla="*/ 13 w 39"/>
                <a:gd name="T5" fmla="*/ 307 h 309"/>
                <a:gd name="T6" fmla="*/ 9 w 39"/>
                <a:gd name="T7" fmla="*/ 306 h 309"/>
                <a:gd name="T8" fmla="*/ 6 w 39"/>
                <a:gd name="T9" fmla="*/ 303 h 309"/>
                <a:gd name="T10" fmla="*/ 4 w 39"/>
                <a:gd name="T11" fmla="*/ 300 h 309"/>
                <a:gd name="T12" fmla="*/ 1 w 39"/>
                <a:gd name="T13" fmla="*/ 297 h 309"/>
                <a:gd name="T14" fmla="*/ 1 w 39"/>
                <a:gd name="T15" fmla="*/ 294 h 309"/>
                <a:gd name="T16" fmla="*/ 0 w 39"/>
                <a:gd name="T17" fmla="*/ 290 h 309"/>
                <a:gd name="T18" fmla="*/ 0 w 39"/>
                <a:gd name="T19" fmla="*/ 19 h 309"/>
                <a:gd name="T20" fmla="*/ 1 w 39"/>
                <a:gd name="T21" fmla="*/ 15 h 309"/>
                <a:gd name="T22" fmla="*/ 1 w 39"/>
                <a:gd name="T23" fmla="*/ 12 h 309"/>
                <a:gd name="T24" fmla="*/ 4 w 39"/>
                <a:gd name="T25" fmla="*/ 9 h 309"/>
                <a:gd name="T26" fmla="*/ 6 w 39"/>
                <a:gd name="T27" fmla="*/ 6 h 309"/>
                <a:gd name="T28" fmla="*/ 9 w 39"/>
                <a:gd name="T29" fmla="*/ 3 h 309"/>
                <a:gd name="T30" fmla="*/ 13 w 39"/>
                <a:gd name="T31" fmla="*/ 2 h 309"/>
                <a:gd name="T32" fmla="*/ 16 w 39"/>
                <a:gd name="T33" fmla="*/ 0 h 309"/>
                <a:gd name="T34" fmla="*/ 20 w 39"/>
                <a:gd name="T35" fmla="*/ 0 h 309"/>
                <a:gd name="T36" fmla="*/ 24 w 39"/>
                <a:gd name="T37" fmla="*/ 0 h 309"/>
                <a:gd name="T38" fmla="*/ 27 w 39"/>
                <a:gd name="T39" fmla="*/ 2 h 309"/>
                <a:gd name="T40" fmla="*/ 30 w 39"/>
                <a:gd name="T41" fmla="*/ 3 h 309"/>
                <a:gd name="T42" fmla="*/ 33 w 39"/>
                <a:gd name="T43" fmla="*/ 6 h 309"/>
                <a:gd name="T44" fmla="*/ 36 w 39"/>
                <a:gd name="T45" fmla="*/ 9 h 309"/>
                <a:gd name="T46" fmla="*/ 37 w 39"/>
                <a:gd name="T47" fmla="*/ 12 h 309"/>
                <a:gd name="T48" fmla="*/ 39 w 39"/>
                <a:gd name="T49" fmla="*/ 15 h 309"/>
                <a:gd name="T50" fmla="*/ 39 w 39"/>
                <a:gd name="T51" fmla="*/ 19 h 309"/>
                <a:gd name="T52" fmla="*/ 39 w 39"/>
                <a:gd name="T53" fmla="*/ 290 h 309"/>
                <a:gd name="T54" fmla="*/ 39 w 39"/>
                <a:gd name="T55" fmla="*/ 294 h 309"/>
                <a:gd name="T56" fmla="*/ 37 w 39"/>
                <a:gd name="T57" fmla="*/ 297 h 309"/>
                <a:gd name="T58" fmla="*/ 36 w 39"/>
                <a:gd name="T59" fmla="*/ 300 h 309"/>
                <a:gd name="T60" fmla="*/ 33 w 39"/>
                <a:gd name="T61" fmla="*/ 303 h 309"/>
                <a:gd name="T62" fmla="*/ 30 w 39"/>
                <a:gd name="T63" fmla="*/ 306 h 309"/>
                <a:gd name="T64" fmla="*/ 27 w 39"/>
                <a:gd name="T65" fmla="*/ 307 h 309"/>
                <a:gd name="T66" fmla="*/ 24 w 39"/>
                <a:gd name="T67" fmla="*/ 309 h 309"/>
                <a:gd name="T68" fmla="*/ 20 w 39"/>
                <a:gd name="T69" fmla="*/ 30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" h="309">
                  <a:moveTo>
                    <a:pt x="20" y="309"/>
                  </a:moveTo>
                  <a:lnTo>
                    <a:pt x="16" y="309"/>
                  </a:lnTo>
                  <a:lnTo>
                    <a:pt x="13" y="307"/>
                  </a:lnTo>
                  <a:lnTo>
                    <a:pt x="9" y="306"/>
                  </a:lnTo>
                  <a:lnTo>
                    <a:pt x="6" y="303"/>
                  </a:lnTo>
                  <a:lnTo>
                    <a:pt x="4" y="300"/>
                  </a:lnTo>
                  <a:lnTo>
                    <a:pt x="1" y="297"/>
                  </a:lnTo>
                  <a:lnTo>
                    <a:pt x="1" y="294"/>
                  </a:lnTo>
                  <a:lnTo>
                    <a:pt x="0" y="290"/>
                  </a:lnTo>
                  <a:lnTo>
                    <a:pt x="0" y="19"/>
                  </a:lnTo>
                  <a:lnTo>
                    <a:pt x="1" y="15"/>
                  </a:lnTo>
                  <a:lnTo>
                    <a:pt x="1" y="12"/>
                  </a:lnTo>
                  <a:lnTo>
                    <a:pt x="4" y="9"/>
                  </a:lnTo>
                  <a:lnTo>
                    <a:pt x="6" y="6"/>
                  </a:lnTo>
                  <a:lnTo>
                    <a:pt x="9" y="3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7" y="2"/>
                  </a:lnTo>
                  <a:lnTo>
                    <a:pt x="30" y="3"/>
                  </a:lnTo>
                  <a:lnTo>
                    <a:pt x="33" y="6"/>
                  </a:lnTo>
                  <a:lnTo>
                    <a:pt x="36" y="9"/>
                  </a:lnTo>
                  <a:lnTo>
                    <a:pt x="37" y="12"/>
                  </a:lnTo>
                  <a:lnTo>
                    <a:pt x="39" y="15"/>
                  </a:lnTo>
                  <a:lnTo>
                    <a:pt x="39" y="19"/>
                  </a:lnTo>
                  <a:lnTo>
                    <a:pt x="39" y="290"/>
                  </a:lnTo>
                  <a:lnTo>
                    <a:pt x="39" y="294"/>
                  </a:lnTo>
                  <a:lnTo>
                    <a:pt x="37" y="297"/>
                  </a:lnTo>
                  <a:lnTo>
                    <a:pt x="36" y="300"/>
                  </a:lnTo>
                  <a:lnTo>
                    <a:pt x="33" y="303"/>
                  </a:lnTo>
                  <a:lnTo>
                    <a:pt x="30" y="306"/>
                  </a:lnTo>
                  <a:lnTo>
                    <a:pt x="27" y="307"/>
                  </a:lnTo>
                  <a:lnTo>
                    <a:pt x="24" y="309"/>
                  </a:lnTo>
                  <a:lnTo>
                    <a:pt x="20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Slîḍê">
              <a:extLst>
                <a:ext uri="{FF2B5EF4-FFF2-40B4-BE49-F238E27FC236}">
                  <a16:creationId xmlns:a16="http://schemas.microsoft.com/office/drawing/2014/main" id="{4393CBE5-9163-274A-8306-AAF650881B3E}"/>
                </a:ext>
              </a:extLst>
            </p:cNvPr>
            <p:cNvSpPr/>
            <p:nvPr/>
          </p:nvSpPr>
          <p:spPr bwMode="auto">
            <a:xfrm>
              <a:off x="1393149" y="5164541"/>
              <a:ext cx="131039" cy="74256"/>
            </a:xfrm>
            <a:custGeom>
              <a:avLst/>
              <a:gdLst>
                <a:gd name="T0" fmla="*/ 250 w 271"/>
                <a:gd name="T1" fmla="*/ 154 h 154"/>
                <a:gd name="T2" fmla="*/ 247 w 271"/>
                <a:gd name="T3" fmla="*/ 154 h 154"/>
                <a:gd name="T4" fmla="*/ 243 w 271"/>
                <a:gd name="T5" fmla="*/ 153 h 154"/>
                <a:gd name="T6" fmla="*/ 240 w 271"/>
                <a:gd name="T7" fmla="*/ 152 h 154"/>
                <a:gd name="T8" fmla="*/ 237 w 271"/>
                <a:gd name="T9" fmla="*/ 149 h 154"/>
                <a:gd name="T10" fmla="*/ 135 w 271"/>
                <a:gd name="T11" fmla="*/ 46 h 154"/>
                <a:gd name="T12" fmla="*/ 33 w 271"/>
                <a:gd name="T13" fmla="*/ 149 h 154"/>
                <a:gd name="T14" fmla="*/ 30 w 271"/>
                <a:gd name="T15" fmla="*/ 152 h 154"/>
                <a:gd name="T16" fmla="*/ 26 w 271"/>
                <a:gd name="T17" fmla="*/ 153 h 154"/>
                <a:gd name="T18" fmla="*/ 23 w 271"/>
                <a:gd name="T19" fmla="*/ 154 h 154"/>
                <a:gd name="T20" fmla="*/ 19 w 271"/>
                <a:gd name="T21" fmla="*/ 154 h 154"/>
                <a:gd name="T22" fmla="*/ 16 w 271"/>
                <a:gd name="T23" fmla="*/ 154 h 154"/>
                <a:gd name="T24" fmla="*/ 11 w 271"/>
                <a:gd name="T25" fmla="*/ 153 h 154"/>
                <a:gd name="T26" fmla="*/ 8 w 271"/>
                <a:gd name="T27" fmla="*/ 152 h 154"/>
                <a:gd name="T28" fmla="*/ 6 w 271"/>
                <a:gd name="T29" fmla="*/ 149 h 154"/>
                <a:gd name="T30" fmla="*/ 3 w 271"/>
                <a:gd name="T31" fmla="*/ 146 h 154"/>
                <a:gd name="T32" fmla="*/ 1 w 271"/>
                <a:gd name="T33" fmla="*/ 143 h 154"/>
                <a:gd name="T34" fmla="*/ 0 w 271"/>
                <a:gd name="T35" fmla="*/ 139 h 154"/>
                <a:gd name="T36" fmla="*/ 0 w 271"/>
                <a:gd name="T37" fmla="*/ 136 h 154"/>
                <a:gd name="T38" fmla="*/ 0 w 271"/>
                <a:gd name="T39" fmla="*/ 131 h 154"/>
                <a:gd name="T40" fmla="*/ 1 w 271"/>
                <a:gd name="T41" fmla="*/ 129 h 154"/>
                <a:gd name="T42" fmla="*/ 3 w 271"/>
                <a:gd name="T43" fmla="*/ 124 h 154"/>
                <a:gd name="T44" fmla="*/ 6 w 271"/>
                <a:gd name="T45" fmla="*/ 121 h 154"/>
                <a:gd name="T46" fmla="*/ 121 w 271"/>
                <a:gd name="T47" fmla="*/ 6 h 154"/>
                <a:gd name="T48" fmla="*/ 124 w 271"/>
                <a:gd name="T49" fmla="*/ 3 h 154"/>
                <a:gd name="T50" fmla="*/ 128 w 271"/>
                <a:gd name="T51" fmla="*/ 2 h 154"/>
                <a:gd name="T52" fmla="*/ 131 w 271"/>
                <a:gd name="T53" fmla="*/ 0 h 154"/>
                <a:gd name="T54" fmla="*/ 135 w 271"/>
                <a:gd name="T55" fmla="*/ 0 h 154"/>
                <a:gd name="T56" fmla="*/ 138 w 271"/>
                <a:gd name="T57" fmla="*/ 0 h 154"/>
                <a:gd name="T58" fmla="*/ 142 w 271"/>
                <a:gd name="T59" fmla="*/ 2 h 154"/>
                <a:gd name="T60" fmla="*/ 145 w 271"/>
                <a:gd name="T61" fmla="*/ 3 h 154"/>
                <a:gd name="T62" fmla="*/ 148 w 271"/>
                <a:gd name="T63" fmla="*/ 6 h 154"/>
                <a:gd name="T64" fmla="*/ 265 w 271"/>
                <a:gd name="T65" fmla="*/ 121 h 154"/>
                <a:gd name="T66" fmla="*/ 266 w 271"/>
                <a:gd name="T67" fmla="*/ 124 h 154"/>
                <a:gd name="T68" fmla="*/ 269 w 271"/>
                <a:gd name="T69" fmla="*/ 129 h 154"/>
                <a:gd name="T70" fmla="*/ 269 w 271"/>
                <a:gd name="T71" fmla="*/ 131 h 154"/>
                <a:gd name="T72" fmla="*/ 271 w 271"/>
                <a:gd name="T73" fmla="*/ 136 h 154"/>
                <a:gd name="T74" fmla="*/ 269 w 271"/>
                <a:gd name="T75" fmla="*/ 139 h 154"/>
                <a:gd name="T76" fmla="*/ 269 w 271"/>
                <a:gd name="T77" fmla="*/ 143 h 154"/>
                <a:gd name="T78" fmla="*/ 266 w 271"/>
                <a:gd name="T79" fmla="*/ 146 h 154"/>
                <a:gd name="T80" fmla="*/ 265 w 271"/>
                <a:gd name="T81" fmla="*/ 149 h 154"/>
                <a:gd name="T82" fmla="*/ 262 w 271"/>
                <a:gd name="T83" fmla="*/ 152 h 154"/>
                <a:gd name="T84" fmla="*/ 258 w 271"/>
                <a:gd name="T85" fmla="*/ 153 h 154"/>
                <a:gd name="T86" fmla="*/ 255 w 271"/>
                <a:gd name="T87" fmla="*/ 154 h 154"/>
                <a:gd name="T88" fmla="*/ 250 w 271"/>
                <a:gd name="T8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1" h="154">
                  <a:moveTo>
                    <a:pt x="250" y="154"/>
                  </a:moveTo>
                  <a:lnTo>
                    <a:pt x="247" y="154"/>
                  </a:lnTo>
                  <a:lnTo>
                    <a:pt x="243" y="153"/>
                  </a:lnTo>
                  <a:lnTo>
                    <a:pt x="240" y="152"/>
                  </a:lnTo>
                  <a:lnTo>
                    <a:pt x="237" y="149"/>
                  </a:lnTo>
                  <a:lnTo>
                    <a:pt x="135" y="46"/>
                  </a:lnTo>
                  <a:lnTo>
                    <a:pt x="33" y="149"/>
                  </a:lnTo>
                  <a:lnTo>
                    <a:pt x="30" y="152"/>
                  </a:lnTo>
                  <a:lnTo>
                    <a:pt x="26" y="153"/>
                  </a:lnTo>
                  <a:lnTo>
                    <a:pt x="23" y="154"/>
                  </a:lnTo>
                  <a:lnTo>
                    <a:pt x="19" y="154"/>
                  </a:lnTo>
                  <a:lnTo>
                    <a:pt x="16" y="154"/>
                  </a:lnTo>
                  <a:lnTo>
                    <a:pt x="11" y="153"/>
                  </a:lnTo>
                  <a:lnTo>
                    <a:pt x="8" y="152"/>
                  </a:lnTo>
                  <a:lnTo>
                    <a:pt x="6" y="149"/>
                  </a:lnTo>
                  <a:lnTo>
                    <a:pt x="3" y="146"/>
                  </a:lnTo>
                  <a:lnTo>
                    <a:pt x="1" y="143"/>
                  </a:lnTo>
                  <a:lnTo>
                    <a:pt x="0" y="139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1" y="129"/>
                  </a:lnTo>
                  <a:lnTo>
                    <a:pt x="3" y="124"/>
                  </a:lnTo>
                  <a:lnTo>
                    <a:pt x="6" y="121"/>
                  </a:lnTo>
                  <a:lnTo>
                    <a:pt x="121" y="6"/>
                  </a:lnTo>
                  <a:lnTo>
                    <a:pt x="124" y="3"/>
                  </a:lnTo>
                  <a:lnTo>
                    <a:pt x="128" y="2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8" y="0"/>
                  </a:lnTo>
                  <a:lnTo>
                    <a:pt x="142" y="2"/>
                  </a:lnTo>
                  <a:lnTo>
                    <a:pt x="145" y="3"/>
                  </a:lnTo>
                  <a:lnTo>
                    <a:pt x="148" y="6"/>
                  </a:lnTo>
                  <a:lnTo>
                    <a:pt x="265" y="121"/>
                  </a:lnTo>
                  <a:lnTo>
                    <a:pt x="266" y="124"/>
                  </a:lnTo>
                  <a:lnTo>
                    <a:pt x="269" y="129"/>
                  </a:lnTo>
                  <a:lnTo>
                    <a:pt x="269" y="131"/>
                  </a:lnTo>
                  <a:lnTo>
                    <a:pt x="271" y="136"/>
                  </a:lnTo>
                  <a:lnTo>
                    <a:pt x="269" y="139"/>
                  </a:lnTo>
                  <a:lnTo>
                    <a:pt x="269" y="143"/>
                  </a:lnTo>
                  <a:lnTo>
                    <a:pt x="266" y="146"/>
                  </a:lnTo>
                  <a:lnTo>
                    <a:pt x="265" y="149"/>
                  </a:lnTo>
                  <a:lnTo>
                    <a:pt x="262" y="152"/>
                  </a:lnTo>
                  <a:lnTo>
                    <a:pt x="258" y="153"/>
                  </a:lnTo>
                  <a:lnTo>
                    <a:pt x="255" y="154"/>
                  </a:lnTo>
                  <a:lnTo>
                    <a:pt x="250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ś1ïdè">
              <a:extLst>
                <a:ext uri="{FF2B5EF4-FFF2-40B4-BE49-F238E27FC236}">
                  <a16:creationId xmlns:a16="http://schemas.microsoft.com/office/drawing/2014/main" id="{8B0587A5-EED5-D347-80F8-CE849409F652}"/>
                </a:ext>
              </a:extLst>
            </p:cNvPr>
            <p:cNvSpPr/>
            <p:nvPr/>
          </p:nvSpPr>
          <p:spPr bwMode="auto">
            <a:xfrm>
              <a:off x="2780665" y="5969122"/>
              <a:ext cx="365455" cy="336334"/>
            </a:xfrm>
            <a:custGeom>
              <a:avLst/>
              <a:gdLst>
                <a:gd name="T0" fmla="*/ 444 w 753"/>
                <a:gd name="T1" fmla="*/ 695 h 695"/>
                <a:gd name="T2" fmla="*/ 19 w 753"/>
                <a:gd name="T3" fmla="*/ 695 h 695"/>
                <a:gd name="T4" fmla="*/ 16 w 753"/>
                <a:gd name="T5" fmla="*/ 695 h 695"/>
                <a:gd name="T6" fmla="*/ 12 w 753"/>
                <a:gd name="T7" fmla="*/ 694 h 695"/>
                <a:gd name="T8" fmla="*/ 9 w 753"/>
                <a:gd name="T9" fmla="*/ 692 h 695"/>
                <a:gd name="T10" fmla="*/ 6 w 753"/>
                <a:gd name="T11" fmla="*/ 690 h 695"/>
                <a:gd name="T12" fmla="*/ 3 w 753"/>
                <a:gd name="T13" fmla="*/ 687 h 695"/>
                <a:gd name="T14" fmla="*/ 2 w 753"/>
                <a:gd name="T15" fmla="*/ 684 h 695"/>
                <a:gd name="T16" fmla="*/ 0 w 753"/>
                <a:gd name="T17" fmla="*/ 679 h 695"/>
                <a:gd name="T18" fmla="*/ 0 w 753"/>
                <a:gd name="T19" fmla="*/ 677 h 695"/>
                <a:gd name="T20" fmla="*/ 0 w 753"/>
                <a:gd name="T21" fmla="*/ 672 h 695"/>
                <a:gd name="T22" fmla="*/ 2 w 753"/>
                <a:gd name="T23" fmla="*/ 668 h 695"/>
                <a:gd name="T24" fmla="*/ 3 w 753"/>
                <a:gd name="T25" fmla="*/ 665 h 695"/>
                <a:gd name="T26" fmla="*/ 6 w 753"/>
                <a:gd name="T27" fmla="*/ 662 h 695"/>
                <a:gd name="T28" fmla="*/ 9 w 753"/>
                <a:gd name="T29" fmla="*/ 659 h 695"/>
                <a:gd name="T30" fmla="*/ 12 w 753"/>
                <a:gd name="T31" fmla="*/ 658 h 695"/>
                <a:gd name="T32" fmla="*/ 16 w 753"/>
                <a:gd name="T33" fmla="*/ 656 h 695"/>
                <a:gd name="T34" fmla="*/ 19 w 753"/>
                <a:gd name="T35" fmla="*/ 656 h 695"/>
                <a:gd name="T36" fmla="*/ 429 w 753"/>
                <a:gd name="T37" fmla="*/ 656 h 695"/>
                <a:gd name="T38" fmla="*/ 581 w 753"/>
                <a:gd name="T39" fmla="*/ 15 h 695"/>
                <a:gd name="T40" fmla="*/ 582 w 753"/>
                <a:gd name="T41" fmla="*/ 8 h 695"/>
                <a:gd name="T42" fmla="*/ 586 w 753"/>
                <a:gd name="T43" fmla="*/ 4 h 695"/>
                <a:gd name="T44" fmla="*/ 592 w 753"/>
                <a:gd name="T45" fmla="*/ 1 h 695"/>
                <a:gd name="T46" fmla="*/ 599 w 753"/>
                <a:gd name="T47" fmla="*/ 0 h 695"/>
                <a:gd name="T48" fmla="*/ 733 w 753"/>
                <a:gd name="T49" fmla="*/ 0 h 695"/>
                <a:gd name="T50" fmla="*/ 738 w 753"/>
                <a:gd name="T51" fmla="*/ 0 h 695"/>
                <a:gd name="T52" fmla="*/ 742 w 753"/>
                <a:gd name="T53" fmla="*/ 1 h 695"/>
                <a:gd name="T54" fmla="*/ 745 w 753"/>
                <a:gd name="T55" fmla="*/ 2 h 695"/>
                <a:gd name="T56" fmla="*/ 748 w 753"/>
                <a:gd name="T57" fmla="*/ 5 h 695"/>
                <a:gd name="T58" fmla="*/ 751 w 753"/>
                <a:gd name="T59" fmla="*/ 8 h 695"/>
                <a:gd name="T60" fmla="*/ 752 w 753"/>
                <a:gd name="T61" fmla="*/ 11 h 695"/>
                <a:gd name="T62" fmla="*/ 753 w 753"/>
                <a:gd name="T63" fmla="*/ 15 h 695"/>
                <a:gd name="T64" fmla="*/ 753 w 753"/>
                <a:gd name="T65" fmla="*/ 20 h 695"/>
                <a:gd name="T66" fmla="*/ 753 w 753"/>
                <a:gd name="T67" fmla="*/ 23 h 695"/>
                <a:gd name="T68" fmla="*/ 752 w 753"/>
                <a:gd name="T69" fmla="*/ 27 h 695"/>
                <a:gd name="T70" fmla="*/ 751 w 753"/>
                <a:gd name="T71" fmla="*/ 30 h 695"/>
                <a:gd name="T72" fmla="*/ 748 w 753"/>
                <a:gd name="T73" fmla="*/ 33 h 695"/>
                <a:gd name="T74" fmla="*/ 745 w 753"/>
                <a:gd name="T75" fmla="*/ 36 h 695"/>
                <a:gd name="T76" fmla="*/ 742 w 753"/>
                <a:gd name="T77" fmla="*/ 37 h 695"/>
                <a:gd name="T78" fmla="*/ 738 w 753"/>
                <a:gd name="T79" fmla="*/ 38 h 695"/>
                <a:gd name="T80" fmla="*/ 733 w 753"/>
                <a:gd name="T81" fmla="*/ 38 h 695"/>
                <a:gd name="T82" fmla="*/ 614 w 753"/>
                <a:gd name="T83" fmla="*/ 38 h 695"/>
                <a:gd name="T84" fmla="*/ 463 w 753"/>
                <a:gd name="T85" fmla="*/ 681 h 695"/>
                <a:gd name="T86" fmla="*/ 461 w 753"/>
                <a:gd name="T87" fmla="*/ 687 h 695"/>
                <a:gd name="T88" fmla="*/ 457 w 753"/>
                <a:gd name="T89" fmla="*/ 691 h 695"/>
                <a:gd name="T90" fmla="*/ 451 w 753"/>
                <a:gd name="T91" fmla="*/ 694 h 695"/>
                <a:gd name="T92" fmla="*/ 444 w 753"/>
                <a:gd name="T93" fmla="*/ 695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3" h="695">
                  <a:moveTo>
                    <a:pt x="444" y="695"/>
                  </a:moveTo>
                  <a:lnTo>
                    <a:pt x="19" y="695"/>
                  </a:lnTo>
                  <a:lnTo>
                    <a:pt x="16" y="695"/>
                  </a:lnTo>
                  <a:lnTo>
                    <a:pt x="12" y="694"/>
                  </a:lnTo>
                  <a:lnTo>
                    <a:pt x="9" y="692"/>
                  </a:lnTo>
                  <a:lnTo>
                    <a:pt x="6" y="690"/>
                  </a:lnTo>
                  <a:lnTo>
                    <a:pt x="3" y="687"/>
                  </a:lnTo>
                  <a:lnTo>
                    <a:pt x="2" y="684"/>
                  </a:lnTo>
                  <a:lnTo>
                    <a:pt x="0" y="679"/>
                  </a:lnTo>
                  <a:lnTo>
                    <a:pt x="0" y="677"/>
                  </a:lnTo>
                  <a:lnTo>
                    <a:pt x="0" y="672"/>
                  </a:lnTo>
                  <a:lnTo>
                    <a:pt x="2" y="668"/>
                  </a:lnTo>
                  <a:lnTo>
                    <a:pt x="3" y="665"/>
                  </a:lnTo>
                  <a:lnTo>
                    <a:pt x="6" y="662"/>
                  </a:lnTo>
                  <a:lnTo>
                    <a:pt x="9" y="659"/>
                  </a:lnTo>
                  <a:lnTo>
                    <a:pt x="12" y="658"/>
                  </a:lnTo>
                  <a:lnTo>
                    <a:pt x="16" y="656"/>
                  </a:lnTo>
                  <a:lnTo>
                    <a:pt x="19" y="656"/>
                  </a:lnTo>
                  <a:lnTo>
                    <a:pt x="429" y="656"/>
                  </a:lnTo>
                  <a:lnTo>
                    <a:pt x="581" y="15"/>
                  </a:lnTo>
                  <a:lnTo>
                    <a:pt x="582" y="8"/>
                  </a:lnTo>
                  <a:lnTo>
                    <a:pt x="586" y="4"/>
                  </a:lnTo>
                  <a:lnTo>
                    <a:pt x="592" y="1"/>
                  </a:lnTo>
                  <a:lnTo>
                    <a:pt x="599" y="0"/>
                  </a:lnTo>
                  <a:lnTo>
                    <a:pt x="733" y="0"/>
                  </a:lnTo>
                  <a:lnTo>
                    <a:pt x="738" y="0"/>
                  </a:lnTo>
                  <a:lnTo>
                    <a:pt x="742" y="1"/>
                  </a:lnTo>
                  <a:lnTo>
                    <a:pt x="745" y="2"/>
                  </a:lnTo>
                  <a:lnTo>
                    <a:pt x="748" y="5"/>
                  </a:lnTo>
                  <a:lnTo>
                    <a:pt x="751" y="8"/>
                  </a:lnTo>
                  <a:lnTo>
                    <a:pt x="752" y="11"/>
                  </a:lnTo>
                  <a:lnTo>
                    <a:pt x="753" y="15"/>
                  </a:lnTo>
                  <a:lnTo>
                    <a:pt x="753" y="20"/>
                  </a:lnTo>
                  <a:lnTo>
                    <a:pt x="753" y="23"/>
                  </a:lnTo>
                  <a:lnTo>
                    <a:pt x="752" y="27"/>
                  </a:lnTo>
                  <a:lnTo>
                    <a:pt x="751" y="30"/>
                  </a:lnTo>
                  <a:lnTo>
                    <a:pt x="748" y="33"/>
                  </a:lnTo>
                  <a:lnTo>
                    <a:pt x="745" y="36"/>
                  </a:lnTo>
                  <a:lnTo>
                    <a:pt x="742" y="37"/>
                  </a:lnTo>
                  <a:lnTo>
                    <a:pt x="738" y="38"/>
                  </a:lnTo>
                  <a:lnTo>
                    <a:pt x="733" y="38"/>
                  </a:lnTo>
                  <a:lnTo>
                    <a:pt x="614" y="38"/>
                  </a:lnTo>
                  <a:lnTo>
                    <a:pt x="463" y="681"/>
                  </a:lnTo>
                  <a:lnTo>
                    <a:pt x="461" y="687"/>
                  </a:lnTo>
                  <a:lnTo>
                    <a:pt x="457" y="691"/>
                  </a:lnTo>
                  <a:lnTo>
                    <a:pt x="451" y="694"/>
                  </a:lnTo>
                  <a:lnTo>
                    <a:pt x="444" y="6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79" name="ïṥļide">
              <a:extLst>
                <a:ext uri="{FF2B5EF4-FFF2-40B4-BE49-F238E27FC236}">
                  <a16:creationId xmlns:a16="http://schemas.microsoft.com/office/drawing/2014/main" id="{1532037C-D6DE-1A46-82CE-7D1DB5B94C6F}"/>
                </a:ext>
              </a:extLst>
            </p:cNvPr>
            <p:cNvSpPr/>
            <p:nvPr/>
          </p:nvSpPr>
          <p:spPr bwMode="auto">
            <a:xfrm>
              <a:off x="1260653" y="5333436"/>
              <a:ext cx="356718" cy="187823"/>
            </a:xfrm>
            <a:custGeom>
              <a:avLst/>
              <a:gdLst>
                <a:gd name="T0" fmla="*/ 638 w 734"/>
                <a:gd name="T1" fmla="*/ 387 h 387"/>
                <a:gd name="T2" fmla="*/ 135 w 734"/>
                <a:gd name="T3" fmla="*/ 387 h 387"/>
                <a:gd name="T4" fmla="*/ 130 w 734"/>
                <a:gd name="T5" fmla="*/ 387 h 387"/>
                <a:gd name="T6" fmla="*/ 124 w 734"/>
                <a:gd name="T7" fmla="*/ 384 h 387"/>
                <a:gd name="T8" fmla="*/ 120 w 734"/>
                <a:gd name="T9" fmla="*/ 379 h 387"/>
                <a:gd name="T10" fmla="*/ 117 w 734"/>
                <a:gd name="T11" fmla="*/ 374 h 387"/>
                <a:gd name="T12" fmla="*/ 2 w 734"/>
                <a:gd name="T13" fmla="*/ 26 h 387"/>
                <a:gd name="T14" fmla="*/ 0 w 734"/>
                <a:gd name="T15" fmla="*/ 22 h 387"/>
                <a:gd name="T16" fmla="*/ 0 w 734"/>
                <a:gd name="T17" fmla="*/ 16 h 387"/>
                <a:gd name="T18" fmla="*/ 2 w 734"/>
                <a:gd name="T19" fmla="*/ 12 h 387"/>
                <a:gd name="T20" fmla="*/ 4 w 734"/>
                <a:gd name="T21" fmla="*/ 9 h 387"/>
                <a:gd name="T22" fmla="*/ 7 w 734"/>
                <a:gd name="T23" fmla="*/ 5 h 387"/>
                <a:gd name="T24" fmla="*/ 12 w 734"/>
                <a:gd name="T25" fmla="*/ 3 h 387"/>
                <a:gd name="T26" fmla="*/ 14 w 734"/>
                <a:gd name="T27" fmla="*/ 0 h 387"/>
                <a:gd name="T28" fmla="*/ 20 w 734"/>
                <a:gd name="T29" fmla="*/ 0 h 387"/>
                <a:gd name="T30" fmla="*/ 714 w 734"/>
                <a:gd name="T31" fmla="*/ 0 h 387"/>
                <a:gd name="T32" fmla="*/ 719 w 734"/>
                <a:gd name="T33" fmla="*/ 0 h 387"/>
                <a:gd name="T34" fmla="*/ 723 w 734"/>
                <a:gd name="T35" fmla="*/ 2 h 387"/>
                <a:gd name="T36" fmla="*/ 726 w 734"/>
                <a:gd name="T37" fmla="*/ 3 h 387"/>
                <a:gd name="T38" fmla="*/ 729 w 734"/>
                <a:gd name="T39" fmla="*/ 6 h 387"/>
                <a:gd name="T40" fmla="*/ 732 w 734"/>
                <a:gd name="T41" fmla="*/ 9 h 387"/>
                <a:gd name="T42" fmla="*/ 733 w 734"/>
                <a:gd name="T43" fmla="*/ 12 h 387"/>
                <a:gd name="T44" fmla="*/ 734 w 734"/>
                <a:gd name="T45" fmla="*/ 16 h 387"/>
                <a:gd name="T46" fmla="*/ 734 w 734"/>
                <a:gd name="T47" fmla="*/ 21 h 387"/>
                <a:gd name="T48" fmla="*/ 734 w 734"/>
                <a:gd name="T49" fmla="*/ 24 h 387"/>
                <a:gd name="T50" fmla="*/ 733 w 734"/>
                <a:gd name="T51" fmla="*/ 28 h 387"/>
                <a:gd name="T52" fmla="*/ 732 w 734"/>
                <a:gd name="T53" fmla="*/ 31 h 387"/>
                <a:gd name="T54" fmla="*/ 729 w 734"/>
                <a:gd name="T55" fmla="*/ 34 h 387"/>
                <a:gd name="T56" fmla="*/ 726 w 734"/>
                <a:gd name="T57" fmla="*/ 36 h 387"/>
                <a:gd name="T58" fmla="*/ 723 w 734"/>
                <a:gd name="T59" fmla="*/ 38 h 387"/>
                <a:gd name="T60" fmla="*/ 719 w 734"/>
                <a:gd name="T61" fmla="*/ 39 h 387"/>
                <a:gd name="T62" fmla="*/ 714 w 734"/>
                <a:gd name="T63" fmla="*/ 39 h 387"/>
                <a:gd name="T64" fmla="*/ 46 w 734"/>
                <a:gd name="T65" fmla="*/ 39 h 387"/>
                <a:gd name="T66" fmla="*/ 150 w 734"/>
                <a:gd name="T67" fmla="*/ 348 h 387"/>
                <a:gd name="T68" fmla="*/ 638 w 734"/>
                <a:gd name="T69" fmla="*/ 348 h 387"/>
                <a:gd name="T70" fmla="*/ 641 w 734"/>
                <a:gd name="T71" fmla="*/ 349 h 387"/>
                <a:gd name="T72" fmla="*/ 645 w 734"/>
                <a:gd name="T73" fmla="*/ 350 h 387"/>
                <a:gd name="T74" fmla="*/ 648 w 734"/>
                <a:gd name="T75" fmla="*/ 352 h 387"/>
                <a:gd name="T76" fmla="*/ 651 w 734"/>
                <a:gd name="T77" fmla="*/ 353 h 387"/>
                <a:gd name="T78" fmla="*/ 654 w 734"/>
                <a:gd name="T79" fmla="*/ 356 h 387"/>
                <a:gd name="T80" fmla="*/ 655 w 734"/>
                <a:gd name="T81" fmla="*/ 361 h 387"/>
                <a:gd name="T82" fmla="*/ 657 w 734"/>
                <a:gd name="T83" fmla="*/ 363 h 387"/>
                <a:gd name="T84" fmla="*/ 657 w 734"/>
                <a:gd name="T85" fmla="*/ 368 h 387"/>
                <a:gd name="T86" fmla="*/ 657 w 734"/>
                <a:gd name="T87" fmla="*/ 372 h 387"/>
                <a:gd name="T88" fmla="*/ 655 w 734"/>
                <a:gd name="T89" fmla="*/ 375 h 387"/>
                <a:gd name="T90" fmla="*/ 654 w 734"/>
                <a:gd name="T91" fmla="*/ 378 h 387"/>
                <a:gd name="T92" fmla="*/ 651 w 734"/>
                <a:gd name="T93" fmla="*/ 381 h 387"/>
                <a:gd name="T94" fmla="*/ 648 w 734"/>
                <a:gd name="T95" fmla="*/ 384 h 387"/>
                <a:gd name="T96" fmla="*/ 645 w 734"/>
                <a:gd name="T97" fmla="*/ 385 h 387"/>
                <a:gd name="T98" fmla="*/ 641 w 734"/>
                <a:gd name="T99" fmla="*/ 387 h 387"/>
                <a:gd name="T100" fmla="*/ 638 w 734"/>
                <a:gd name="T101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34" h="387">
                  <a:moveTo>
                    <a:pt x="638" y="387"/>
                  </a:moveTo>
                  <a:lnTo>
                    <a:pt x="135" y="387"/>
                  </a:lnTo>
                  <a:lnTo>
                    <a:pt x="130" y="387"/>
                  </a:lnTo>
                  <a:lnTo>
                    <a:pt x="124" y="384"/>
                  </a:lnTo>
                  <a:lnTo>
                    <a:pt x="120" y="379"/>
                  </a:lnTo>
                  <a:lnTo>
                    <a:pt x="117" y="374"/>
                  </a:lnTo>
                  <a:lnTo>
                    <a:pt x="2" y="26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4" y="9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714" y="0"/>
                  </a:lnTo>
                  <a:lnTo>
                    <a:pt x="719" y="0"/>
                  </a:lnTo>
                  <a:lnTo>
                    <a:pt x="723" y="2"/>
                  </a:lnTo>
                  <a:lnTo>
                    <a:pt x="726" y="3"/>
                  </a:lnTo>
                  <a:lnTo>
                    <a:pt x="729" y="6"/>
                  </a:lnTo>
                  <a:lnTo>
                    <a:pt x="732" y="9"/>
                  </a:lnTo>
                  <a:lnTo>
                    <a:pt x="733" y="12"/>
                  </a:lnTo>
                  <a:lnTo>
                    <a:pt x="734" y="16"/>
                  </a:lnTo>
                  <a:lnTo>
                    <a:pt x="734" y="21"/>
                  </a:lnTo>
                  <a:lnTo>
                    <a:pt x="734" y="24"/>
                  </a:lnTo>
                  <a:lnTo>
                    <a:pt x="733" y="28"/>
                  </a:lnTo>
                  <a:lnTo>
                    <a:pt x="732" y="31"/>
                  </a:lnTo>
                  <a:lnTo>
                    <a:pt x="729" y="34"/>
                  </a:lnTo>
                  <a:lnTo>
                    <a:pt x="726" y="36"/>
                  </a:lnTo>
                  <a:lnTo>
                    <a:pt x="723" y="38"/>
                  </a:lnTo>
                  <a:lnTo>
                    <a:pt x="719" y="39"/>
                  </a:lnTo>
                  <a:lnTo>
                    <a:pt x="714" y="39"/>
                  </a:lnTo>
                  <a:lnTo>
                    <a:pt x="46" y="39"/>
                  </a:lnTo>
                  <a:lnTo>
                    <a:pt x="150" y="348"/>
                  </a:lnTo>
                  <a:lnTo>
                    <a:pt x="638" y="348"/>
                  </a:lnTo>
                  <a:lnTo>
                    <a:pt x="641" y="349"/>
                  </a:lnTo>
                  <a:lnTo>
                    <a:pt x="645" y="350"/>
                  </a:lnTo>
                  <a:lnTo>
                    <a:pt x="648" y="352"/>
                  </a:lnTo>
                  <a:lnTo>
                    <a:pt x="651" y="353"/>
                  </a:lnTo>
                  <a:lnTo>
                    <a:pt x="654" y="356"/>
                  </a:lnTo>
                  <a:lnTo>
                    <a:pt x="655" y="361"/>
                  </a:lnTo>
                  <a:lnTo>
                    <a:pt x="657" y="363"/>
                  </a:lnTo>
                  <a:lnTo>
                    <a:pt x="657" y="368"/>
                  </a:lnTo>
                  <a:lnTo>
                    <a:pt x="657" y="372"/>
                  </a:lnTo>
                  <a:lnTo>
                    <a:pt x="655" y="375"/>
                  </a:lnTo>
                  <a:lnTo>
                    <a:pt x="654" y="378"/>
                  </a:lnTo>
                  <a:lnTo>
                    <a:pt x="651" y="381"/>
                  </a:lnTo>
                  <a:lnTo>
                    <a:pt x="648" y="384"/>
                  </a:lnTo>
                  <a:lnTo>
                    <a:pt x="645" y="385"/>
                  </a:lnTo>
                  <a:lnTo>
                    <a:pt x="641" y="387"/>
                  </a:lnTo>
                  <a:lnTo>
                    <a:pt x="638" y="3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</p:grpSp>
      <p:sp>
        <p:nvSpPr>
          <p:cNvPr id="37" name="ïṩ1íḋê">
            <a:extLst>
              <a:ext uri="{FF2B5EF4-FFF2-40B4-BE49-F238E27FC236}">
                <a16:creationId xmlns:a16="http://schemas.microsoft.com/office/drawing/2014/main" id="{A9798CDC-49F6-F84F-8EA5-F01A111ADDAA}"/>
              </a:ext>
            </a:extLst>
          </p:cNvPr>
          <p:cNvSpPr txBox="1"/>
          <p:nvPr/>
        </p:nvSpPr>
        <p:spPr bwMode="auto">
          <a:xfrm>
            <a:off x="6445538" y="1783703"/>
            <a:ext cx="1190560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 err="1"/>
              <a:t>Mrtrics</a:t>
            </a:r>
            <a:r>
              <a:rPr lang="zh-CN" altLang="en-US" sz="1800" b="1" dirty="0"/>
              <a:t>与</a:t>
            </a:r>
            <a:r>
              <a:rPr lang="en-US" altLang="zh-CN" sz="1800" b="1" dirty="0"/>
              <a:t>Trace</a:t>
            </a:r>
            <a:r>
              <a:rPr lang="zh-CN" altLang="en-US" sz="1800" b="1" dirty="0"/>
              <a:t>的</a:t>
            </a:r>
            <a:r>
              <a:rPr lang="en-US" altLang="zh-CN" sz="1800" b="1" dirty="0"/>
              <a:t>Es</a:t>
            </a:r>
            <a:r>
              <a:rPr lang="zh-CN" altLang="en-US" sz="1800" b="1" dirty="0"/>
              <a:t>存储需要区分对待</a:t>
            </a:r>
            <a:endParaRPr lang="en-US" altLang="zh-CN" sz="1800" b="1" dirty="0"/>
          </a:p>
        </p:txBody>
      </p:sp>
      <p:sp>
        <p:nvSpPr>
          <p:cNvPr id="38" name="i$ḷíḋé">
            <a:extLst>
              <a:ext uri="{FF2B5EF4-FFF2-40B4-BE49-F238E27FC236}">
                <a16:creationId xmlns:a16="http://schemas.microsoft.com/office/drawing/2014/main" id="{4A17AE6E-C3F7-E548-A3ED-A6832B74FED9}"/>
              </a:ext>
            </a:extLst>
          </p:cNvPr>
          <p:cNvSpPr txBox="1"/>
          <p:nvPr/>
        </p:nvSpPr>
        <p:spPr bwMode="auto">
          <a:xfrm>
            <a:off x="7426827" y="2666366"/>
            <a:ext cx="1190560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/>
              <a:t>S</a:t>
            </a:r>
            <a:r>
              <a:rPr lang="en-US" altLang="zh-CN" sz="1800" b="1" dirty="0"/>
              <a:t>egment</a:t>
            </a:r>
            <a:r>
              <a:rPr lang="zh-CN" altLang="en-US" sz="1800" b="1" dirty="0"/>
              <a:t> 负载不均</a:t>
            </a:r>
            <a:endParaRPr lang="en-US" altLang="zh-CN" sz="1800" b="1" dirty="0"/>
          </a:p>
        </p:txBody>
      </p:sp>
      <p:sp>
        <p:nvSpPr>
          <p:cNvPr id="39" name="ïś1iḋê">
            <a:extLst>
              <a:ext uri="{FF2B5EF4-FFF2-40B4-BE49-F238E27FC236}">
                <a16:creationId xmlns:a16="http://schemas.microsoft.com/office/drawing/2014/main" id="{B5708B73-3E78-7B43-B31F-BB479C911F8E}"/>
              </a:ext>
            </a:extLst>
          </p:cNvPr>
          <p:cNvSpPr txBox="1"/>
          <p:nvPr/>
        </p:nvSpPr>
        <p:spPr bwMode="auto">
          <a:xfrm>
            <a:off x="7209192" y="3535087"/>
            <a:ext cx="1190560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节点负载不均</a:t>
            </a:r>
            <a:endParaRPr lang="en-US" altLang="zh-CN" sz="1800" b="1" dirty="0"/>
          </a:p>
        </p:txBody>
      </p:sp>
      <p:sp>
        <p:nvSpPr>
          <p:cNvPr id="40" name="íSľîďe">
            <a:extLst>
              <a:ext uri="{FF2B5EF4-FFF2-40B4-BE49-F238E27FC236}">
                <a16:creationId xmlns:a16="http://schemas.microsoft.com/office/drawing/2014/main" id="{9DC5F5EE-E14C-DA4D-863E-DC05EE1BA668}"/>
              </a:ext>
            </a:extLst>
          </p:cNvPr>
          <p:cNvSpPr txBox="1"/>
          <p:nvPr/>
        </p:nvSpPr>
        <p:spPr bwMode="auto">
          <a:xfrm>
            <a:off x="3422831" y="3365332"/>
            <a:ext cx="1190559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Shards</a:t>
            </a:r>
            <a:r>
              <a:rPr lang="zh-CN" altLang="en-US" sz="1800" b="1" dirty="0"/>
              <a:t>数目多</a:t>
            </a:r>
            <a:endParaRPr lang="en-US" altLang="zh-CN" sz="1800" b="1" dirty="0"/>
          </a:p>
        </p:txBody>
      </p:sp>
      <p:sp>
        <p:nvSpPr>
          <p:cNvPr id="41" name="íṥḷîḑé">
            <a:extLst>
              <a:ext uri="{FF2B5EF4-FFF2-40B4-BE49-F238E27FC236}">
                <a16:creationId xmlns:a16="http://schemas.microsoft.com/office/drawing/2014/main" id="{CDBEF7FA-745A-1946-A43B-F2D37F84A728}"/>
              </a:ext>
            </a:extLst>
          </p:cNvPr>
          <p:cNvSpPr txBox="1"/>
          <p:nvPr/>
        </p:nvSpPr>
        <p:spPr bwMode="auto">
          <a:xfrm>
            <a:off x="3216425" y="2443365"/>
            <a:ext cx="1190559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/>
              <a:t>OAL</a:t>
            </a:r>
            <a:r>
              <a:rPr lang="zh-CN" altLang="en-US" b="1" dirty="0"/>
              <a:t>数目多</a:t>
            </a:r>
            <a:endParaRPr lang="en-US" altLang="zh-CN" sz="1800" b="1" dirty="0"/>
          </a:p>
        </p:txBody>
      </p:sp>
      <p:grpSp>
        <p:nvGrpSpPr>
          <p:cNvPr id="42" name="îSľîḋè">
            <a:extLst>
              <a:ext uri="{FF2B5EF4-FFF2-40B4-BE49-F238E27FC236}">
                <a16:creationId xmlns:a16="http://schemas.microsoft.com/office/drawing/2014/main" id="{9EBAC2EF-D94B-7844-A797-235B53410784}"/>
              </a:ext>
            </a:extLst>
          </p:cNvPr>
          <p:cNvGrpSpPr/>
          <p:nvPr/>
        </p:nvGrpSpPr>
        <p:grpSpPr>
          <a:xfrm>
            <a:off x="6472213" y="5018205"/>
            <a:ext cx="5048274" cy="1002537"/>
            <a:chOff x="6875321" y="5018205"/>
            <a:chExt cx="4065397" cy="1002537"/>
          </a:xfrm>
        </p:grpSpPr>
        <p:sp>
          <p:nvSpPr>
            <p:cNvPr id="72" name="îṩ1îde">
              <a:extLst>
                <a:ext uri="{FF2B5EF4-FFF2-40B4-BE49-F238E27FC236}">
                  <a16:creationId xmlns:a16="http://schemas.microsoft.com/office/drawing/2014/main" id="{EF918E11-ED23-7C42-88AE-13D68B0ABCEC}"/>
                </a:ext>
              </a:extLst>
            </p:cNvPr>
            <p:cNvSpPr/>
            <p:nvPr/>
          </p:nvSpPr>
          <p:spPr bwMode="auto">
            <a:xfrm>
              <a:off x="7093347" y="5207249"/>
              <a:ext cx="3847371" cy="813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en-US" altLang="zh-CN" sz="1100" dirty="0"/>
            </a:p>
          </p:txBody>
        </p:sp>
        <p:sp>
          <p:nvSpPr>
            <p:cNvPr id="73" name="îşḻîḍe">
              <a:extLst>
                <a:ext uri="{FF2B5EF4-FFF2-40B4-BE49-F238E27FC236}">
                  <a16:creationId xmlns:a16="http://schemas.microsoft.com/office/drawing/2014/main" id="{46761A79-90C3-EE41-AEB9-06E15543B433}"/>
                </a:ext>
              </a:extLst>
            </p:cNvPr>
            <p:cNvSpPr txBox="1"/>
            <p:nvPr/>
          </p:nvSpPr>
          <p:spPr bwMode="auto">
            <a:xfrm>
              <a:off x="6875321" y="5018205"/>
              <a:ext cx="3847371" cy="3778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ES</a:t>
              </a:r>
              <a:r>
                <a:rPr lang="zh-CN" altLang="en-US" sz="1800" b="1" dirty="0"/>
                <a:t>压力大</a:t>
              </a:r>
              <a:endParaRPr lang="en-US" altLang="zh-CN" sz="1800" b="1" dirty="0"/>
            </a:p>
          </p:txBody>
        </p:sp>
      </p:grpSp>
      <p:sp>
        <p:nvSpPr>
          <p:cNvPr id="71" name="íṣľïḓe">
            <a:extLst>
              <a:ext uri="{FF2B5EF4-FFF2-40B4-BE49-F238E27FC236}">
                <a16:creationId xmlns:a16="http://schemas.microsoft.com/office/drawing/2014/main" id="{54835CBA-A5D4-D947-9D36-7BED31D4E3FA}"/>
              </a:ext>
            </a:extLst>
          </p:cNvPr>
          <p:cNvSpPr/>
          <p:nvPr/>
        </p:nvSpPr>
        <p:spPr bwMode="auto">
          <a:xfrm>
            <a:off x="830469" y="5270133"/>
            <a:ext cx="312274" cy="300732"/>
          </a:xfrm>
          <a:custGeom>
            <a:avLst/>
            <a:gdLst>
              <a:gd name="connsiteX0" fmla="*/ 216243 w 609050"/>
              <a:gd name="connsiteY0" fmla="*/ 412730 h 586540"/>
              <a:gd name="connsiteX1" fmla="*/ 216243 w 609050"/>
              <a:gd name="connsiteY1" fmla="*/ 456594 h 586540"/>
              <a:gd name="connsiteX2" fmla="*/ 293953 w 609050"/>
              <a:gd name="connsiteY2" fmla="*/ 456594 h 586540"/>
              <a:gd name="connsiteX3" fmla="*/ 293953 w 609050"/>
              <a:gd name="connsiteY3" fmla="*/ 412730 h 586540"/>
              <a:gd name="connsiteX4" fmla="*/ 69884 w 609050"/>
              <a:gd name="connsiteY4" fmla="*/ 412730 h 586540"/>
              <a:gd name="connsiteX5" fmla="*/ 69884 w 609050"/>
              <a:gd name="connsiteY5" fmla="*/ 456594 h 586540"/>
              <a:gd name="connsiteX6" fmla="*/ 147595 w 609050"/>
              <a:gd name="connsiteY6" fmla="*/ 456594 h 586540"/>
              <a:gd name="connsiteX7" fmla="*/ 147595 w 609050"/>
              <a:gd name="connsiteY7" fmla="*/ 412730 h 586540"/>
              <a:gd name="connsiteX8" fmla="*/ 460769 w 609050"/>
              <a:gd name="connsiteY8" fmla="*/ 376268 h 586540"/>
              <a:gd name="connsiteX9" fmla="*/ 460769 w 609050"/>
              <a:gd name="connsiteY9" fmla="*/ 414786 h 586540"/>
              <a:gd name="connsiteX10" fmla="*/ 555916 w 609050"/>
              <a:gd name="connsiteY10" fmla="*/ 414786 h 586540"/>
              <a:gd name="connsiteX11" fmla="*/ 555916 w 609050"/>
              <a:gd name="connsiteY11" fmla="*/ 376268 h 586540"/>
              <a:gd name="connsiteX12" fmla="*/ 216243 w 609050"/>
              <a:gd name="connsiteY12" fmla="*/ 339670 h 586540"/>
              <a:gd name="connsiteX13" fmla="*/ 216243 w 609050"/>
              <a:gd name="connsiteY13" fmla="*/ 383533 h 586540"/>
              <a:gd name="connsiteX14" fmla="*/ 293953 w 609050"/>
              <a:gd name="connsiteY14" fmla="*/ 383533 h 586540"/>
              <a:gd name="connsiteX15" fmla="*/ 293953 w 609050"/>
              <a:gd name="connsiteY15" fmla="*/ 339670 h 586540"/>
              <a:gd name="connsiteX16" fmla="*/ 69884 w 609050"/>
              <a:gd name="connsiteY16" fmla="*/ 339670 h 586540"/>
              <a:gd name="connsiteX17" fmla="*/ 69884 w 609050"/>
              <a:gd name="connsiteY17" fmla="*/ 383533 h 586540"/>
              <a:gd name="connsiteX18" fmla="*/ 147595 w 609050"/>
              <a:gd name="connsiteY18" fmla="*/ 383533 h 586540"/>
              <a:gd name="connsiteX19" fmla="*/ 147595 w 609050"/>
              <a:gd name="connsiteY19" fmla="*/ 339670 h 586540"/>
              <a:gd name="connsiteX20" fmla="*/ 460769 w 609050"/>
              <a:gd name="connsiteY20" fmla="*/ 303071 h 586540"/>
              <a:gd name="connsiteX21" fmla="*/ 460769 w 609050"/>
              <a:gd name="connsiteY21" fmla="*/ 341726 h 586540"/>
              <a:gd name="connsiteX22" fmla="*/ 555916 w 609050"/>
              <a:gd name="connsiteY22" fmla="*/ 341726 h 586540"/>
              <a:gd name="connsiteX23" fmla="*/ 555916 w 609050"/>
              <a:gd name="connsiteY23" fmla="*/ 303071 h 586540"/>
              <a:gd name="connsiteX24" fmla="*/ 216243 w 609050"/>
              <a:gd name="connsiteY24" fmla="*/ 266609 h 586540"/>
              <a:gd name="connsiteX25" fmla="*/ 216243 w 609050"/>
              <a:gd name="connsiteY25" fmla="*/ 310473 h 586540"/>
              <a:gd name="connsiteX26" fmla="*/ 293953 w 609050"/>
              <a:gd name="connsiteY26" fmla="*/ 310473 h 586540"/>
              <a:gd name="connsiteX27" fmla="*/ 293953 w 609050"/>
              <a:gd name="connsiteY27" fmla="*/ 266609 h 586540"/>
              <a:gd name="connsiteX28" fmla="*/ 69884 w 609050"/>
              <a:gd name="connsiteY28" fmla="*/ 266609 h 586540"/>
              <a:gd name="connsiteX29" fmla="*/ 69884 w 609050"/>
              <a:gd name="connsiteY29" fmla="*/ 310473 h 586540"/>
              <a:gd name="connsiteX30" fmla="*/ 147595 w 609050"/>
              <a:gd name="connsiteY30" fmla="*/ 310473 h 586540"/>
              <a:gd name="connsiteX31" fmla="*/ 147595 w 609050"/>
              <a:gd name="connsiteY31" fmla="*/ 266609 h 586540"/>
              <a:gd name="connsiteX32" fmla="*/ 460769 w 609050"/>
              <a:gd name="connsiteY32" fmla="*/ 230010 h 586540"/>
              <a:gd name="connsiteX33" fmla="*/ 460769 w 609050"/>
              <a:gd name="connsiteY33" fmla="*/ 268528 h 586540"/>
              <a:gd name="connsiteX34" fmla="*/ 555916 w 609050"/>
              <a:gd name="connsiteY34" fmla="*/ 268528 h 586540"/>
              <a:gd name="connsiteX35" fmla="*/ 555916 w 609050"/>
              <a:gd name="connsiteY35" fmla="*/ 230010 h 586540"/>
              <a:gd name="connsiteX36" fmla="*/ 216243 w 609050"/>
              <a:gd name="connsiteY36" fmla="*/ 193549 h 586540"/>
              <a:gd name="connsiteX37" fmla="*/ 216243 w 609050"/>
              <a:gd name="connsiteY37" fmla="*/ 237412 h 586540"/>
              <a:gd name="connsiteX38" fmla="*/ 293953 w 609050"/>
              <a:gd name="connsiteY38" fmla="*/ 237412 h 586540"/>
              <a:gd name="connsiteX39" fmla="*/ 293953 w 609050"/>
              <a:gd name="connsiteY39" fmla="*/ 193549 h 586540"/>
              <a:gd name="connsiteX40" fmla="*/ 69884 w 609050"/>
              <a:gd name="connsiteY40" fmla="*/ 193549 h 586540"/>
              <a:gd name="connsiteX41" fmla="*/ 69884 w 609050"/>
              <a:gd name="connsiteY41" fmla="*/ 237412 h 586540"/>
              <a:gd name="connsiteX42" fmla="*/ 147595 w 609050"/>
              <a:gd name="connsiteY42" fmla="*/ 237412 h 586540"/>
              <a:gd name="connsiteX43" fmla="*/ 147595 w 609050"/>
              <a:gd name="connsiteY43" fmla="*/ 193549 h 586540"/>
              <a:gd name="connsiteX44" fmla="*/ 460769 w 609050"/>
              <a:gd name="connsiteY44" fmla="*/ 156950 h 586540"/>
              <a:gd name="connsiteX45" fmla="*/ 460769 w 609050"/>
              <a:gd name="connsiteY45" fmla="*/ 195468 h 586540"/>
              <a:gd name="connsiteX46" fmla="*/ 555916 w 609050"/>
              <a:gd name="connsiteY46" fmla="*/ 195468 h 586540"/>
              <a:gd name="connsiteX47" fmla="*/ 555916 w 609050"/>
              <a:gd name="connsiteY47" fmla="*/ 156950 h 586540"/>
              <a:gd name="connsiteX48" fmla="*/ 192926 w 609050"/>
              <a:gd name="connsiteY48" fmla="*/ 96251 h 586540"/>
              <a:gd name="connsiteX49" fmla="*/ 361366 w 609050"/>
              <a:gd name="connsiteY49" fmla="*/ 96251 h 586540"/>
              <a:gd name="connsiteX50" fmla="*/ 361366 w 609050"/>
              <a:gd name="connsiteY50" fmla="*/ 114880 h 586540"/>
              <a:gd name="connsiteX51" fmla="*/ 192926 w 609050"/>
              <a:gd name="connsiteY51" fmla="*/ 114880 h 586540"/>
              <a:gd name="connsiteX52" fmla="*/ 192926 w 609050"/>
              <a:gd name="connsiteY52" fmla="*/ 49819 h 586540"/>
              <a:gd name="connsiteX53" fmla="*/ 361366 w 609050"/>
              <a:gd name="connsiteY53" fmla="*/ 49819 h 586540"/>
              <a:gd name="connsiteX54" fmla="*/ 361366 w 609050"/>
              <a:gd name="connsiteY54" fmla="*/ 68307 h 586540"/>
              <a:gd name="connsiteX55" fmla="*/ 192926 w 609050"/>
              <a:gd name="connsiteY55" fmla="*/ 68307 h 586540"/>
              <a:gd name="connsiteX56" fmla="*/ 166130 w 609050"/>
              <a:gd name="connsiteY56" fmla="*/ 25222 h 586540"/>
              <a:gd name="connsiteX57" fmla="*/ 166130 w 609050"/>
              <a:gd name="connsiteY57" fmla="*/ 155716 h 586540"/>
              <a:gd name="connsiteX58" fmla="*/ 338987 w 609050"/>
              <a:gd name="connsiteY58" fmla="*/ 155716 h 586540"/>
              <a:gd name="connsiteX59" fmla="*/ 338987 w 609050"/>
              <a:gd name="connsiteY59" fmla="*/ 341040 h 586540"/>
              <a:gd name="connsiteX60" fmla="*/ 338987 w 609050"/>
              <a:gd name="connsiteY60" fmla="*/ 531710 h 586540"/>
              <a:gd name="connsiteX61" fmla="*/ 366721 w 609050"/>
              <a:gd name="connsiteY61" fmla="*/ 531710 h 586540"/>
              <a:gd name="connsiteX62" fmla="*/ 366721 w 609050"/>
              <a:gd name="connsiteY62" fmla="*/ 341040 h 586540"/>
              <a:gd name="connsiteX63" fmla="*/ 366721 w 609050"/>
              <a:gd name="connsiteY63" fmla="*/ 155305 h 586540"/>
              <a:gd name="connsiteX64" fmla="*/ 388002 w 609050"/>
              <a:gd name="connsiteY64" fmla="*/ 143517 h 586540"/>
              <a:gd name="connsiteX65" fmla="*/ 388002 w 609050"/>
              <a:gd name="connsiteY65" fmla="*/ 25222 h 586540"/>
              <a:gd name="connsiteX66" fmla="*/ 140867 w 609050"/>
              <a:gd name="connsiteY66" fmla="*/ 0 h 586540"/>
              <a:gd name="connsiteX67" fmla="*/ 413402 w 609050"/>
              <a:gd name="connsiteY67" fmla="*/ 0 h 586540"/>
              <a:gd name="connsiteX68" fmla="*/ 413402 w 609050"/>
              <a:gd name="connsiteY68" fmla="*/ 129398 h 586540"/>
              <a:gd name="connsiteX69" fmla="*/ 432486 w 609050"/>
              <a:gd name="connsiteY69" fmla="*/ 118843 h 586540"/>
              <a:gd name="connsiteX70" fmla="*/ 584199 w 609050"/>
              <a:gd name="connsiteY70" fmla="*/ 118843 h 586540"/>
              <a:gd name="connsiteX71" fmla="*/ 584199 w 609050"/>
              <a:gd name="connsiteY71" fmla="*/ 531710 h 586540"/>
              <a:gd name="connsiteX72" fmla="*/ 609050 w 609050"/>
              <a:gd name="connsiteY72" fmla="*/ 531710 h 586540"/>
              <a:gd name="connsiteX73" fmla="*/ 609050 w 609050"/>
              <a:gd name="connsiteY73" fmla="*/ 586540 h 586540"/>
              <a:gd name="connsiteX74" fmla="*/ 0 w 609050"/>
              <a:gd name="connsiteY74" fmla="*/ 586540 h 586540"/>
              <a:gd name="connsiteX75" fmla="*/ 0 w 609050"/>
              <a:gd name="connsiteY75" fmla="*/ 531710 h 586540"/>
              <a:gd name="connsiteX76" fmla="*/ 24851 w 609050"/>
              <a:gd name="connsiteY76" fmla="*/ 531710 h 586540"/>
              <a:gd name="connsiteX77" fmla="*/ 24851 w 609050"/>
              <a:gd name="connsiteY77" fmla="*/ 155716 h 586540"/>
              <a:gd name="connsiteX78" fmla="*/ 140867 w 609050"/>
              <a:gd name="connsiteY78" fmla="*/ 155716 h 586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9050" h="586540">
                <a:moveTo>
                  <a:pt x="216243" y="412730"/>
                </a:moveTo>
                <a:lnTo>
                  <a:pt x="216243" y="456594"/>
                </a:lnTo>
                <a:lnTo>
                  <a:pt x="293953" y="456594"/>
                </a:lnTo>
                <a:lnTo>
                  <a:pt x="293953" y="412730"/>
                </a:lnTo>
                <a:close/>
                <a:moveTo>
                  <a:pt x="69884" y="412730"/>
                </a:moveTo>
                <a:lnTo>
                  <a:pt x="69884" y="456594"/>
                </a:lnTo>
                <a:lnTo>
                  <a:pt x="147595" y="456594"/>
                </a:lnTo>
                <a:lnTo>
                  <a:pt x="147595" y="412730"/>
                </a:lnTo>
                <a:close/>
                <a:moveTo>
                  <a:pt x="460769" y="376268"/>
                </a:moveTo>
                <a:lnTo>
                  <a:pt x="460769" y="414786"/>
                </a:lnTo>
                <a:lnTo>
                  <a:pt x="555916" y="414786"/>
                </a:lnTo>
                <a:lnTo>
                  <a:pt x="555916" y="376268"/>
                </a:lnTo>
                <a:close/>
                <a:moveTo>
                  <a:pt x="216243" y="339670"/>
                </a:moveTo>
                <a:lnTo>
                  <a:pt x="216243" y="383533"/>
                </a:lnTo>
                <a:lnTo>
                  <a:pt x="293953" y="383533"/>
                </a:lnTo>
                <a:lnTo>
                  <a:pt x="293953" y="339670"/>
                </a:lnTo>
                <a:close/>
                <a:moveTo>
                  <a:pt x="69884" y="339670"/>
                </a:moveTo>
                <a:lnTo>
                  <a:pt x="69884" y="383533"/>
                </a:lnTo>
                <a:lnTo>
                  <a:pt x="147595" y="383533"/>
                </a:lnTo>
                <a:lnTo>
                  <a:pt x="147595" y="339670"/>
                </a:lnTo>
                <a:close/>
                <a:moveTo>
                  <a:pt x="460769" y="303071"/>
                </a:moveTo>
                <a:lnTo>
                  <a:pt x="460769" y="341726"/>
                </a:lnTo>
                <a:lnTo>
                  <a:pt x="555916" y="341726"/>
                </a:lnTo>
                <a:lnTo>
                  <a:pt x="555916" y="303071"/>
                </a:lnTo>
                <a:close/>
                <a:moveTo>
                  <a:pt x="216243" y="266609"/>
                </a:moveTo>
                <a:lnTo>
                  <a:pt x="216243" y="310473"/>
                </a:lnTo>
                <a:lnTo>
                  <a:pt x="293953" y="310473"/>
                </a:lnTo>
                <a:lnTo>
                  <a:pt x="293953" y="266609"/>
                </a:lnTo>
                <a:close/>
                <a:moveTo>
                  <a:pt x="69884" y="266609"/>
                </a:moveTo>
                <a:lnTo>
                  <a:pt x="69884" y="310473"/>
                </a:lnTo>
                <a:lnTo>
                  <a:pt x="147595" y="310473"/>
                </a:lnTo>
                <a:lnTo>
                  <a:pt x="147595" y="266609"/>
                </a:lnTo>
                <a:close/>
                <a:moveTo>
                  <a:pt x="460769" y="230010"/>
                </a:moveTo>
                <a:lnTo>
                  <a:pt x="460769" y="268528"/>
                </a:lnTo>
                <a:lnTo>
                  <a:pt x="555916" y="268528"/>
                </a:lnTo>
                <a:lnTo>
                  <a:pt x="555916" y="230010"/>
                </a:lnTo>
                <a:close/>
                <a:moveTo>
                  <a:pt x="216243" y="193549"/>
                </a:moveTo>
                <a:lnTo>
                  <a:pt x="216243" y="237412"/>
                </a:lnTo>
                <a:lnTo>
                  <a:pt x="293953" y="237412"/>
                </a:lnTo>
                <a:lnTo>
                  <a:pt x="293953" y="193549"/>
                </a:lnTo>
                <a:close/>
                <a:moveTo>
                  <a:pt x="69884" y="193549"/>
                </a:moveTo>
                <a:lnTo>
                  <a:pt x="69884" y="237412"/>
                </a:lnTo>
                <a:lnTo>
                  <a:pt x="147595" y="237412"/>
                </a:lnTo>
                <a:lnTo>
                  <a:pt x="147595" y="193549"/>
                </a:lnTo>
                <a:close/>
                <a:moveTo>
                  <a:pt x="460769" y="156950"/>
                </a:moveTo>
                <a:lnTo>
                  <a:pt x="460769" y="195468"/>
                </a:lnTo>
                <a:lnTo>
                  <a:pt x="555916" y="195468"/>
                </a:lnTo>
                <a:lnTo>
                  <a:pt x="555916" y="156950"/>
                </a:lnTo>
                <a:close/>
                <a:moveTo>
                  <a:pt x="192926" y="96251"/>
                </a:moveTo>
                <a:lnTo>
                  <a:pt x="361366" y="96251"/>
                </a:lnTo>
                <a:lnTo>
                  <a:pt x="361366" y="114880"/>
                </a:lnTo>
                <a:lnTo>
                  <a:pt x="192926" y="114880"/>
                </a:lnTo>
                <a:close/>
                <a:moveTo>
                  <a:pt x="192926" y="49819"/>
                </a:moveTo>
                <a:lnTo>
                  <a:pt x="361366" y="49819"/>
                </a:lnTo>
                <a:lnTo>
                  <a:pt x="361366" y="68307"/>
                </a:lnTo>
                <a:lnTo>
                  <a:pt x="192926" y="68307"/>
                </a:lnTo>
                <a:close/>
                <a:moveTo>
                  <a:pt x="166130" y="25222"/>
                </a:moveTo>
                <a:lnTo>
                  <a:pt x="166130" y="155716"/>
                </a:lnTo>
                <a:lnTo>
                  <a:pt x="338987" y="155716"/>
                </a:lnTo>
                <a:lnTo>
                  <a:pt x="338987" y="341040"/>
                </a:lnTo>
                <a:lnTo>
                  <a:pt x="338987" y="531710"/>
                </a:lnTo>
                <a:lnTo>
                  <a:pt x="366721" y="531710"/>
                </a:lnTo>
                <a:lnTo>
                  <a:pt x="366721" y="341040"/>
                </a:lnTo>
                <a:lnTo>
                  <a:pt x="366721" y="155305"/>
                </a:lnTo>
                <a:lnTo>
                  <a:pt x="388002" y="143517"/>
                </a:lnTo>
                <a:lnTo>
                  <a:pt x="388002" y="25222"/>
                </a:lnTo>
                <a:close/>
                <a:moveTo>
                  <a:pt x="140867" y="0"/>
                </a:moveTo>
                <a:lnTo>
                  <a:pt x="413402" y="0"/>
                </a:lnTo>
                <a:lnTo>
                  <a:pt x="413402" y="129398"/>
                </a:lnTo>
                <a:lnTo>
                  <a:pt x="432486" y="118843"/>
                </a:lnTo>
                <a:lnTo>
                  <a:pt x="584199" y="118843"/>
                </a:lnTo>
                <a:lnTo>
                  <a:pt x="584199" y="531710"/>
                </a:lnTo>
                <a:lnTo>
                  <a:pt x="609050" y="531710"/>
                </a:lnTo>
                <a:lnTo>
                  <a:pt x="609050" y="586540"/>
                </a:lnTo>
                <a:lnTo>
                  <a:pt x="0" y="586540"/>
                </a:lnTo>
                <a:lnTo>
                  <a:pt x="0" y="531710"/>
                </a:lnTo>
                <a:lnTo>
                  <a:pt x="24851" y="531710"/>
                </a:lnTo>
                <a:lnTo>
                  <a:pt x="24851" y="155716"/>
                </a:lnTo>
                <a:lnTo>
                  <a:pt x="140867" y="1557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67" name="îślïḍè">
            <a:extLst>
              <a:ext uri="{FF2B5EF4-FFF2-40B4-BE49-F238E27FC236}">
                <a16:creationId xmlns:a16="http://schemas.microsoft.com/office/drawing/2014/main" id="{6E75481B-901E-6942-9ED5-FC0C00A7F49B}"/>
              </a:ext>
            </a:extLst>
          </p:cNvPr>
          <p:cNvSpPr/>
          <p:nvPr/>
        </p:nvSpPr>
        <p:spPr bwMode="auto">
          <a:xfrm>
            <a:off x="1819506" y="5270133"/>
            <a:ext cx="312274" cy="300732"/>
          </a:xfrm>
          <a:custGeom>
            <a:avLst/>
            <a:gdLst>
              <a:gd name="connsiteX0" fmla="*/ 216243 w 609050"/>
              <a:gd name="connsiteY0" fmla="*/ 412730 h 586540"/>
              <a:gd name="connsiteX1" fmla="*/ 216243 w 609050"/>
              <a:gd name="connsiteY1" fmla="*/ 456594 h 586540"/>
              <a:gd name="connsiteX2" fmla="*/ 293953 w 609050"/>
              <a:gd name="connsiteY2" fmla="*/ 456594 h 586540"/>
              <a:gd name="connsiteX3" fmla="*/ 293953 w 609050"/>
              <a:gd name="connsiteY3" fmla="*/ 412730 h 586540"/>
              <a:gd name="connsiteX4" fmla="*/ 69884 w 609050"/>
              <a:gd name="connsiteY4" fmla="*/ 412730 h 586540"/>
              <a:gd name="connsiteX5" fmla="*/ 69884 w 609050"/>
              <a:gd name="connsiteY5" fmla="*/ 456594 h 586540"/>
              <a:gd name="connsiteX6" fmla="*/ 147595 w 609050"/>
              <a:gd name="connsiteY6" fmla="*/ 456594 h 586540"/>
              <a:gd name="connsiteX7" fmla="*/ 147595 w 609050"/>
              <a:gd name="connsiteY7" fmla="*/ 412730 h 586540"/>
              <a:gd name="connsiteX8" fmla="*/ 460769 w 609050"/>
              <a:gd name="connsiteY8" fmla="*/ 376268 h 586540"/>
              <a:gd name="connsiteX9" fmla="*/ 460769 w 609050"/>
              <a:gd name="connsiteY9" fmla="*/ 414786 h 586540"/>
              <a:gd name="connsiteX10" fmla="*/ 555916 w 609050"/>
              <a:gd name="connsiteY10" fmla="*/ 414786 h 586540"/>
              <a:gd name="connsiteX11" fmla="*/ 555916 w 609050"/>
              <a:gd name="connsiteY11" fmla="*/ 376268 h 586540"/>
              <a:gd name="connsiteX12" fmla="*/ 216243 w 609050"/>
              <a:gd name="connsiteY12" fmla="*/ 339670 h 586540"/>
              <a:gd name="connsiteX13" fmla="*/ 216243 w 609050"/>
              <a:gd name="connsiteY13" fmla="*/ 383533 h 586540"/>
              <a:gd name="connsiteX14" fmla="*/ 293953 w 609050"/>
              <a:gd name="connsiteY14" fmla="*/ 383533 h 586540"/>
              <a:gd name="connsiteX15" fmla="*/ 293953 w 609050"/>
              <a:gd name="connsiteY15" fmla="*/ 339670 h 586540"/>
              <a:gd name="connsiteX16" fmla="*/ 69884 w 609050"/>
              <a:gd name="connsiteY16" fmla="*/ 339670 h 586540"/>
              <a:gd name="connsiteX17" fmla="*/ 69884 w 609050"/>
              <a:gd name="connsiteY17" fmla="*/ 383533 h 586540"/>
              <a:gd name="connsiteX18" fmla="*/ 147595 w 609050"/>
              <a:gd name="connsiteY18" fmla="*/ 383533 h 586540"/>
              <a:gd name="connsiteX19" fmla="*/ 147595 w 609050"/>
              <a:gd name="connsiteY19" fmla="*/ 339670 h 586540"/>
              <a:gd name="connsiteX20" fmla="*/ 460769 w 609050"/>
              <a:gd name="connsiteY20" fmla="*/ 303071 h 586540"/>
              <a:gd name="connsiteX21" fmla="*/ 460769 w 609050"/>
              <a:gd name="connsiteY21" fmla="*/ 341726 h 586540"/>
              <a:gd name="connsiteX22" fmla="*/ 555916 w 609050"/>
              <a:gd name="connsiteY22" fmla="*/ 341726 h 586540"/>
              <a:gd name="connsiteX23" fmla="*/ 555916 w 609050"/>
              <a:gd name="connsiteY23" fmla="*/ 303071 h 586540"/>
              <a:gd name="connsiteX24" fmla="*/ 216243 w 609050"/>
              <a:gd name="connsiteY24" fmla="*/ 266609 h 586540"/>
              <a:gd name="connsiteX25" fmla="*/ 216243 w 609050"/>
              <a:gd name="connsiteY25" fmla="*/ 310473 h 586540"/>
              <a:gd name="connsiteX26" fmla="*/ 293953 w 609050"/>
              <a:gd name="connsiteY26" fmla="*/ 310473 h 586540"/>
              <a:gd name="connsiteX27" fmla="*/ 293953 w 609050"/>
              <a:gd name="connsiteY27" fmla="*/ 266609 h 586540"/>
              <a:gd name="connsiteX28" fmla="*/ 69884 w 609050"/>
              <a:gd name="connsiteY28" fmla="*/ 266609 h 586540"/>
              <a:gd name="connsiteX29" fmla="*/ 69884 w 609050"/>
              <a:gd name="connsiteY29" fmla="*/ 310473 h 586540"/>
              <a:gd name="connsiteX30" fmla="*/ 147595 w 609050"/>
              <a:gd name="connsiteY30" fmla="*/ 310473 h 586540"/>
              <a:gd name="connsiteX31" fmla="*/ 147595 w 609050"/>
              <a:gd name="connsiteY31" fmla="*/ 266609 h 586540"/>
              <a:gd name="connsiteX32" fmla="*/ 460769 w 609050"/>
              <a:gd name="connsiteY32" fmla="*/ 230010 h 586540"/>
              <a:gd name="connsiteX33" fmla="*/ 460769 w 609050"/>
              <a:gd name="connsiteY33" fmla="*/ 268528 h 586540"/>
              <a:gd name="connsiteX34" fmla="*/ 555916 w 609050"/>
              <a:gd name="connsiteY34" fmla="*/ 268528 h 586540"/>
              <a:gd name="connsiteX35" fmla="*/ 555916 w 609050"/>
              <a:gd name="connsiteY35" fmla="*/ 230010 h 586540"/>
              <a:gd name="connsiteX36" fmla="*/ 216243 w 609050"/>
              <a:gd name="connsiteY36" fmla="*/ 193549 h 586540"/>
              <a:gd name="connsiteX37" fmla="*/ 216243 w 609050"/>
              <a:gd name="connsiteY37" fmla="*/ 237412 h 586540"/>
              <a:gd name="connsiteX38" fmla="*/ 293953 w 609050"/>
              <a:gd name="connsiteY38" fmla="*/ 237412 h 586540"/>
              <a:gd name="connsiteX39" fmla="*/ 293953 w 609050"/>
              <a:gd name="connsiteY39" fmla="*/ 193549 h 586540"/>
              <a:gd name="connsiteX40" fmla="*/ 69884 w 609050"/>
              <a:gd name="connsiteY40" fmla="*/ 193549 h 586540"/>
              <a:gd name="connsiteX41" fmla="*/ 69884 w 609050"/>
              <a:gd name="connsiteY41" fmla="*/ 237412 h 586540"/>
              <a:gd name="connsiteX42" fmla="*/ 147595 w 609050"/>
              <a:gd name="connsiteY42" fmla="*/ 237412 h 586540"/>
              <a:gd name="connsiteX43" fmla="*/ 147595 w 609050"/>
              <a:gd name="connsiteY43" fmla="*/ 193549 h 586540"/>
              <a:gd name="connsiteX44" fmla="*/ 460769 w 609050"/>
              <a:gd name="connsiteY44" fmla="*/ 156950 h 586540"/>
              <a:gd name="connsiteX45" fmla="*/ 460769 w 609050"/>
              <a:gd name="connsiteY45" fmla="*/ 195468 h 586540"/>
              <a:gd name="connsiteX46" fmla="*/ 555916 w 609050"/>
              <a:gd name="connsiteY46" fmla="*/ 195468 h 586540"/>
              <a:gd name="connsiteX47" fmla="*/ 555916 w 609050"/>
              <a:gd name="connsiteY47" fmla="*/ 156950 h 586540"/>
              <a:gd name="connsiteX48" fmla="*/ 192926 w 609050"/>
              <a:gd name="connsiteY48" fmla="*/ 96251 h 586540"/>
              <a:gd name="connsiteX49" fmla="*/ 361366 w 609050"/>
              <a:gd name="connsiteY49" fmla="*/ 96251 h 586540"/>
              <a:gd name="connsiteX50" fmla="*/ 361366 w 609050"/>
              <a:gd name="connsiteY50" fmla="*/ 114880 h 586540"/>
              <a:gd name="connsiteX51" fmla="*/ 192926 w 609050"/>
              <a:gd name="connsiteY51" fmla="*/ 114880 h 586540"/>
              <a:gd name="connsiteX52" fmla="*/ 192926 w 609050"/>
              <a:gd name="connsiteY52" fmla="*/ 49819 h 586540"/>
              <a:gd name="connsiteX53" fmla="*/ 361366 w 609050"/>
              <a:gd name="connsiteY53" fmla="*/ 49819 h 586540"/>
              <a:gd name="connsiteX54" fmla="*/ 361366 w 609050"/>
              <a:gd name="connsiteY54" fmla="*/ 68307 h 586540"/>
              <a:gd name="connsiteX55" fmla="*/ 192926 w 609050"/>
              <a:gd name="connsiteY55" fmla="*/ 68307 h 586540"/>
              <a:gd name="connsiteX56" fmla="*/ 166130 w 609050"/>
              <a:gd name="connsiteY56" fmla="*/ 25222 h 586540"/>
              <a:gd name="connsiteX57" fmla="*/ 166130 w 609050"/>
              <a:gd name="connsiteY57" fmla="*/ 155716 h 586540"/>
              <a:gd name="connsiteX58" fmla="*/ 338987 w 609050"/>
              <a:gd name="connsiteY58" fmla="*/ 155716 h 586540"/>
              <a:gd name="connsiteX59" fmla="*/ 338987 w 609050"/>
              <a:gd name="connsiteY59" fmla="*/ 341040 h 586540"/>
              <a:gd name="connsiteX60" fmla="*/ 338987 w 609050"/>
              <a:gd name="connsiteY60" fmla="*/ 531710 h 586540"/>
              <a:gd name="connsiteX61" fmla="*/ 366721 w 609050"/>
              <a:gd name="connsiteY61" fmla="*/ 531710 h 586540"/>
              <a:gd name="connsiteX62" fmla="*/ 366721 w 609050"/>
              <a:gd name="connsiteY62" fmla="*/ 341040 h 586540"/>
              <a:gd name="connsiteX63" fmla="*/ 366721 w 609050"/>
              <a:gd name="connsiteY63" fmla="*/ 155305 h 586540"/>
              <a:gd name="connsiteX64" fmla="*/ 388002 w 609050"/>
              <a:gd name="connsiteY64" fmla="*/ 143517 h 586540"/>
              <a:gd name="connsiteX65" fmla="*/ 388002 w 609050"/>
              <a:gd name="connsiteY65" fmla="*/ 25222 h 586540"/>
              <a:gd name="connsiteX66" fmla="*/ 140867 w 609050"/>
              <a:gd name="connsiteY66" fmla="*/ 0 h 586540"/>
              <a:gd name="connsiteX67" fmla="*/ 413402 w 609050"/>
              <a:gd name="connsiteY67" fmla="*/ 0 h 586540"/>
              <a:gd name="connsiteX68" fmla="*/ 413402 w 609050"/>
              <a:gd name="connsiteY68" fmla="*/ 129398 h 586540"/>
              <a:gd name="connsiteX69" fmla="*/ 432486 w 609050"/>
              <a:gd name="connsiteY69" fmla="*/ 118843 h 586540"/>
              <a:gd name="connsiteX70" fmla="*/ 584199 w 609050"/>
              <a:gd name="connsiteY70" fmla="*/ 118843 h 586540"/>
              <a:gd name="connsiteX71" fmla="*/ 584199 w 609050"/>
              <a:gd name="connsiteY71" fmla="*/ 531710 h 586540"/>
              <a:gd name="connsiteX72" fmla="*/ 609050 w 609050"/>
              <a:gd name="connsiteY72" fmla="*/ 531710 h 586540"/>
              <a:gd name="connsiteX73" fmla="*/ 609050 w 609050"/>
              <a:gd name="connsiteY73" fmla="*/ 586540 h 586540"/>
              <a:gd name="connsiteX74" fmla="*/ 0 w 609050"/>
              <a:gd name="connsiteY74" fmla="*/ 586540 h 586540"/>
              <a:gd name="connsiteX75" fmla="*/ 0 w 609050"/>
              <a:gd name="connsiteY75" fmla="*/ 531710 h 586540"/>
              <a:gd name="connsiteX76" fmla="*/ 24851 w 609050"/>
              <a:gd name="connsiteY76" fmla="*/ 531710 h 586540"/>
              <a:gd name="connsiteX77" fmla="*/ 24851 w 609050"/>
              <a:gd name="connsiteY77" fmla="*/ 155716 h 586540"/>
              <a:gd name="connsiteX78" fmla="*/ 140867 w 609050"/>
              <a:gd name="connsiteY78" fmla="*/ 155716 h 586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9050" h="586540">
                <a:moveTo>
                  <a:pt x="216243" y="412730"/>
                </a:moveTo>
                <a:lnTo>
                  <a:pt x="216243" y="456594"/>
                </a:lnTo>
                <a:lnTo>
                  <a:pt x="293953" y="456594"/>
                </a:lnTo>
                <a:lnTo>
                  <a:pt x="293953" y="412730"/>
                </a:lnTo>
                <a:close/>
                <a:moveTo>
                  <a:pt x="69884" y="412730"/>
                </a:moveTo>
                <a:lnTo>
                  <a:pt x="69884" y="456594"/>
                </a:lnTo>
                <a:lnTo>
                  <a:pt x="147595" y="456594"/>
                </a:lnTo>
                <a:lnTo>
                  <a:pt x="147595" y="412730"/>
                </a:lnTo>
                <a:close/>
                <a:moveTo>
                  <a:pt x="460769" y="376268"/>
                </a:moveTo>
                <a:lnTo>
                  <a:pt x="460769" y="414786"/>
                </a:lnTo>
                <a:lnTo>
                  <a:pt x="555916" y="414786"/>
                </a:lnTo>
                <a:lnTo>
                  <a:pt x="555916" y="376268"/>
                </a:lnTo>
                <a:close/>
                <a:moveTo>
                  <a:pt x="216243" y="339670"/>
                </a:moveTo>
                <a:lnTo>
                  <a:pt x="216243" y="383533"/>
                </a:lnTo>
                <a:lnTo>
                  <a:pt x="293953" y="383533"/>
                </a:lnTo>
                <a:lnTo>
                  <a:pt x="293953" y="339670"/>
                </a:lnTo>
                <a:close/>
                <a:moveTo>
                  <a:pt x="69884" y="339670"/>
                </a:moveTo>
                <a:lnTo>
                  <a:pt x="69884" y="383533"/>
                </a:lnTo>
                <a:lnTo>
                  <a:pt x="147595" y="383533"/>
                </a:lnTo>
                <a:lnTo>
                  <a:pt x="147595" y="339670"/>
                </a:lnTo>
                <a:close/>
                <a:moveTo>
                  <a:pt x="460769" y="303071"/>
                </a:moveTo>
                <a:lnTo>
                  <a:pt x="460769" y="341726"/>
                </a:lnTo>
                <a:lnTo>
                  <a:pt x="555916" y="341726"/>
                </a:lnTo>
                <a:lnTo>
                  <a:pt x="555916" y="303071"/>
                </a:lnTo>
                <a:close/>
                <a:moveTo>
                  <a:pt x="216243" y="266609"/>
                </a:moveTo>
                <a:lnTo>
                  <a:pt x="216243" y="310473"/>
                </a:lnTo>
                <a:lnTo>
                  <a:pt x="293953" y="310473"/>
                </a:lnTo>
                <a:lnTo>
                  <a:pt x="293953" y="266609"/>
                </a:lnTo>
                <a:close/>
                <a:moveTo>
                  <a:pt x="69884" y="266609"/>
                </a:moveTo>
                <a:lnTo>
                  <a:pt x="69884" y="310473"/>
                </a:lnTo>
                <a:lnTo>
                  <a:pt x="147595" y="310473"/>
                </a:lnTo>
                <a:lnTo>
                  <a:pt x="147595" y="266609"/>
                </a:lnTo>
                <a:close/>
                <a:moveTo>
                  <a:pt x="460769" y="230010"/>
                </a:moveTo>
                <a:lnTo>
                  <a:pt x="460769" y="268528"/>
                </a:lnTo>
                <a:lnTo>
                  <a:pt x="555916" y="268528"/>
                </a:lnTo>
                <a:lnTo>
                  <a:pt x="555916" y="230010"/>
                </a:lnTo>
                <a:close/>
                <a:moveTo>
                  <a:pt x="216243" y="193549"/>
                </a:moveTo>
                <a:lnTo>
                  <a:pt x="216243" y="237412"/>
                </a:lnTo>
                <a:lnTo>
                  <a:pt x="293953" y="237412"/>
                </a:lnTo>
                <a:lnTo>
                  <a:pt x="293953" y="193549"/>
                </a:lnTo>
                <a:close/>
                <a:moveTo>
                  <a:pt x="69884" y="193549"/>
                </a:moveTo>
                <a:lnTo>
                  <a:pt x="69884" y="237412"/>
                </a:lnTo>
                <a:lnTo>
                  <a:pt x="147595" y="237412"/>
                </a:lnTo>
                <a:lnTo>
                  <a:pt x="147595" y="193549"/>
                </a:lnTo>
                <a:close/>
                <a:moveTo>
                  <a:pt x="460769" y="156950"/>
                </a:moveTo>
                <a:lnTo>
                  <a:pt x="460769" y="195468"/>
                </a:lnTo>
                <a:lnTo>
                  <a:pt x="555916" y="195468"/>
                </a:lnTo>
                <a:lnTo>
                  <a:pt x="555916" y="156950"/>
                </a:lnTo>
                <a:close/>
                <a:moveTo>
                  <a:pt x="192926" y="96251"/>
                </a:moveTo>
                <a:lnTo>
                  <a:pt x="361366" y="96251"/>
                </a:lnTo>
                <a:lnTo>
                  <a:pt x="361366" y="114880"/>
                </a:lnTo>
                <a:lnTo>
                  <a:pt x="192926" y="114880"/>
                </a:lnTo>
                <a:close/>
                <a:moveTo>
                  <a:pt x="192926" y="49819"/>
                </a:moveTo>
                <a:lnTo>
                  <a:pt x="361366" y="49819"/>
                </a:lnTo>
                <a:lnTo>
                  <a:pt x="361366" y="68307"/>
                </a:lnTo>
                <a:lnTo>
                  <a:pt x="192926" y="68307"/>
                </a:lnTo>
                <a:close/>
                <a:moveTo>
                  <a:pt x="166130" y="25222"/>
                </a:moveTo>
                <a:lnTo>
                  <a:pt x="166130" y="155716"/>
                </a:lnTo>
                <a:lnTo>
                  <a:pt x="338987" y="155716"/>
                </a:lnTo>
                <a:lnTo>
                  <a:pt x="338987" y="341040"/>
                </a:lnTo>
                <a:lnTo>
                  <a:pt x="338987" y="531710"/>
                </a:lnTo>
                <a:lnTo>
                  <a:pt x="366721" y="531710"/>
                </a:lnTo>
                <a:lnTo>
                  <a:pt x="366721" y="341040"/>
                </a:lnTo>
                <a:lnTo>
                  <a:pt x="366721" y="155305"/>
                </a:lnTo>
                <a:lnTo>
                  <a:pt x="388002" y="143517"/>
                </a:lnTo>
                <a:lnTo>
                  <a:pt x="388002" y="25222"/>
                </a:lnTo>
                <a:close/>
                <a:moveTo>
                  <a:pt x="140867" y="0"/>
                </a:moveTo>
                <a:lnTo>
                  <a:pt x="413402" y="0"/>
                </a:lnTo>
                <a:lnTo>
                  <a:pt x="413402" y="129398"/>
                </a:lnTo>
                <a:lnTo>
                  <a:pt x="432486" y="118843"/>
                </a:lnTo>
                <a:lnTo>
                  <a:pt x="584199" y="118843"/>
                </a:lnTo>
                <a:lnTo>
                  <a:pt x="584199" y="531710"/>
                </a:lnTo>
                <a:lnTo>
                  <a:pt x="609050" y="531710"/>
                </a:lnTo>
                <a:lnTo>
                  <a:pt x="609050" y="586540"/>
                </a:lnTo>
                <a:lnTo>
                  <a:pt x="0" y="586540"/>
                </a:lnTo>
                <a:lnTo>
                  <a:pt x="0" y="531710"/>
                </a:lnTo>
                <a:lnTo>
                  <a:pt x="24851" y="531710"/>
                </a:lnTo>
                <a:lnTo>
                  <a:pt x="24851" y="155716"/>
                </a:lnTo>
                <a:lnTo>
                  <a:pt x="140867" y="1557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63" name="íŝḷïďê">
            <a:extLst>
              <a:ext uri="{FF2B5EF4-FFF2-40B4-BE49-F238E27FC236}">
                <a16:creationId xmlns:a16="http://schemas.microsoft.com/office/drawing/2014/main" id="{BEB770D2-AB3A-1442-BD33-D43C6DA0CEAC}"/>
              </a:ext>
            </a:extLst>
          </p:cNvPr>
          <p:cNvSpPr/>
          <p:nvPr/>
        </p:nvSpPr>
        <p:spPr bwMode="auto">
          <a:xfrm>
            <a:off x="2808543" y="5270133"/>
            <a:ext cx="312274" cy="300732"/>
          </a:xfrm>
          <a:custGeom>
            <a:avLst/>
            <a:gdLst>
              <a:gd name="connsiteX0" fmla="*/ 216243 w 609050"/>
              <a:gd name="connsiteY0" fmla="*/ 412730 h 586540"/>
              <a:gd name="connsiteX1" fmla="*/ 216243 w 609050"/>
              <a:gd name="connsiteY1" fmla="*/ 456594 h 586540"/>
              <a:gd name="connsiteX2" fmla="*/ 293953 w 609050"/>
              <a:gd name="connsiteY2" fmla="*/ 456594 h 586540"/>
              <a:gd name="connsiteX3" fmla="*/ 293953 w 609050"/>
              <a:gd name="connsiteY3" fmla="*/ 412730 h 586540"/>
              <a:gd name="connsiteX4" fmla="*/ 69884 w 609050"/>
              <a:gd name="connsiteY4" fmla="*/ 412730 h 586540"/>
              <a:gd name="connsiteX5" fmla="*/ 69884 w 609050"/>
              <a:gd name="connsiteY5" fmla="*/ 456594 h 586540"/>
              <a:gd name="connsiteX6" fmla="*/ 147595 w 609050"/>
              <a:gd name="connsiteY6" fmla="*/ 456594 h 586540"/>
              <a:gd name="connsiteX7" fmla="*/ 147595 w 609050"/>
              <a:gd name="connsiteY7" fmla="*/ 412730 h 586540"/>
              <a:gd name="connsiteX8" fmla="*/ 460769 w 609050"/>
              <a:gd name="connsiteY8" fmla="*/ 376268 h 586540"/>
              <a:gd name="connsiteX9" fmla="*/ 460769 w 609050"/>
              <a:gd name="connsiteY9" fmla="*/ 414786 h 586540"/>
              <a:gd name="connsiteX10" fmla="*/ 555916 w 609050"/>
              <a:gd name="connsiteY10" fmla="*/ 414786 h 586540"/>
              <a:gd name="connsiteX11" fmla="*/ 555916 w 609050"/>
              <a:gd name="connsiteY11" fmla="*/ 376268 h 586540"/>
              <a:gd name="connsiteX12" fmla="*/ 216243 w 609050"/>
              <a:gd name="connsiteY12" fmla="*/ 339670 h 586540"/>
              <a:gd name="connsiteX13" fmla="*/ 216243 w 609050"/>
              <a:gd name="connsiteY13" fmla="*/ 383533 h 586540"/>
              <a:gd name="connsiteX14" fmla="*/ 293953 w 609050"/>
              <a:gd name="connsiteY14" fmla="*/ 383533 h 586540"/>
              <a:gd name="connsiteX15" fmla="*/ 293953 w 609050"/>
              <a:gd name="connsiteY15" fmla="*/ 339670 h 586540"/>
              <a:gd name="connsiteX16" fmla="*/ 69884 w 609050"/>
              <a:gd name="connsiteY16" fmla="*/ 339670 h 586540"/>
              <a:gd name="connsiteX17" fmla="*/ 69884 w 609050"/>
              <a:gd name="connsiteY17" fmla="*/ 383533 h 586540"/>
              <a:gd name="connsiteX18" fmla="*/ 147595 w 609050"/>
              <a:gd name="connsiteY18" fmla="*/ 383533 h 586540"/>
              <a:gd name="connsiteX19" fmla="*/ 147595 w 609050"/>
              <a:gd name="connsiteY19" fmla="*/ 339670 h 586540"/>
              <a:gd name="connsiteX20" fmla="*/ 460769 w 609050"/>
              <a:gd name="connsiteY20" fmla="*/ 303071 h 586540"/>
              <a:gd name="connsiteX21" fmla="*/ 460769 w 609050"/>
              <a:gd name="connsiteY21" fmla="*/ 341726 h 586540"/>
              <a:gd name="connsiteX22" fmla="*/ 555916 w 609050"/>
              <a:gd name="connsiteY22" fmla="*/ 341726 h 586540"/>
              <a:gd name="connsiteX23" fmla="*/ 555916 w 609050"/>
              <a:gd name="connsiteY23" fmla="*/ 303071 h 586540"/>
              <a:gd name="connsiteX24" fmla="*/ 216243 w 609050"/>
              <a:gd name="connsiteY24" fmla="*/ 266609 h 586540"/>
              <a:gd name="connsiteX25" fmla="*/ 216243 w 609050"/>
              <a:gd name="connsiteY25" fmla="*/ 310473 h 586540"/>
              <a:gd name="connsiteX26" fmla="*/ 293953 w 609050"/>
              <a:gd name="connsiteY26" fmla="*/ 310473 h 586540"/>
              <a:gd name="connsiteX27" fmla="*/ 293953 w 609050"/>
              <a:gd name="connsiteY27" fmla="*/ 266609 h 586540"/>
              <a:gd name="connsiteX28" fmla="*/ 69884 w 609050"/>
              <a:gd name="connsiteY28" fmla="*/ 266609 h 586540"/>
              <a:gd name="connsiteX29" fmla="*/ 69884 w 609050"/>
              <a:gd name="connsiteY29" fmla="*/ 310473 h 586540"/>
              <a:gd name="connsiteX30" fmla="*/ 147595 w 609050"/>
              <a:gd name="connsiteY30" fmla="*/ 310473 h 586540"/>
              <a:gd name="connsiteX31" fmla="*/ 147595 w 609050"/>
              <a:gd name="connsiteY31" fmla="*/ 266609 h 586540"/>
              <a:gd name="connsiteX32" fmla="*/ 460769 w 609050"/>
              <a:gd name="connsiteY32" fmla="*/ 230010 h 586540"/>
              <a:gd name="connsiteX33" fmla="*/ 460769 w 609050"/>
              <a:gd name="connsiteY33" fmla="*/ 268528 h 586540"/>
              <a:gd name="connsiteX34" fmla="*/ 555916 w 609050"/>
              <a:gd name="connsiteY34" fmla="*/ 268528 h 586540"/>
              <a:gd name="connsiteX35" fmla="*/ 555916 w 609050"/>
              <a:gd name="connsiteY35" fmla="*/ 230010 h 586540"/>
              <a:gd name="connsiteX36" fmla="*/ 216243 w 609050"/>
              <a:gd name="connsiteY36" fmla="*/ 193549 h 586540"/>
              <a:gd name="connsiteX37" fmla="*/ 216243 w 609050"/>
              <a:gd name="connsiteY37" fmla="*/ 237412 h 586540"/>
              <a:gd name="connsiteX38" fmla="*/ 293953 w 609050"/>
              <a:gd name="connsiteY38" fmla="*/ 237412 h 586540"/>
              <a:gd name="connsiteX39" fmla="*/ 293953 w 609050"/>
              <a:gd name="connsiteY39" fmla="*/ 193549 h 586540"/>
              <a:gd name="connsiteX40" fmla="*/ 69884 w 609050"/>
              <a:gd name="connsiteY40" fmla="*/ 193549 h 586540"/>
              <a:gd name="connsiteX41" fmla="*/ 69884 w 609050"/>
              <a:gd name="connsiteY41" fmla="*/ 237412 h 586540"/>
              <a:gd name="connsiteX42" fmla="*/ 147595 w 609050"/>
              <a:gd name="connsiteY42" fmla="*/ 237412 h 586540"/>
              <a:gd name="connsiteX43" fmla="*/ 147595 w 609050"/>
              <a:gd name="connsiteY43" fmla="*/ 193549 h 586540"/>
              <a:gd name="connsiteX44" fmla="*/ 460769 w 609050"/>
              <a:gd name="connsiteY44" fmla="*/ 156950 h 586540"/>
              <a:gd name="connsiteX45" fmla="*/ 460769 w 609050"/>
              <a:gd name="connsiteY45" fmla="*/ 195468 h 586540"/>
              <a:gd name="connsiteX46" fmla="*/ 555916 w 609050"/>
              <a:gd name="connsiteY46" fmla="*/ 195468 h 586540"/>
              <a:gd name="connsiteX47" fmla="*/ 555916 w 609050"/>
              <a:gd name="connsiteY47" fmla="*/ 156950 h 586540"/>
              <a:gd name="connsiteX48" fmla="*/ 192926 w 609050"/>
              <a:gd name="connsiteY48" fmla="*/ 96251 h 586540"/>
              <a:gd name="connsiteX49" fmla="*/ 361366 w 609050"/>
              <a:gd name="connsiteY49" fmla="*/ 96251 h 586540"/>
              <a:gd name="connsiteX50" fmla="*/ 361366 w 609050"/>
              <a:gd name="connsiteY50" fmla="*/ 114880 h 586540"/>
              <a:gd name="connsiteX51" fmla="*/ 192926 w 609050"/>
              <a:gd name="connsiteY51" fmla="*/ 114880 h 586540"/>
              <a:gd name="connsiteX52" fmla="*/ 192926 w 609050"/>
              <a:gd name="connsiteY52" fmla="*/ 49819 h 586540"/>
              <a:gd name="connsiteX53" fmla="*/ 361366 w 609050"/>
              <a:gd name="connsiteY53" fmla="*/ 49819 h 586540"/>
              <a:gd name="connsiteX54" fmla="*/ 361366 w 609050"/>
              <a:gd name="connsiteY54" fmla="*/ 68307 h 586540"/>
              <a:gd name="connsiteX55" fmla="*/ 192926 w 609050"/>
              <a:gd name="connsiteY55" fmla="*/ 68307 h 586540"/>
              <a:gd name="connsiteX56" fmla="*/ 166130 w 609050"/>
              <a:gd name="connsiteY56" fmla="*/ 25222 h 586540"/>
              <a:gd name="connsiteX57" fmla="*/ 166130 w 609050"/>
              <a:gd name="connsiteY57" fmla="*/ 155716 h 586540"/>
              <a:gd name="connsiteX58" fmla="*/ 338987 w 609050"/>
              <a:gd name="connsiteY58" fmla="*/ 155716 h 586540"/>
              <a:gd name="connsiteX59" fmla="*/ 338987 w 609050"/>
              <a:gd name="connsiteY59" fmla="*/ 341040 h 586540"/>
              <a:gd name="connsiteX60" fmla="*/ 338987 w 609050"/>
              <a:gd name="connsiteY60" fmla="*/ 531710 h 586540"/>
              <a:gd name="connsiteX61" fmla="*/ 366721 w 609050"/>
              <a:gd name="connsiteY61" fmla="*/ 531710 h 586540"/>
              <a:gd name="connsiteX62" fmla="*/ 366721 w 609050"/>
              <a:gd name="connsiteY62" fmla="*/ 341040 h 586540"/>
              <a:gd name="connsiteX63" fmla="*/ 366721 w 609050"/>
              <a:gd name="connsiteY63" fmla="*/ 155305 h 586540"/>
              <a:gd name="connsiteX64" fmla="*/ 388002 w 609050"/>
              <a:gd name="connsiteY64" fmla="*/ 143517 h 586540"/>
              <a:gd name="connsiteX65" fmla="*/ 388002 w 609050"/>
              <a:gd name="connsiteY65" fmla="*/ 25222 h 586540"/>
              <a:gd name="connsiteX66" fmla="*/ 140867 w 609050"/>
              <a:gd name="connsiteY66" fmla="*/ 0 h 586540"/>
              <a:gd name="connsiteX67" fmla="*/ 413402 w 609050"/>
              <a:gd name="connsiteY67" fmla="*/ 0 h 586540"/>
              <a:gd name="connsiteX68" fmla="*/ 413402 w 609050"/>
              <a:gd name="connsiteY68" fmla="*/ 129398 h 586540"/>
              <a:gd name="connsiteX69" fmla="*/ 432486 w 609050"/>
              <a:gd name="connsiteY69" fmla="*/ 118843 h 586540"/>
              <a:gd name="connsiteX70" fmla="*/ 584199 w 609050"/>
              <a:gd name="connsiteY70" fmla="*/ 118843 h 586540"/>
              <a:gd name="connsiteX71" fmla="*/ 584199 w 609050"/>
              <a:gd name="connsiteY71" fmla="*/ 531710 h 586540"/>
              <a:gd name="connsiteX72" fmla="*/ 609050 w 609050"/>
              <a:gd name="connsiteY72" fmla="*/ 531710 h 586540"/>
              <a:gd name="connsiteX73" fmla="*/ 609050 w 609050"/>
              <a:gd name="connsiteY73" fmla="*/ 586540 h 586540"/>
              <a:gd name="connsiteX74" fmla="*/ 0 w 609050"/>
              <a:gd name="connsiteY74" fmla="*/ 586540 h 586540"/>
              <a:gd name="connsiteX75" fmla="*/ 0 w 609050"/>
              <a:gd name="connsiteY75" fmla="*/ 531710 h 586540"/>
              <a:gd name="connsiteX76" fmla="*/ 24851 w 609050"/>
              <a:gd name="connsiteY76" fmla="*/ 531710 h 586540"/>
              <a:gd name="connsiteX77" fmla="*/ 24851 w 609050"/>
              <a:gd name="connsiteY77" fmla="*/ 155716 h 586540"/>
              <a:gd name="connsiteX78" fmla="*/ 140867 w 609050"/>
              <a:gd name="connsiteY78" fmla="*/ 155716 h 586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9050" h="586540">
                <a:moveTo>
                  <a:pt x="216243" y="412730"/>
                </a:moveTo>
                <a:lnTo>
                  <a:pt x="216243" y="456594"/>
                </a:lnTo>
                <a:lnTo>
                  <a:pt x="293953" y="456594"/>
                </a:lnTo>
                <a:lnTo>
                  <a:pt x="293953" y="412730"/>
                </a:lnTo>
                <a:close/>
                <a:moveTo>
                  <a:pt x="69884" y="412730"/>
                </a:moveTo>
                <a:lnTo>
                  <a:pt x="69884" y="456594"/>
                </a:lnTo>
                <a:lnTo>
                  <a:pt x="147595" y="456594"/>
                </a:lnTo>
                <a:lnTo>
                  <a:pt x="147595" y="412730"/>
                </a:lnTo>
                <a:close/>
                <a:moveTo>
                  <a:pt x="460769" y="376268"/>
                </a:moveTo>
                <a:lnTo>
                  <a:pt x="460769" y="414786"/>
                </a:lnTo>
                <a:lnTo>
                  <a:pt x="555916" y="414786"/>
                </a:lnTo>
                <a:lnTo>
                  <a:pt x="555916" y="376268"/>
                </a:lnTo>
                <a:close/>
                <a:moveTo>
                  <a:pt x="216243" y="339670"/>
                </a:moveTo>
                <a:lnTo>
                  <a:pt x="216243" y="383533"/>
                </a:lnTo>
                <a:lnTo>
                  <a:pt x="293953" y="383533"/>
                </a:lnTo>
                <a:lnTo>
                  <a:pt x="293953" y="339670"/>
                </a:lnTo>
                <a:close/>
                <a:moveTo>
                  <a:pt x="69884" y="339670"/>
                </a:moveTo>
                <a:lnTo>
                  <a:pt x="69884" y="383533"/>
                </a:lnTo>
                <a:lnTo>
                  <a:pt x="147595" y="383533"/>
                </a:lnTo>
                <a:lnTo>
                  <a:pt x="147595" y="339670"/>
                </a:lnTo>
                <a:close/>
                <a:moveTo>
                  <a:pt x="460769" y="303071"/>
                </a:moveTo>
                <a:lnTo>
                  <a:pt x="460769" y="341726"/>
                </a:lnTo>
                <a:lnTo>
                  <a:pt x="555916" y="341726"/>
                </a:lnTo>
                <a:lnTo>
                  <a:pt x="555916" y="303071"/>
                </a:lnTo>
                <a:close/>
                <a:moveTo>
                  <a:pt x="216243" y="266609"/>
                </a:moveTo>
                <a:lnTo>
                  <a:pt x="216243" y="310473"/>
                </a:lnTo>
                <a:lnTo>
                  <a:pt x="293953" y="310473"/>
                </a:lnTo>
                <a:lnTo>
                  <a:pt x="293953" y="266609"/>
                </a:lnTo>
                <a:close/>
                <a:moveTo>
                  <a:pt x="69884" y="266609"/>
                </a:moveTo>
                <a:lnTo>
                  <a:pt x="69884" y="310473"/>
                </a:lnTo>
                <a:lnTo>
                  <a:pt x="147595" y="310473"/>
                </a:lnTo>
                <a:lnTo>
                  <a:pt x="147595" y="266609"/>
                </a:lnTo>
                <a:close/>
                <a:moveTo>
                  <a:pt x="460769" y="230010"/>
                </a:moveTo>
                <a:lnTo>
                  <a:pt x="460769" y="268528"/>
                </a:lnTo>
                <a:lnTo>
                  <a:pt x="555916" y="268528"/>
                </a:lnTo>
                <a:lnTo>
                  <a:pt x="555916" y="230010"/>
                </a:lnTo>
                <a:close/>
                <a:moveTo>
                  <a:pt x="216243" y="193549"/>
                </a:moveTo>
                <a:lnTo>
                  <a:pt x="216243" y="237412"/>
                </a:lnTo>
                <a:lnTo>
                  <a:pt x="293953" y="237412"/>
                </a:lnTo>
                <a:lnTo>
                  <a:pt x="293953" y="193549"/>
                </a:lnTo>
                <a:close/>
                <a:moveTo>
                  <a:pt x="69884" y="193549"/>
                </a:moveTo>
                <a:lnTo>
                  <a:pt x="69884" y="237412"/>
                </a:lnTo>
                <a:lnTo>
                  <a:pt x="147595" y="237412"/>
                </a:lnTo>
                <a:lnTo>
                  <a:pt x="147595" y="193549"/>
                </a:lnTo>
                <a:close/>
                <a:moveTo>
                  <a:pt x="460769" y="156950"/>
                </a:moveTo>
                <a:lnTo>
                  <a:pt x="460769" y="195468"/>
                </a:lnTo>
                <a:lnTo>
                  <a:pt x="555916" y="195468"/>
                </a:lnTo>
                <a:lnTo>
                  <a:pt x="555916" y="156950"/>
                </a:lnTo>
                <a:close/>
                <a:moveTo>
                  <a:pt x="192926" y="96251"/>
                </a:moveTo>
                <a:lnTo>
                  <a:pt x="361366" y="96251"/>
                </a:lnTo>
                <a:lnTo>
                  <a:pt x="361366" y="114880"/>
                </a:lnTo>
                <a:lnTo>
                  <a:pt x="192926" y="114880"/>
                </a:lnTo>
                <a:close/>
                <a:moveTo>
                  <a:pt x="192926" y="49819"/>
                </a:moveTo>
                <a:lnTo>
                  <a:pt x="361366" y="49819"/>
                </a:lnTo>
                <a:lnTo>
                  <a:pt x="361366" y="68307"/>
                </a:lnTo>
                <a:lnTo>
                  <a:pt x="192926" y="68307"/>
                </a:lnTo>
                <a:close/>
                <a:moveTo>
                  <a:pt x="166130" y="25222"/>
                </a:moveTo>
                <a:lnTo>
                  <a:pt x="166130" y="155716"/>
                </a:lnTo>
                <a:lnTo>
                  <a:pt x="338987" y="155716"/>
                </a:lnTo>
                <a:lnTo>
                  <a:pt x="338987" y="341040"/>
                </a:lnTo>
                <a:lnTo>
                  <a:pt x="338987" y="531710"/>
                </a:lnTo>
                <a:lnTo>
                  <a:pt x="366721" y="531710"/>
                </a:lnTo>
                <a:lnTo>
                  <a:pt x="366721" y="341040"/>
                </a:lnTo>
                <a:lnTo>
                  <a:pt x="366721" y="155305"/>
                </a:lnTo>
                <a:lnTo>
                  <a:pt x="388002" y="143517"/>
                </a:lnTo>
                <a:lnTo>
                  <a:pt x="388002" y="25222"/>
                </a:lnTo>
                <a:close/>
                <a:moveTo>
                  <a:pt x="140867" y="0"/>
                </a:moveTo>
                <a:lnTo>
                  <a:pt x="413402" y="0"/>
                </a:lnTo>
                <a:lnTo>
                  <a:pt x="413402" y="129398"/>
                </a:lnTo>
                <a:lnTo>
                  <a:pt x="432486" y="118843"/>
                </a:lnTo>
                <a:lnTo>
                  <a:pt x="584199" y="118843"/>
                </a:lnTo>
                <a:lnTo>
                  <a:pt x="584199" y="531710"/>
                </a:lnTo>
                <a:lnTo>
                  <a:pt x="609050" y="531710"/>
                </a:lnTo>
                <a:lnTo>
                  <a:pt x="609050" y="586540"/>
                </a:lnTo>
                <a:lnTo>
                  <a:pt x="0" y="586540"/>
                </a:lnTo>
                <a:lnTo>
                  <a:pt x="0" y="531710"/>
                </a:lnTo>
                <a:lnTo>
                  <a:pt x="24851" y="531710"/>
                </a:lnTo>
                <a:lnTo>
                  <a:pt x="24851" y="155716"/>
                </a:lnTo>
                <a:lnTo>
                  <a:pt x="140867" y="1557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9" name="íṩ1iďê">
            <a:extLst>
              <a:ext uri="{FF2B5EF4-FFF2-40B4-BE49-F238E27FC236}">
                <a16:creationId xmlns:a16="http://schemas.microsoft.com/office/drawing/2014/main" id="{07893F27-0686-CC41-B9E6-7B2AB9D6BA7A}"/>
              </a:ext>
            </a:extLst>
          </p:cNvPr>
          <p:cNvSpPr/>
          <p:nvPr/>
        </p:nvSpPr>
        <p:spPr bwMode="auto">
          <a:xfrm>
            <a:off x="3797580" y="5270133"/>
            <a:ext cx="312274" cy="300732"/>
          </a:xfrm>
          <a:custGeom>
            <a:avLst/>
            <a:gdLst>
              <a:gd name="connsiteX0" fmla="*/ 216243 w 609050"/>
              <a:gd name="connsiteY0" fmla="*/ 412730 h 586540"/>
              <a:gd name="connsiteX1" fmla="*/ 216243 w 609050"/>
              <a:gd name="connsiteY1" fmla="*/ 456594 h 586540"/>
              <a:gd name="connsiteX2" fmla="*/ 293953 w 609050"/>
              <a:gd name="connsiteY2" fmla="*/ 456594 h 586540"/>
              <a:gd name="connsiteX3" fmla="*/ 293953 w 609050"/>
              <a:gd name="connsiteY3" fmla="*/ 412730 h 586540"/>
              <a:gd name="connsiteX4" fmla="*/ 69884 w 609050"/>
              <a:gd name="connsiteY4" fmla="*/ 412730 h 586540"/>
              <a:gd name="connsiteX5" fmla="*/ 69884 w 609050"/>
              <a:gd name="connsiteY5" fmla="*/ 456594 h 586540"/>
              <a:gd name="connsiteX6" fmla="*/ 147595 w 609050"/>
              <a:gd name="connsiteY6" fmla="*/ 456594 h 586540"/>
              <a:gd name="connsiteX7" fmla="*/ 147595 w 609050"/>
              <a:gd name="connsiteY7" fmla="*/ 412730 h 586540"/>
              <a:gd name="connsiteX8" fmla="*/ 460769 w 609050"/>
              <a:gd name="connsiteY8" fmla="*/ 376268 h 586540"/>
              <a:gd name="connsiteX9" fmla="*/ 460769 w 609050"/>
              <a:gd name="connsiteY9" fmla="*/ 414786 h 586540"/>
              <a:gd name="connsiteX10" fmla="*/ 555916 w 609050"/>
              <a:gd name="connsiteY10" fmla="*/ 414786 h 586540"/>
              <a:gd name="connsiteX11" fmla="*/ 555916 w 609050"/>
              <a:gd name="connsiteY11" fmla="*/ 376268 h 586540"/>
              <a:gd name="connsiteX12" fmla="*/ 216243 w 609050"/>
              <a:gd name="connsiteY12" fmla="*/ 339670 h 586540"/>
              <a:gd name="connsiteX13" fmla="*/ 216243 w 609050"/>
              <a:gd name="connsiteY13" fmla="*/ 383533 h 586540"/>
              <a:gd name="connsiteX14" fmla="*/ 293953 w 609050"/>
              <a:gd name="connsiteY14" fmla="*/ 383533 h 586540"/>
              <a:gd name="connsiteX15" fmla="*/ 293953 w 609050"/>
              <a:gd name="connsiteY15" fmla="*/ 339670 h 586540"/>
              <a:gd name="connsiteX16" fmla="*/ 69884 w 609050"/>
              <a:gd name="connsiteY16" fmla="*/ 339670 h 586540"/>
              <a:gd name="connsiteX17" fmla="*/ 69884 w 609050"/>
              <a:gd name="connsiteY17" fmla="*/ 383533 h 586540"/>
              <a:gd name="connsiteX18" fmla="*/ 147595 w 609050"/>
              <a:gd name="connsiteY18" fmla="*/ 383533 h 586540"/>
              <a:gd name="connsiteX19" fmla="*/ 147595 w 609050"/>
              <a:gd name="connsiteY19" fmla="*/ 339670 h 586540"/>
              <a:gd name="connsiteX20" fmla="*/ 460769 w 609050"/>
              <a:gd name="connsiteY20" fmla="*/ 303071 h 586540"/>
              <a:gd name="connsiteX21" fmla="*/ 460769 w 609050"/>
              <a:gd name="connsiteY21" fmla="*/ 341726 h 586540"/>
              <a:gd name="connsiteX22" fmla="*/ 555916 w 609050"/>
              <a:gd name="connsiteY22" fmla="*/ 341726 h 586540"/>
              <a:gd name="connsiteX23" fmla="*/ 555916 w 609050"/>
              <a:gd name="connsiteY23" fmla="*/ 303071 h 586540"/>
              <a:gd name="connsiteX24" fmla="*/ 216243 w 609050"/>
              <a:gd name="connsiteY24" fmla="*/ 266609 h 586540"/>
              <a:gd name="connsiteX25" fmla="*/ 216243 w 609050"/>
              <a:gd name="connsiteY25" fmla="*/ 310473 h 586540"/>
              <a:gd name="connsiteX26" fmla="*/ 293953 w 609050"/>
              <a:gd name="connsiteY26" fmla="*/ 310473 h 586540"/>
              <a:gd name="connsiteX27" fmla="*/ 293953 w 609050"/>
              <a:gd name="connsiteY27" fmla="*/ 266609 h 586540"/>
              <a:gd name="connsiteX28" fmla="*/ 69884 w 609050"/>
              <a:gd name="connsiteY28" fmla="*/ 266609 h 586540"/>
              <a:gd name="connsiteX29" fmla="*/ 69884 w 609050"/>
              <a:gd name="connsiteY29" fmla="*/ 310473 h 586540"/>
              <a:gd name="connsiteX30" fmla="*/ 147595 w 609050"/>
              <a:gd name="connsiteY30" fmla="*/ 310473 h 586540"/>
              <a:gd name="connsiteX31" fmla="*/ 147595 w 609050"/>
              <a:gd name="connsiteY31" fmla="*/ 266609 h 586540"/>
              <a:gd name="connsiteX32" fmla="*/ 460769 w 609050"/>
              <a:gd name="connsiteY32" fmla="*/ 230010 h 586540"/>
              <a:gd name="connsiteX33" fmla="*/ 460769 w 609050"/>
              <a:gd name="connsiteY33" fmla="*/ 268528 h 586540"/>
              <a:gd name="connsiteX34" fmla="*/ 555916 w 609050"/>
              <a:gd name="connsiteY34" fmla="*/ 268528 h 586540"/>
              <a:gd name="connsiteX35" fmla="*/ 555916 w 609050"/>
              <a:gd name="connsiteY35" fmla="*/ 230010 h 586540"/>
              <a:gd name="connsiteX36" fmla="*/ 216243 w 609050"/>
              <a:gd name="connsiteY36" fmla="*/ 193549 h 586540"/>
              <a:gd name="connsiteX37" fmla="*/ 216243 w 609050"/>
              <a:gd name="connsiteY37" fmla="*/ 237412 h 586540"/>
              <a:gd name="connsiteX38" fmla="*/ 293953 w 609050"/>
              <a:gd name="connsiteY38" fmla="*/ 237412 h 586540"/>
              <a:gd name="connsiteX39" fmla="*/ 293953 w 609050"/>
              <a:gd name="connsiteY39" fmla="*/ 193549 h 586540"/>
              <a:gd name="connsiteX40" fmla="*/ 69884 w 609050"/>
              <a:gd name="connsiteY40" fmla="*/ 193549 h 586540"/>
              <a:gd name="connsiteX41" fmla="*/ 69884 w 609050"/>
              <a:gd name="connsiteY41" fmla="*/ 237412 h 586540"/>
              <a:gd name="connsiteX42" fmla="*/ 147595 w 609050"/>
              <a:gd name="connsiteY42" fmla="*/ 237412 h 586540"/>
              <a:gd name="connsiteX43" fmla="*/ 147595 w 609050"/>
              <a:gd name="connsiteY43" fmla="*/ 193549 h 586540"/>
              <a:gd name="connsiteX44" fmla="*/ 460769 w 609050"/>
              <a:gd name="connsiteY44" fmla="*/ 156950 h 586540"/>
              <a:gd name="connsiteX45" fmla="*/ 460769 w 609050"/>
              <a:gd name="connsiteY45" fmla="*/ 195468 h 586540"/>
              <a:gd name="connsiteX46" fmla="*/ 555916 w 609050"/>
              <a:gd name="connsiteY46" fmla="*/ 195468 h 586540"/>
              <a:gd name="connsiteX47" fmla="*/ 555916 w 609050"/>
              <a:gd name="connsiteY47" fmla="*/ 156950 h 586540"/>
              <a:gd name="connsiteX48" fmla="*/ 192926 w 609050"/>
              <a:gd name="connsiteY48" fmla="*/ 96251 h 586540"/>
              <a:gd name="connsiteX49" fmla="*/ 361366 w 609050"/>
              <a:gd name="connsiteY49" fmla="*/ 96251 h 586540"/>
              <a:gd name="connsiteX50" fmla="*/ 361366 w 609050"/>
              <a:gd name="connsiteY50" fmla="*/ 114880 h 586540"/>
              <a:gd name="connsiteX51" fmla="*/ 192926 w 609050"/>
              <a:gd name="connsiteY51" fmla="*/ 114880 h 586540"/>
              <a:gd name="connsiteX52" fmla="*/ 192926 w 609050"/>
              <a:gd name="connsiteY52" fmla="*/ 49819 h 586540"/>
              <a:gd name="connsiteX53" fmla="*/ 361366 w 609050"/>
              <a:gd name="connsiteY53" fmla="*/ 49819 h 586540"/>
              <a:gd name="connsiteX54" fmla="*/ 361366 w 609050"/>
              <a:gd name="connsiteY54" fmla="*/ 68307 h 586540"/>
              <a:gd name="connsiteX55" fmla="*/ 192926 w 609050"/>
              <a:gd name="connsiteY55" fmla="*/ 68307 h 586540"/>
              <a:gd name="connsiteX56" fmla="*/ 166130 w 609050"/>
              <a:gd name="connsiteY56" fmla="*/ 25222 h 586540"/>
              <a:gd name="connsiteX57" fmla="*/ 166130 w 609050"/>
              <a:gd name="connsiteY57" fmla="*/ 155716 h 586540"/>
              <a:gd name="connsiteX58" fmla="*/ 338987 w 609050"/>
              <a:gd name="connsiteY58" fmla="*/ 155716 h 586540"/>
              <a:gd name="connsiteX59" fmla="*/ 338987 w 609050"/>
              <a:gd name="connsiteY59" fmla="*/ 341040 h 586540"/>
              <a:gd name="connsiteX60" fmla="*/ 338987 w 609050"/>
              <a:gd name="connsiteY60" fmla="*/ 531710 h 586540"/>
              <a:gd name="connsiteX61" fmla="*/ 366721 w 609050"/>
              <a:gd name="connsiteY61" fmla="*/ 531710 h 586540"/>
              <a:gd name="connsiteX62" fmla="*/ 366721 w 609050"/>
              <a:gd name="connsiteY62" fmla="*/ 341040 h 586540"/>
              <a:gd name="connsiteX63" fmla="*/ 366721 w 609050"/>
              <a:gd name="connsiteY63" fmla="*/ 155305 h 586540"/>
              <a:gd name="connsiteX64" fmla="*/ 388002 w 609050"/>
              <a:gd name="connsiteY64" fmla="*/ 143517 h 586540"/>
              <a:gd name="connsiteX65" fmla="*/ 388002 w 609050"/>
              <a:gd name="connsiteY65" fmla="*/ 25222 h 586540"/>
              <a:gd name="connsiteX66" fmla="*/ 140867 w 609050"/>
              <a:gd name="connsiteY66" fmla="*/ 0 h 586540"/>
              <a:gd name="connsiteX67" fmla="*/ 413402 w 609050"/>
              <a:gd name="connsiteY67" fmla="*/ 0 h 586540"/>
              <a:gd name="connsiteX68" fmla="*/ 413402 w 609050"/>
              <a:gd name="connsiteY68" fmla="*/ 129398 h 586540"/>
              <a:gd name="connsiteX69" fmla="*/ 432486 w 609050"/>
              <a:gd name="connsiteY69" fmla="*/ 118843 h 586540"/>
              <a:gd name="connsiteX70" fmla="*/ 584199 w 609050"/>
              <a:gd name="connsiteY70" fmla="*/ 118843 h 586540"/>
              <a:gd name="connsiteX71" fmla="*/ 584199 w 609050"/>
              <a:gd name="connsiteY71" fmla="*/ 531710 h 586540"/>
              <a:gd name="connsiteX72" fmla="*/ 609050 w 609050"/>
              <a:gd name="connsiteY72" fmla="*/ 531710 h 586540"/>
              <a:gd name="connsiteX73" fmla="*/ 609050 w 609050"/>
              <a:gd name="connsiteY73" fmla="*/ 586540 h 586540"/>
              <a:gd name="connsiteX74" fmla="*/ 0 w 609050"/>
              <a:gd name="connsiteY74" fmla="*/ 586540 h 586540"/>
              <a:gd name="connsiteX75" fmla="*/ 0 w 609050"/>
              <a:gd name="connsiteY75" fmla="*/ 531710 h 586540"/>
              <a:gd name="connsiteX76" fmla="*/ 24851 w 609050"/>
              <a:gd name="connsiteY76" fmla="*/ 531710 h 586540"/>
              <a:gd name="connsiteX77" fmla="*/ 24851 w 609050"/>
              <a:gd name="connsiteY77" fmla="*/ 155716 h 586540"/>
              <a:gd name="connsiteX78" fmla="*/ 140867 w 609050"/>
              <a:gd name="connsiteY78" fmla="*/ 155716 h 586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9050" h="586540">
                <a:moveTo>
                  <a:pt x="216243" y="412730"/>
                </a:moveTo>
                <a:lnTo>
                  <a:pt x="216243" y="456594"/>
                </a:lnTo>
                <a:lnTo>
                  <a:pt x="293953" y="456594"/>
                </a:lnTo>
                <a:lnTo>
                  <a:pt x="293953" y="412730"/>
                </a:lnTo>
                <a:close/>
                <a:moveTo>
                  <a:pt x="69884" y="412730"/>
                </a:moveTo>
                <a:lnTo>
                  <a:pt x="69884" y="456594"/>
                </a:lnTo>
                <a:lnTo>
                  <a:pt x="147595" y="456594"/>
                </a:lnTo>
                <a:lnTo>
                  <a:pt x="147595" y="412730"/>
                </a:lnTo>
                <a:close/>
                <a:moveTo>
                  <a:pt x="460769" y="376268"/>
                </a:moveTo>
                <a:lnTo>
                  <a:pt x="460769" y="414786"/>
                </a:lnTo>
                <a:lnTo>
                  <a:pt x="555916" y="414786"/>
                </a:lnTo>
                <a:lnTo>
                  <a:pt x="555916" y="376268"/>
                </a:lnTo>
                <a:close/>
                <a:moveTo>
                  <a:pt x="216243" y="339670"/>
                </a:moveTo>
                <a:lnTo>
                  <a:pt x="216243" y="383533"/>
                </a:lnTo>
                <a:lnTo>
                  <a:pt x="293953" y="383533"/>
                </a:lnTo>
                <a:lnTo>
                  <a:pt x="293953" y="339670"/>
                </a:lnTo>
                <a:close/>
                <a:moveTo>
                  <a:pt x="69884" y="339670"/>
                </a:moveTo>
                <a:lnTo>
                  <a:pt x="69884" y="383533"/>
                </a:lnTo>
                <a:lnTo>
                  <a:pt x="147595" y="383533"/>
                </a:lnTo>
                <a:lnTo>
                  <a:pt x="147595" y="339670"/>
                </a:lnTo>
                <a:close/>
                <a:moveTo>
                  <a:pt x="460769" y="303071"/>
                </a:moveTo>
                <a:lnTo>
                  <a:pt x="460769" y="341726"/>
                </a:lnTo>
                <a:lnTo>
                  <a:pt x="555916" y="341726"/>
                </a:lnTo>
                <a:lnTo>
                  <a:pt x="555916" y="303071"/>
                </a:lnTo>
                <a:close/>
                <a:moveTo>
                  <a:pt x="216243" y="266609"/>
                </a:moveTo>
                <a:lnTo>
                  <a:pt x="216243" y="310473"/>
                </a:lnTo>
                <a:lnTo>
                  <a:pt x="293953" y="310473"/>
                </a:lnTo>
                <a:lnTo>
                  <a:pt x="293953" y="266609"/>
                </a:lnTo>
                <a:close/>
                <a:moveTo>
                  <a:pt x="69884" y="266609"/>
                </a:moveTo>
                <a:lnTo>
                  <a:pt x="69884" y="310473"/>
                </a:lnTo>
                <a:lnTo>
                  <a:pt x="147595" y="310473"/>
                </a:lnTo>
                <a:lnTo>
                  <a:pt x="147595" y="266609"/>
                </a:lnTo>
                <a:close/>
                <a:moveTo>
                  <a:pt x="460769" y="230010"/>
                </a:moveTo>
                <a:lnTo>
                  <a:pt x="460769" y="268528"/>
                </a:lnTo>
                <a:lnTo>
                  <a:pt x="555916" y="268528"/>
                </a:lnTo>
                <a:lnTo>
                  <a:pt x="555916" y="230010"/>
                </a:lnTo>
                <a:close/>
                <a:moveTo>
                  <a:pt x="216243" y="193549"/>
                </a:moveTo>
                <a:lnTo>
                  <a:pt x="216243" y="237412"/>
                </a:lnTo>
                <a:lnTo>
                  <a:pt x="293953" y="237412"/>
                </a:lnTo>
                <a:lnTo>
                  <a:pt x="293953" y="193549"/>
                </a:lnTo>
                <a:close/>
                <a:moveTo>
                  <a:pt x="69884" y="193549"/>
                </a:moveTo>
                <a:lnTo>
                  <a:pt x="69884" y="237412"/>
                </a:lnTo>
                <a:lnTo>
                  <a:pt x="147595" y="237412"/>
                </a:lnTo>
                <a:lnTo>
                  <a:pt x="147595" y="193549"/>
                </a:lnTo>
                <a:close/>
                <a:moveTo>
                  <a:pt x="460769" y="156950"/>
                </a:moveTo>
                <a:lnTo>
                  <a:pt x="460769" y="195468"/>
                </a:lnTo>
                <a:lnTo>
                  <a:pt x="555916" y="195468"/>
                </a:lnTo>
                <a:lnTo>
                  <a:pt x="555916" y="156950"/>
                </a:lnTo>
                <a:close/>
                <a:moveTo>
                  <a:pt x="192926" y="96251"/>
                </a:moveTo>
                <a:lnTo>
                  <a:pt x="361366" y="96251"/>
                </a:lnTo>
                <a:lnTo>
                  <a:pt x="361366" y="114880"/>
                </a:lnTo>
                <a:lnTo>
                  <a:pt x="192926" y="114880"/>
                </a:lnTo>
                <a:close/>
                <a:moveTo>
                  <a:pt x="192926" y="49819"/>
                </a:moveTo>
                <a:lnTo>
                  <a:pt x="361366" y="49819"/>
                </a:lnTo>
                <a:lnTo>
                  <a:pt x="361366" y="68307"/>
                </a:lnTo>
                <a:lnTo>
                  <a:pt x="192926" y="68307"/>
                </a:lnTo>
                <a:close/>
                <a:moveTo>
                  <a:pt x="166130" y="25222"/>
                </a:moveTo>
                <a:lnTo>
                  <a:pt x="166130" y="155716"/>
                </a:lnTo>
                <a:lnTo>
                  <a:pt x="338987" y="155716"/>
                </a:lnTo>
                <a:lnTo>
                  <a:pt x="338987" y="341040"/>
                </a:lnTo>
                <a:lnTo>
                  <a:pt x="338987" y="531710"/>
                </a:lnTo>
                <a:lnTo>
                  <a:pt x="366721" y="531710"/>
                </a:lnTo>
                <a:lnTo>
                  <a:pt x="366721" y="341040"/>
                </a:lnTo>
                <a:lnTo>
                  <a:pt x="366721" y="155305"/>
                </a:lnTo>
                <a:lnTo>
                  <a:pt x="388002" y="143517"/>
                </a:lnTo>
                <a:lnTo>
                  <a:pt x="388002" y="25222"/>
                </a:lnTo>
                <a:close/>
                <a:moveTo>
                  <a:pt x="140867" y="0"/>
                </a:moveTo>
                <a:lnTo>
                  <a:pt x="413402" y="0"/>
                </a:lnTo>
                <a:lnTo>
                  <a:pt x="413402" y="129398"/>
                </a:lnTo>
                <a:lnTo>
                  <a:pt x="432486" y="118843"/>
                </a:lnTo>
                <a:lnTo>
                  <a:pt x="584199" y="118843"/>
                </a:lnTo>
                <a:lnTo>
                  <a:pt x="584199" y="531710"/>
                </a:lnTo>
                <a:lnTo>
                  <a:pt x="609050" y="531710"/>
                </a:lnTo>
                <a:lnTo>
                  <a:pt x="609050" y="586540"/>
                </a:lnTo>
                <a:lnTo>
                  <a:pt x="0" y="586540"/>
                </a:lnTo>
                <a:lnTo>
                  <a:pt x="0" y="531710"/>
                </a:lnTo>
                <a:lnTo>
                  <a:pt x="24851" y="531710"/>
                </a:lnTo>
                <a:lnTo>
                  <a:pt x="24851" y="155716"/>
                </a:lnTo>
                <a:lnTo>
                  <a:pt x="140867" y="1557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5" name="iṣľíḋê">
            <a:extLst>
              <a:ext uri="{FF2B5EF4-FFF2-40B4-BE49-F238E27FC236}">
                <a16:creationId xmlns:a16="http://schemas.microsoft.com/office/drawing/2014/main" id="{A5F352A0-7381-9D41-8EE7-8F7621107D8F}"/>
              </a:ext>
            </a:extLst>
          </p:cNvPr>
          <p:cNvSpPr/>
          <p:nvPr/>
        </p:nvSpPr>
        <p:spPr bwMode="auto">
          <a:xfrm>
            <a:off x="4786615" y="5270133"/>
            <a:ext cx="312274" cy="300732"/>
          </a:xfrm>
          <a:custGeom>
            <a:avLst/>
            <a:gdLst>
              <a:gd name="connsiteX0" fmla="*/ 216243 w 609050"/>
              <a:gd name="connsiteY0" fmla="*/ 412730 h 586540"/>
              <a:gd name="connsiteX1" fmla="*/ 216243 w 609050"/>
              <a:gd name="connsiteY1" fmla="*/ 456594 h 586540"/>
              <a:gd name="connsiteX2" fmla="*/ 293953 w 609050"/>
              <a:gd name="connsiteY2" fmla="*/ 456594 h 586540"/>
              <a:gd name="connsiteX3" fmla="*/ 293953 w 609050"/>
              <a:gd name="connsiteY3" fmla="*/ 412730 h 586540"/>
              <a:gd name="connsiteX4" fmla="*/ 69884 w 609050"/>
              <a:gd name="connsiteY4" fmla="*/ 412730 h 586540"/>
              <a:gd name="connsiteX5" fmla="*/ 69884 w 609050"/>
              <a:gd name="connsiteY5" fmla="*/ 456594 h 586540"/>
              <a:gd name="connsiteX6" fmla="*/ 147595 w 609050"/>
              <a:gd name="connsiteY6" fmla="*/ 456594 h 586540"/>
              <a:gd name="connsiteX7" fmla="*/ 147595 w 609050"/>
              <a:gd name="connsiteY7" fmla="*/ 412730 h 586540"/>
              <a:gd name="connsiteX8" fmla="*/ 460769 w 609050"/>
              <a:gd name="connsiteY8" fmla="*/ 376268 h 586540"/>
              <a:gd name="connsiteX9" fmla="*/ 460769 w 609050"/>
              <a:gd name="connsiteY9" fmla="*/ 414786 h 586540"/>
              <a:gd name="connsiteX10" fmla="*/ 555916 w 609050"/>
              <a:gd name="connsiteY10" fmla="*/ 414786 h 586540"/>
              <a:gd name="connsiteX11" fmla="*/ 555916 w 609050"/>
              <a:gd name="connsiteY11" fmla="*/ 376268 h 586540"/>
              <a:gd name="connsiteX12" fmla="*/ 216243 w 609050"/>
              <a:gd name="connsiteY12" fmla="*/ 339670 h 586540"/>
              <a:gd name="connsiteX13" fmla="*/ 216243 w 609050"/>
              <a:gd name="connsiteY13" fmla="*/ 383533 h 586540"/>
              <a:gd name="connsiteX14" fmla="*/ 293953 w 609050"/>
              <a:gd name="connsiteY14" fmla="*/ 383533 h 586540"/>
              <a:gd name="connsiteX15" fmla="*/ 293953 w 609050"/>
              <a:gd name="connsiteY15" fmla="*/ 339670 h 586540"/>
              <a:gd name="connsiteX16" fmla="*/ 69884 w 609050"/>
              <a:gd name="connsiteY16" fmla="*/ 339670 h 586540"/>
              <a:gd name="connsiteX17" fmla="*/ 69884 w 609050"/>
              <a:gd name="connsiteY17" fmla="*/ 383533 h 586540"/>
              <a:gd name="connsiteX18" fmla="*/ 147595 w 609050"/>
              <a:gd name="connsiteY18" fmla="*/ 383533 h 586540"/>
              <a:gd name="connsiteX19" fmla="*/ 147595 w 609050"/>
              <a:gd name="connsiteY19" fmla="*/ 339670 h 586540"/>
              <a:gd name="connsiteX20" fmla="*/ 460769 w 609050"/>
              <a:gd name="connsiteY20" fmla="*/ 303071 h 586540"/>
              <a:gd name="connsiteX21" fmla="*/ 460769 w 609050"/>
              <a:gd name="connsiteY21" fmla="*/ 341726 h 586540"/>
              <a:gd name="connsiteX22" fmla="*/ 555916 w 609050"/>
              <a:gd name="connsiteY22" fmla="*/ 341726 h 586540"/>
              <a:gd name="connsiteX23" fmla="*/ 555916 w 609050"/>
              <a:gd name="connsiteY23" fmla="*/ 303071 h 586540"/>
              <a:gd name="connsiteX24" fmla="*/ 216243 w 609050"/>
              <a:gd name="connsiteY24" fmla="*/ 266609 h 586540"/>
              <a:gd name="connsiteX25" fmla="*/ 216243 w 609050"/>
              <a:gd name="connsiteY25" fmla="*/ 310473 h 586540"/>
              <a:gd name="connsiteX26" fmla="*/ 293953 w 609050"/>
              <a:gd name="connsiteY26" fmla="*/ 310473 h 586540"/>
              <a:gd name="connsiteX27" fmla="*/ 293953 w 609050"/>
              <a:gd name="connsiteY27" fmla="*/ 266609 h 586540"/>
              <a:gd name="connsiteX28" fmla="*/ 69884 w 609050"/>
              <a:gd name="connsiteY28" fmla="*/ 266609 h 586540"/>
              <a:gd name="connsiteX29" fmla="*/ 69884 w 609050"/>
              <a:gd name="connsiteY29" fmla="*/ 310473 h 586540"/>
              <a:gd name="connsiteX30" fmla="*/ 147595 w 609050"/>
              <a:gd name="connsiteY30" fmla="*/ 310473 h 586540"/>
              <a:gd name="connsiteX31" fmla="*/ 147595 w 609050"/>
              <a:gd name="connsiteY31" fmla="*/ 266609 h 586540"/>
              <a:gd name="connsiteX32" fmla="*/ 460769 w 609050"/>
              <a:gd name="connsiteY32" fmla="*/ 230010 h 586540"/>
              <a:gd name="connsiteX33" fmla="*/ 460769 w 609050"/>
              <a:gd name="connsiteY33" fmla="*/ 268528 h 586540"/>
              <a:gd name="connsiteX34" fmla="*/ 555916 w 609050"/>
              <a:gd name="connsiteY34" fmla="*/ 268528 h 586540"/>
              <a:gd name="connsiteX35" fmla="*/ 555916 w 609050"/>
              <a:gd name="connsiteY35" fmla="*/ 230010 h 586540"/>
              <a:gd name="connsiteX36" fmla="*/ 216243 w 609050"/>
              <a:gd name="connsiteY36" fmla="*/ 193549 h 586540"/>
              <a:gd name="connsiteX37" fmla="*/ 216243 w 609050"/>
              <a:gd name="connsiteY37" fmla="*/ 237412 h 586540"/>
              <a:gd name="connsiteX38" fmla="*/ 293953 w 609050"/>
              <a:gd name="connsiteY38" fmla="*/ 237412 h 586540"/>
              <a:gd name="connsiteX39" fmla="*/ 293953 w 609050"/>
              <a:gd name="connsiteY39" fmla="*/ 193549 h 586540"/>
              <a:gd name="connsiteX40" fmla="*/ 69884 w 609050"/>
              <a:gd name="connsiteY40" fmla="*/ 193549 h 586540"/>
              <a:gd name="connsiteX41" fmla="*/ 69884 w 609050"/>
              <a:gd name="connsiteY41" fmla="*/ 237412 h 586540"/>
              <a:gd name="connsiteX42" fmla="*/ 147595 w 609050"/>
              <a:gd name="connsiteY42" fmla="*/ 237412 h 586540"/>
              <a:gd name="connsiteX43" fmla="*/ 147595 w 609050"/>
              <a:gd name="connsiteY43" fmla="*/ 193549 h 586540"/>
              <a:gd name="connsiteX44" fmla="*/ 460769 w 609050"/>
              <a:gd name="connsiteY44" fmla="*/ 156950 h 586540"/>
              <a:gd name="connsiteX45" fmla="*/ 460769 w 609050"/>
              <a:gd name="connsiteY45" fmla="*/ 195468 h 586540"/>
              <a:gd name="connsiteX46" fmla="*/ 555916 w 609050"/>
              <a:gd name="connsiteY46" fmla="*/ 195468 h 586540"/>
              <a:gd name="connsiteX47" fmla="*/ 555916 w 609050"/>
              <a:gd name="connsiteY47" fmla="*/ 156950 h 586540"/>
              <a:gd name="connsiteX48" fmla="*/ 192926 w 609050"/>
              <a:gd name="connsiteY48" fmla="*/ 96251 h 586540"/>
              <a:gd name="connsiteX49" fmla="*/ 361366 w 609050"/>
              <a:gd name="connsiteY49" fmla="*/ 96251 h 586540"/>
              <a:gd name="connsiteX50" fmla="*/ 361366 w 609050"/>
              <a:gd name="connsiteY50" fmla="*/ 114880 h 586540"/>
              <a:gd name="connsiteX51" fmla="*/ 192926 w 609050"/>
              <a:gd name="connsiteY51" fmla="*/ 114880 h 586540"/>
              <a:gd name="connsiteX52" fmla="*/ 192926 w 609050"/>
              <a:gd name="connsiteY52" fmla="*/ 49819 h 586540"/>
              <a:gd name="connsiteX53" fmla="*/ 361366 w 609050"/>
              <a:gd name="connsiteY53" fmla="*/ 49819 h 586540"/>
              <a:gd name="connsiteX54" fmla="*/ 361366 w 609050"/>
              <a:gd name="connsiteY54" fmla="*/ 68307 h 586540"/>
              <a:gd name="connsiteX55" fmla="*/ 192926 w 609050"/>
              <a:gd name="connsiteY55" fmla="*/ 68307 h 586540"/>
              <a:gd name="connsiteX56" fmla="*/ 166130 w 609050"/>
              <a:gd name="connsiteY56" fmla="*/ 25222 h 586540"/>
              <a:gd name="connsiteX57" fmla="*/ 166130 w 609050"/>
              <a:gd name="connsiteY57" fmla="*/ 155716 h 586540"/>
              <a:gd name="connsiteX58" fmla="*/ 338987 w 609050"/>
              <a:gd name="connsiteY58" fmla="*/ 155716 h 586540"/>
              <a:gd name="connsiteX59" fmla="*/ 338987 w 609050"/>
              <a:gd name="connsiteY59" fmla="*/ 341040 h 586540"/>
              <a:gd name="connsiteX60" fmla="*/ 338987 w 609050"/>
              <a:gd name="connsiteY60" fmla="*/ 531710 h 586540"/>
              <a:gd name="connsiteX61" fmla="*/ 366721 w 609050"/>
              <a:gd name="connsiteY61" fmla="*/ 531710 h 586540"/>
              <a:gd name="connsiteX62" fmla="*/ 366721 w 609050"/>
              <a:gd name="connsiteY62" fmla="*/ 341040 h 586540"/>
              <a:gd name="connsiteX63" fmla="*/ 366721 w 609050"/>
              <a:gd name="connsiteY63" fmla="*/ 155305 h 586540"/>
              <a:gd name="connsiteX64" fmla="*/ 388002 w 609050"/>
              <a:gd name="connsiteY64" fmla="*/ 143517 h 586540"/>
              <a:gd name="connsiteX65" fmla="*/ 388002 w 609050"/>
              <a:gd name="connsiteY65" fmla="*/ 25222 h 586540"/>
              <a:gd name="connsiteX66" fmla="*/ 140867 w 609050"/>
              <a:gd name="connsiteY66" fmla="*/ 0 h 586540"/>
              <a:gd name="connsiteX67" fmla="*/ 413402 w 609050"/>
              <a:gd name="connsiteY67" fmla="*/ 0 h 586540"/>
              <a:gd name="connsiteX68" fmla="*/ 413402 w 609050"/>
              <a:gd name="connsiteY68" fmla="*/ 129398 h 586540"/>
              <a:gd name="connsiteX69" fmla="*/ 432486 w 609050"/>
              <a:gd name="connsiteY69" fmla="*/ 118843 h 586540"/>
              <a:gd name="connsiteX70" fmla="*/ 584199 w 609050"/>
              <a:gd name="connsiteY70" fmla="*/ 118843 h 586540"/>
              <a:gd name="connsiteX71" fmla="*/ 584199 w 609050"/>
              <a:gd name="connsiteY71" fmla="*/ 531710 h 586540"/>
              <a:gd name="connsiteX72" fmla="*/ 609050 w 609050"/>
              <a:gd name="connsiteY72" fmla="*/ 531710 h 586540"/>
              <a:gd name="connsiteX73" fmla="*/ 609050 w 609050"/>
              <a:gd name="connsiteY73" fmla="*/ 586540 h 586540"/>
              <a:gd name="connsiteX74" fmla="*/ 0 w 609050"/>
              <a:gd name="connsiteY74" fmla="*/ 586540 h 586540"/>
              <a:gd name="connsiteX75" fmla="*/ 0 w 609050"/>
              <a:gd name="connsiteY75" fmla="*/ 531710 h 586540"/>
              <a:gd name="connsiteX76" fmla="*/ 24851 w 609050"/>
              <a:gd name="connsiteY76" fmla="*/ 531710 h 586540"/>
              <a:gd name="connsiteX77" fmla="*/ 24851 w 609050"/>
              <a:gd name="connsiteY77" fmla="*/ 155716 h 586540"/>
              <a:gd name="connsiteX78" fmla="*/ 140867 w 609050"/>
              <a:gd name="connsiteY78" fmla="*/ 155716 h 586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609050" h="586540">
                <a:moveTo>
                  <a:pt x="216243" y="412730"/>
                </a:moveTo>
                <a:lnTo>
                  <a:pt x="216243" y="456594"/>
                </a:lnTo>
                <a:lnTo>
                  <a:pt x="293953" y="456594"/>
                </a:lnTo>
                <a:lnTo>
                  <a:pt x="293953" y="412730"/>
                </a:lnTo>
                <a:close/>
                <a:moveTo>
                  <a:pt x="69884" y="412730"/>
                </a:moveTo>
                <a:lnTo>
                  <a:pt x="69884" y="456594"/>
                </a:lnTo>
                <a:lnTo>
                  <a:pt x="147595" y="456594"/>
                </a:lnTo>
                <a:lnTo>
                  <a:pt x="147595" y="412730"/>
                </a:lnTo>
                <a:close/>
                <a:moveTo>
                  <a:pt x="460769" y="376268"/>
                </a:moveTo>
                <a:lnTo>
                  <a:pt x="460769" y="414786"/>
                </a:lnTo>
                <a:lnTo>
                  <a:pt x="555916" y="414786"/>
                </a:lnTo>
                <a:lnTo>
                  <a:pt x="555916" y="376268"/>
                </a:lnTo>
                <a:close/>
                <a:moveTo>
                  <a:pt x="216243" y="339670"/>
                </a:moveTo>
                <a:lnTo>
                  <a:pt x="216243" y="383533"/>
                </a:lnTo>
                <a:lnTo>
                  <a:pt x="293953" y="383533"/>
                </a:lnTo>
                <a:lnTo>
                  <a:pt x="293953" y="339670"/>
                </a:lnTo>
                <a:close/>
                <a:moveTo>
                  <a:pt x="69884" y="339670"/>
                </a:moveTo>
                <a:lnTo>
                  <a:pt x="69884" y="383533"/>
                </a:lnTo>
                <a:lnTo>
                  <a:pt x="147595" y="383533"/>
                </a:lnTo>
                <a:lnTo>
                  <a:pt x="147595" y="339670"/>
                </a:lnTo>
                <a:close/>
                <a:moveTo>
                  <a:pt x="460769" y="303071"/>
                </a:moveTo>
                <a:lnTo>
                  <a:pt x="460769" y="341726"/>
                </a:lnTo>
                <a:lnTo>
                  <a:pt x="555916" y="341726"/>
                </a:lnTo>
                <a:lnTo>
                  <a:pt x="555916" y="303071"/>
                </a:lnTo>
                <a:close/>
                <a:moveTo>
                  <a:pt x="216243" y="266609"/>
                </a:moveTo>
                <a:lnTo>
                  <a:pt x="216243" y="310473"/>
                </a:lnTo>
                <a:lnTo>
                  <a:pt x="293953" y="310473"/>
                </a:lnTo>
                <a:lnTo>
                  <a:pt x="293953" y="266609"/>
                </a:lnTo>
                <a:close/>
                <a:moveTo>
                  <a:pt x="69884" y="266609"/>
                </a:moveTo>
                <a:lnTo>
                  <a:pt x="69884" y="310473"/>
                </a:lnTo>
                <a:lnTo>
                  <a:pt x="147595" y="310473"/>
                </a:lnTo>
                <a:lnTo>
                  <a:pt x="147595" y="266609"/>
                </a:lnTo>
                <a:close/>
                <a:moveTo>
                  <a:pt x="460769" y="230010"/>
                </a:moveTo>
                <a:lnTo>
                  <a:pt x="460769" y="268528"/>
                </a:lnTo>
                <a:lnTo>
                  <a:pt x="555916" y="268528"/>
                </a:lnTo>
                <a:lnTo>
                  <a:pt x="555916" y="230010"/>
                </a:lnTo>
                <a:close/>
                <a:moveTo>
                  <a:pt x="216243" y="193549"/>
                </a:moveTo>
                <a:lnTo>
                  <a:pt x="216243" y="237412"/>
                </a:lnTo>
                <a:lnTo>
                  <a:pt x="293953" y="237412"/>
                </a:lnTo>
                <a:lnTo>
                  <a:pt x="293953" y="193549"/>
                </a:lnTo>
                <a:close/>
                <a:moveTo>
                  <a:pt x="69884" y="193549"/>
                </a:moveTo>
                <a:lnTo>
                  <a:pt x="69884" y="237412"/>
                </a:lnTo>
                <a:lnTo>
                  <a:pt x="147595" y="237412"/>
                </a:lnTo>
                <a:lnTo>
                  <a:pt x="147595" y="193549"/>
                </a:lnTo>
                <a:close/>
                <a:moveTo>
                  <a:pt x="460769" y="156950"/>
                </a:moveTo>
                <a:lnTo>
                  <a:pt x="460769" y="195468"/>
                </a:lnTo>
                <a:lnTo>
                  <a:pt x="555916" y="195468"/>
                </a:lnTo>
                <a:lnTo>
                  <a:pt x="555916" y="156950"/>
                </a:lnTo>
                <a:close/>
                <a:moveTo>
                  <a:pt x="192926" y="96251"/>
                </a:moveTo>
                <a:lnTo>
                  <a:pt x="361366" y="96251"/>
                </a:lnTo>
                <a:lnTo>
                  <a:pt x="361366" y="114880"/>
                </a:lnTo>
                <a:lnTo>
                  <a:pt x="192926" y="114880"/>
                </a:lnTo>
                <a:close/>
                <a:moveTo>
                  <a:pt x="192926" y="49819"/>
                </a:moveTo>
                <a:lnTo>
                  <a:pt x="361366" y="49819"/>
                </a:lnTo>
                <a:lnTo>
                  <a:pt x="361366" y="68307"/>
                </a:lnTo>
                <a:lnTo>
                  <a:pt x="192926" y="68307"/>
                </a:lnTo>
                <a:close/>
                <a:moveTo>
                  <a:pt x="166130" y="25222"/>
                </a:moveTo>
                <a:lnTo>
                  <a:pt x="166130" y="155716"/>
                </a:lnTo>
                <a:lnTo>
                  <a:pt x="338987" y="155716"/>
                </a:lnTo>
                <a:lnTo>
                  <a:pt x="338987" y="341040"/>
                </a:lnTo>
                <a:lnTo>
                  <a:pt x="338987" y="531710"/>
                </a:lnTo>
                <a:lnTo>
                  <a:pt x="366721" y="531710"/>
                </a:lnTo>
                <a:lnTo>
                  <a:pt x="366721" y="341040"/>
                </a:lnTo>
                <a:lnTo>
                  <a:pt x="366721" y="155305"/>
                </a:lnTo>
                <a:lnTo>
                  <a:pt x="388002" y="143517"/>
                </a:lnTo>
                <a:lnTo>
                  <a:pt x="388002" y="25222"/>
                </a:lnTo>
                <a:close/>
                <a:moveTo>
                  <a:pt x="140867" y="0"/>
                </a:moveTo>
                <a:lnTo>
                  <a:pt x="413402" y="0"/>
                </a:lnTo>
                <a:lnTo>
                  <a:pt x="413402" y="129398"/>
                </a:lnTo>
                <a:lnTo>
                  <a:pt x="432486" y="118843"/>
                </a:lnTo>
                <a:lnTo>
                  <a:pt x="584199" y="118843"/>
                </a:lnTo>
                <a:lnTo>
                  <a:pt x="584199" y="531710"/>
                </a:lnTo>
                <a:lnTo>
                  <a:pt x="609050" y="531710"/>
                </a:lnTo>
                <a:lnTo>
                  <a:pt x="609050" y="586540"/>
                </a:lnTo>
                <a:lnTo>
                  <a:pt x="0" y="586540"/>
                </a:lnTo>
                <a:lnTo>
                  <a:pt x="0" y="531710"/>
                </a:lnTo>
                <a:lnTo>
                  <a:pt x="24851" y="531710"/>
                </a:lnTo>
                <a:lnTo>
                  <a:pt x="24851" y="155716"/>
                </a:lnTo>
                <a:lnTo>
                  <a:pt x="140867" y="1557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7" name="išlidê">
            <a:extLst>
              <a:ext uri="{FF2B5EF4-FFF2-40B4-BE49-F238E27FC236}">
                <a16:creationId xmlns:a16="http://schemas.microsoft.com/office/drawing/2014/main" id="{5D99E410-2B88-3F42-9444-B451760BBA67}"/>
              </a:ext>
            </a:extLst>
          </p:cNvPr>
          <p:cNvSpPr/>
          <p:nvPr/>
        </p:nvSpPr>
        <p:spPr bwMode="auto">
          <a:xfrm>
            <a:off x="6766619" y="3567560"/>
            <a:ext cx="312274" cy="312274"/>
          </a:xfrm>
          <a:custGeom>
            <a:avLst/>
            <a:gdLst>
              <a:gd name="T0" fmla="*/ 600 w 1152"/>
              <a:gd name="T1" fmla="*/ 944 h 1153"/>
              <a:gd name="T2" fmla="*/ 578 w 1152"/>
              <a:gd name="T3" fmla="*/ 940 h 1153"/>
              <a:gd name="T4" fmla="*/ 908 w 1152"/>
              <a:gd name="T5" fmla="*/ 1066 h 1153"/>
              <a:gd name="T6" fmla="*/ 367 w 1152"/>
              <a:gd name="T7" fmla="*/ 868 h 1153"/>
              <a:gd name="T8" fmla="*/ 1049 w 1152"/>
              <a:gd name="T9" fmla="*/ 137 h 1153"/>
              <a:gd name="T10" fmla="*/ 367 w 1152"/>
              <a:gd name="T11" fmla="*/ 868 h 1153"/>
              <a:gd name="T12" fmla="*/ 947 w 1152"/>
              <a:gd name="T13" fmla="*/ 193 h 1153"/>
              <a:gd name="T14" fmla="*/ 336 w 1152"/>
              <a:gd name="T15" fmla="*/ 838 h 1153"/>
              <a:gd name="T16" fmla="*/ 113 w 1152"/>
              <a:gd name="T17" fmla="*/ 749 h 1153"/>
              <a:gd name="T18" fmla="*/ 1131 w 1152"/>
              <a:gd name="T19" fmla="*/ 4 h 1153"/>
              <a:gd name="T20" fmla="*/ 1121 w 1152"/>
              <a:gd name="T21" fmla="*/ 1 h 1153"/>
              <a:gd name="T22" fmla="*/ 1110 w 1152"/>
              <a:gd name="T23" fmla="*/ 1 h 1153"/>
              <a:gd name="T24" fmla="*/ 1101 w 1152"/>
              <a:gd name="T25" fmla="*/ 5 h 1153"/>
              <a:gd name="T26" fmla="*/ 16 w 1152"/>
              <a:gd name="T27" fmla="*/ 727 h 1153"/>
              <a:gd name="T28" fmla="*/ 9 w 1152"/>
              <a:gd name="T29" fmla="*/ 734 h 1153"/>
              <a:gd name="T30" fmla="*/ 3 w 1152"/>
              <a:gd name="T31" fmla="*/ 741 h 1153"/>
              <a:gd name="T32" fmla="*/ 0 w 1152"/>
              <a:gd name="T33" fmla="*/ 751 h 1153"/>
              <a:gd name="T34" fmla="*/ 0 w 1152"/>
              <a:gd name="T35" fmla="*/ 761 h 1153"/>
              <a:gd name="T36" fmla="*/ 2 w 1152"/>
              <a:gd name="T37" fmla="*/ 770 h 1153"/>
              <a:gd name="T38" fmla="*/ 8 w 1152"/>
              <a:gd name="T39" fmla="*/ 779 h 1153"/>
              <a:gd name="T40" fmla="*/ 14 w 1152"/>
              <a:gd name="T41" fmla="*/ 785 h 1153"/>
              <a:gd name="T42" fmla="*/ 23 w 1152"/>
              <a:gd name="T43" fmla="*/ 790 h 1153"/>
              <a:gd name="T44" fmla="*/ 436 w 1152"/>
              <a:gd name="T45" fmla="*/ 1134 h 1153"/>
              <a:gd name="T46" fmla="*/ 443 w 1152"/>
              <a:gd name="T47" fmla="*/ 1142 h 1153"/>
              <a:gd name="T48" fmla="*/ 449 w 1152"/>
              <a:gd name="T49" fmla="*/ 1148 h 1153"/>
              <a:gd name="T50" fmla="*/ 458 w 1152"/>
              <a:gd name="T51" fmla="*/ 1152 h 1153"/>
              <a:gd name="T52" fmla="*/ 468 w 1152"/>
              <a:gd name="T53" fmla="*/ 1153 h 1153"/>
              <a:gd name="T54" fmla="*/ 473 w 1152"/>
              <a:gd name="T55" fmla="*/ 1153 h 1153"/>
              <a:gd name="T56" fmla="*/ 482 w 1152"/>
              <a:gd name="T57" fmla="*/ 1150 h 1153"/>
              <a:gd name="T58" fmla="*/ 489 w 1152"/>
              <a:gd name="T59" fmla="*/ 1145 h 1153"/>
              <a:gd name="T60" fmla="*/ 496 w 1152"/>
              <a:gd name="T61" fmla="*/ 1139 h 1153"/>
              <a:gd name="T62" fmla="*/ 573 w 1152"/>
              <a:gd name="T63" fmla="*/ 1010 h 1153"/>
              <a:gd name="T64" fmla="*/ 929 w 1152"/>
              <a:gd name="T65" fmla="*/ 1153 h 1153"/>
              <a:gd name="T66" fmla="*/ 941 w 1152"/>
              <a:gd name="T67" fmla="*/ 1153 h 1153"/>
              <a:gd name="T68" fmla="*/ 949 w 1152"/>
              <a:gd name="T69" fmla="*/ 1150 h 1153"/>
              <a:gd name="T70" fmla="*/ 960 w 1152"/>
              <a:gd name="T71" fmla="*/ 1143 h 1153"/>
              <a:gd name="T72" fmla="*/ 969 w 1152"/>
              <a:gd name="T73" fmla="*/ 1130 h 1153"/>
              <a:gd name="T74" fmla="*/ 1151 w 1152"/>
              <a:gd name="T75" fmla="*/ 42 h 1153"/>
              <a:gd name="T76" fmla="*/ 1151 w 1152"/>
              <a:gd name="T77" fmla="*/ 33 h 1153"/>
              <a:gd name="T78" fmla="*/ 1149 w 1152"/>
              <a:gd name="T79" fmla="*/ 22 h 1153"/>
              <a:gd name="T80" fmla="*/ 1144 w 1152"/>
              <a:gd name="T81" fmla="*/ 13 h 1153"/>
              <a:gd name="T82" fmla="*/ 1135 w 1152"/>
              <a:gd name="T83" fmla="*/ 7 h 1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52" h="1153">
                <a:moveTo>
                  <a:pt x="908" y="1066"/>
                </a:moveTo>
                <a:lnTo>
                  <a:pt x="600" y="944"/>
                </a:lnTo>
                <a:lnTo>
                  <a:pt x="590" y="941"/>
                </a:lnTo>
                <a:lnTo>
                  <a:pt x="578" y="940"/>
                </a:lnTo>
                <a:lnTo>
                  <a:pt x="1051" y="205"/>
                </a:lnTo>
                <a:lnTo>
                  <a:pt x="908" y="1066"/>
                </a:lnTo>
                <a:close/>
                <a:moveTo>
                  <a:pt x="367" y="868"/>
                </a:moveTo>
                <a:lnTo>
                  <a:pt x="367" y="868"/>
                </a:lnTo>
                <a:lnTo>
                  <a:pt x="366" y="866"/>
                </a:lnTo>
                <a:lnTo>
                  <a:pt x="1049" y="137"/>
                </a:lnTo>
                <a:lnTo>
                  <a:pt x="468" y="1042"/>
                </a:lnTo>
                <a:lnTo>
                  <a:pt x="367" y="868"/>
                </a:lnTo>
                <a:close/>
                <a:moveTo>
                  <a:pt x="113" y="749"/>
                </a:moveTo>
                <a:lnTo>
                  <a:pt x="947" y="193"/>
                </a:lnTo>
                <a:lnTo>
                  <a:pt x="340" y="842"/>
                </a:lnTo>
                <a:lnTo>
                  <a:pt x="336" y="838"/>
                </a:lnTo>
                <a:lnTo>
                  <a:pt x="332" y="836"/>
                </a:lnTo>
                <a:lnTo>
                  <a:pt x="113" y="749"/>
                </a:lnTo>
                <a:close/>
                <a:moveTo>
                  <a:pt x="1135" y="7"/>
                </a:moveTo>
                <a:lnTo>
                  <a:pt x="1131" y="4"/>
                </a:lnTo>
                <a:lnTo>
                  <a:pt x="1126" y="2"/>
                </a:lnTo>
                <a:lnTo>
                  <a:pt x="1121" y="1"/>
                </a:lnTo>
                <a:lnTo>
                  <a:pt x="1116" y="0"/>
                </a:lnTo>
                <a:lnTo>
                  <a:pt x="1110" y="1"/>
                </a:lnTo>
                <a:lnTo>
                  <a:pt x="1106" y="2"/>
                </a:lnTo>
                <a:lnTo>
                  <a:pt x="1101" y="5"/>
                </a:lnTo>
                <a:lnTo>
                  <a:pt x="1096" y="7"/>
                </a:lnTo>
                <a:lnTo>
                  <a:pt x="16" y="727"/>
                </a:lnTo>
                <a:lnTo>
                  <a:pt x="12" y="730"/>
                </a:lnTo>
                <a:lnTo>
                  <a:pt x="9" y="734"/>
                </a:lnTo>
                <a:lnTo>
                  <a:pt x="5" y="737"/>
                </a:lnTo>
                <a:lnTo>
                  <a:pt x="3" y="741"/>
                </a:lnTo>
                <a:lnTo>
                  <a:pt x="2" y="745"/>
                </a:lnTo>
                <a:lnTo>
                  <a:pt x="0" y="751"/>
                </a:lnTo>
                <a:lnTo>
                  <a:pt x="0" y="755"/>
                </a:lnTo>
                <a:lnTo>
                  <a:pt x="0" y="761"/>
                </a:lnTo>
                <a:lnTo>
                  <a:pt x="1" y="765"/>
                </a:lnTo>
                <a:lnTo>
                  <a:pt x="2" y="770"/>
                </a:lnTo>
                <a:lnTo>
                  <a:pt x="4" y="775"/>
                </a:lnTo>
                <a:lnTo>
                  <a:pt x="8" y="779"/>
                </a:lnTo>
                <a:lnTo>
                  <a:pt x="11" y="782"/>
                </a:lnTo>
                <a:lnTo>
                  <a:pt x="14" y="785"/>
                </a:lnTo>
                <a:lnTo>
                  <a:pt x="18" y="788"/>
                </a:lnTo>
                <a:lnTo>
                  <a:pt x="23" y="790"/>
                </a:lnTo>
                <a:lnTo>
                  <a:pt x="305" y="903"/>
                </a:lnTo>
                <a:lnTo>
                  <a:pt x="436" y="1134"/>
                </a:lnTo>
                <a:lnTo>
                  <a:pt x="440" y="1139"/>
                </a:lnTo>
                <a:lnTo>
                  <a:pt x="443" y="1142"/>
                </a:lnTo>
                <a:lnTo>
                  <a:pt x="446" y="1145"/>
                </a:lnTo>
                <a:lnTo>
                  <a:pt x="449" y="1148"/>
                </a:lnTo>
                <a:lnTo>
                  <a:pt x="454" y="1149"/>
                </a:lnTo>
                <a:lnTo>
                  <a:pt x="458" y="1152"/>
                </a:lnTo>
                <a:lnTo>
                  <a:pt x="463" y="1153"/>
                </a:lnTo>
                <a:lnTo>
                  <a:pt x="468" y="1153"/>
                </a:lnTo>
                <a:lnTo>
                  <a:pt x="468" y="1153"/>
                </a:lnTo>
                <a:lnTo>
                  <a:pt x="473" y="1153"/>
                </a:lnTo>
                <a:lnTo>
                  <a:pt x="477" y="1152"/>
                </a:lnTo>
                <a:lnTo>
                  <a:pt x="482" y="1150"/>
                </a:lnTo>
                <a:lnTo>
                  <a:pt x="486" y="1148"/>
                </a:lnTo>
                <a:lnTo>
                  <a:pt x="489" y="1145"/>
                </a:lnTo>
                <a:lnTo>
                  <a:pt x="494" y="1143"/>
                </a:lnTo>
                <a:lnTo>
                  <a:pt x="496" y="1139"/>
                </a:lnTo>
                <a:lnTo>
                  <a:pt x="499" y="1135"/>
                </a:lnTo>
                <a:lnTo>
                  <a:pt x="573" y="1010"/>
                </a:lnTo>
                <a:lnTo>
                  <a:pt x="922" y="1150"/>
                </a:lnTo>
                <a:lnTo>
                  <a:pt x="929" y="1153"/>
                </a:lnTo>
                <a:lnTo>
                  <a:pt x="936" y="1153"/>
                </a:lnTo>
                <a:lnTo>
                  <a:pt x="941" y="1153"/>
                </a:lnTo>
                <a:lnTo>
                  <a:pt x="945" y="1152"/>
                </a:lnTo>
                <a:lnTo>
                  <a:pt x="949" y="1150"/>
                </a:lnTo>
                <a:lnTo>
                  <a:pt x="954" y="1148"/>
                </a:lnTo>
                <a:lnTo>
                  <a:pt x="960" y="1143"/>
                </a:lnTo>
                <a:lnTo>
                  <a:pt x="966" y="1138"/>
                </a:lnTo>
                <a:lnTo>
                  <a:pt x="969" y="1130"/>
                </a:lnTo>
                <a:lnTo>
                  <a:pt x="972" y="1122"/>
                </a:lnTo>
                <a:lnTo>
                  <a:pt x="1151" y="42"/>
                </a:lnTo>
                <a:lnTo>
                  <a:pt x="1152" y="37"/>
                </a:lnTo>
                <a:lnTo>
                  <a:pt x="1151" y="33"/>
                </a:lnTo>
                <a:lnTo>
                  <a:pt x="1150" y="27"/>
                </a:lnTo>
                <a:lnTo>
                  <a:pt x="1149" y="22"/>
                </a:lnTo>
                <a:lnTo>
                  <a:pt x="1147" y="18"/>
                </a:lnTo>
                <a:lnTo>
                  <a:pt x="1144" y="13"/>
                </a:lnTo>
                <a:lnTo>
                  <a:pt x="1139" y="10"/>
                </a:lnTo>
                <a:lnTo>
                  <a:pt x="1135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0" name="îšḷidê">
            <a:extLst>
              <a:ext uri="{FF2B5EF4-FFF2-40B4-BE49-F238E27FC236}">
                <a16:creationId xmlns:a16="http://schemas.microsoft.com/office/drawing/2014/main" id="{443F411B-BD37-814A-8B33-9C727C224770}"/>
              </a:ext>
            </a:extLst>
          </p:cNvPr>
          <p:cNvSpPr/>
          <p:nvPr/>
        </p:nvSpPr>
        <p:spPr bwMode="auto">
          <a:xfrm>
            <a:off x="4703018" y="2549732"/>
            <a:ext cx="591065" cy="593383"/>
          </a:xfrm>
          <a:custGeom>
            <a:avLst/>
            <a:gdLst>
              <a:gd name="T0" fmla="*/ 128 w 255"/>
              <a:gd name="T1" fmla="*/ 256 h 256"/>
              <a:gd name="T2" fmla="*/ 102 w 255"/>
              <a:gd name="T3" fmla="*/ 252 h 256"/>
              <a:gd name="T4" fmla="*/ 78 w 255"/>
              <a:gd name="T5" fmla="*/ 245 h 256"/>
              <a:gd name="T6" fmla="*/ 56 w 255"/>
              <a:gd name="T7" fmla="*/ 233 h 256"/>
              <a:gd name="T8" fmla="*/ 37 w 255"/>
              <a:gd name="T9" fmla="*/ 218 h 256"/>
              <a:gd name="T10" fmla="*/ 22 w 255"/>
              <a:gd name="T11" fmla="*/ 199 h 256"/>
              <a:gd name="T12" fmla="*/ 10 w 255"/>
              <a:gd name="T13" fmla="*/ 177 h 256"/>
              <a:gd name="T14" fmla="*/ 3 w 255"/>
              <a:gd name="T15" fmla="*/ 153 h 256"/>
              <a:gd name="T16" fmla="*/ 0 w 255"/>
              <a:gd name="T17" fmla="*/ 127 h 256"/>
              <a:gd name="T18" fmla="*/ 0 w 255"/>
              <a:gd name="T19" fmla="*/ 114 h 256"/>
              <a:gd name="T20" fmla="*/ 5 w 255"/>
              <a:gd name="T21" fmla="*/ 89 h 256"/>
              <a:gd name="T22" fmla="*/ 16 w 255"/>
              <a:gd name="T23" fmla="*/ 67 h 256"/>
              <a:gd name="T24" fmla="*/ 29 w 255"/>
              <a:gd name="T25" fmla="*/ 47 h 256"/>
              <a:gd name="T26" fmla="*/ 46 w 255"/>
              <a:gd name="T27" fmla="*/ 29 h 256"/>
              <a:gd name="T28" fmla="*/ 66 w 255"/>
              <a:gd name="T29" fmla="*/ 15 h 256"/>
              <a:gd name="T30" fmla="*/ 90 w 255"/>
              <a:gd name="T31" fmla="*/ 6 h 256"/>
              <a:gd name="T32" fmla="*/ 115 w 255"/>
              <a:gd name="T33" fmla="*/ 1 h 256"/>
              <a:gd name="T34" fmla="*/ 128 w 255"/>
              <a:gd name="T35" fmla="*/ 0 h 256"/>
              <a:gd name="T36" fmla="*/ 154 w 255"/>
              <a:gd name="T37" fmla="*/ 2 h 256"/>
              <a:gd name="T38" fmla="*/ 177 w 255"/>
              <a:gd name="T39" fmla="*/ 10 h 256"/>
              <a:gd name="T40" fmla="*/ 199 w 255"/>
              <a:gd name="T41" fmla="*/ 22 h 256"/>
              <a:gd name="T42" fmla="*/ 218 w 255"/>
              <a:gd name="T43" fmla="*/ 38 h 256"/>
              <a:gd name="T44" fmla="*/ 233 w 255"/>
              <a:gd name="T45" fmla="*/ 56 h 256"/>
              <a:gd name="T46" fmla="*/ 245 w 255"/>
              <a:gd name="T47" fmla="*/ 78 h 256"/>
              <a:gd name="T48" fmla="*/ 253 w 255"/>
              <a:gd name="T49" fmla="*/ 102 h 256"/>
              <a:gd name="T50" fmla="*/ 255 w 255"/>
              <a:gd name="T51" fmla="*/ 127 h 256"/>
              <a:gd name="T52" fmla="*/ 254 w 255"/>
              <a:gd name="T53" fmla="*/ 140 h 256"/>
              <a:gd name="T54" fmla="*/ 249 w 255"/>
              <a:gd name="T55" fmla="*/ 166 h 256"/>
              <a:gd name="T56" fmla="*/ 240 w 255"/>
              <a:gd name="T57" fmla="*/ 189 h 256"/>
              <a:gd name="T58" fmla="*/ 226 w 255"/>
              <a:gd name="T59" fmla="*/ 209 h 256"/>
              <a:gd name="T60" fmla="*/ 209 w 255"/>
              <a:gd name="T61" fmla="*/ 226 h 256"/>
              <a:gd name="T62" fmla="*/ 188 w 255"/>
              <a:gd name="T63" fmla="*/ 239 h 256"/>
              <a:gd name="T64" fmla="*/ 166 w 255"/>
              <a:gd name="T65" fmla="*/ 250 h 256"/>
              <a:gd name="T66" fmla="*/ 141 w 255"/>
              <a:gd name="T67" fmla="*/ 255 h 256"/>
              <a:gd name="T68" fmla="*/ 128 w 255"/>
              <a:gd name="T69" fmla="*/ 25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5" h="256">
                <a:moveTo>
                  <a:pt x="128" y="256"/>
                </a:moveTo>
                <a:lnTo>
                  <a:pt x="128" y="256"/>
                </a:lnTo>
                <a:lnTo>
                  <a:pt x="115" y="255"/>
                </a:lnTo>
                <a:lnTo>
                  <a:pt x="102" y="252"/>
                </a:lnTo>
                <a:lnTo>
                  <a:pt x="90" y="250"/>
                </a:lnTo>
                <a:lnTo>
                  <a:pt x="78" y="245"/>
                </a:lnTo>
                <a:lnTo>
                  <a:pt x="66" y="239"/>
                </a:lnTo>
                <a:lnTo>
                  <a:pt x="56" y="233"/>
                </a:lnTo>
                <a:lnTo>
                  <a:pt x="46" y="226"/>
                </a:lnTo>
                <a:lnTo>
                  <a:pt x="37" y="218"/>
                </a:lnTo>
                <a:lnTo>
                  <a:pt x="29" y="209"/>
                </a:lnTo>
                <a:lnTo>
                  <a:pt x="22" y="199"/>
                </a:lnTo>
                <a:lnTo>
                  <a:pt x="16" y="189"/>
                </a:lnTo>
                <a:lnTo>
                  <a:pt x="10" y="177"/>
                </a:lnTo>
                <a:lnTo>
                  <a:pt x="5" y="166"/>
                </a:lnTo>
                <a:lnTo>
                  <a:pt x="3" y="153"/>
                </a:lnTo>
                <a:lnTo>
                  <a:pt x="0" y="140"/>
                </a:lnTo>
                <a:lnTo>
                  <a:pt x="0" y="127"/>
                </a:lnTo>
                <a:lnTo>
                  <a:pt x="0" y="127"/>
                </a:lnTo>
                <a:lnTo>
                  <a:pt x="0" y="114"/>
                </a:lnTo>
                <a:lnTo>
                  <a:pt x="3" y="102"/>
                </a:lnTo>
                <a:lnTo>
                  <a:pt x="5" y="89"/>
                </a:lnTo>
                <a:lnTo>
                  <a:pt x="10" y="78"/>
                </a:lnTo>
                <a:lnTo>
                  <a:pt x="16" y="67"/>
                </a:lnTo>
                <a:lnTo>
                  <a:pt x="22" y="56"/>
                </a:lnTo>
                <a:lnTo>
                  <a:pt x="29" y="47"/>
                </a:lnTo>
                <a:lnTo>
                  <a:pt x="37" y="38"/>
                </a:lnTo>
                <a:lnTo>
                  <a:pt x="46" y="29"/>
                </a:lnTo>
                <a:lnTo>
                  <a:pt x="56" y="22"/>
                </a:lnTo>
                <a:lnTo>
                  <a:pt x="66" y="15"/>
                </a:lnTo>
                <a:lnTo>
                  <a:pt x="78" y="10"/>
                </a:lnTo>
                <a:lnTo>
                  <a:pt x="90" y="6"/>
                </a:lnTo>
                <a:lnTo>
                  <a:pt x="102" y="2"/>
                </a:lnTo>
                <a:lnTo>
                  <a:pt x="115" y="1"/>
                </a:lnTo>
                <a:lnTo>
                  <a:pt x="128" y="0"/>
                </a:lnTo>
                <a:lnTo>
                  <a:pt x="128" y="0"/>
                </a:lnTo>
                <a:lnTo>
                  <a:pt x="141" y="1"/>
                </a:lnTo>
                <a:lnTo>
                  <a:pt x="154" y="2"/>
                </a:lnTo>
                <a:lnTo>
                  <a:pt x="166" y="6"/>
                </a:lnTo>
                <a:lnTo>
                  <a:pt x="177" y="10"/>
                </a:lnTo>
                <a:lnTo>
                  <a:pt x="188" y="15"/>
                </a:lnTo>
                <a:lnTo>
                  <a:pt x="199" y="22"/>
                </a:lnTo>
                <a:lnTo>
                  <a:pt x="209" y="29"/>
                </a:lnTo>
                <a:lnTo>
                  <a:pt x="218" y="38"/>
                </a:lnTo>
                <a:lnTo>
                  <a:pt x="226" y="47"/>
                </a:lnTo>
                <a:lnTo>
                  <a:pt x="233" y="56"/>
                </a:lnTo>
                <a:lnTo>
                  <a:pt x="240" y="67"/>
                </a:lnTo>
                <a:lnTo>
                  <a:pt x="245" y="78"/>
                </a:lnTo>
                <a:lnTo>
                  <a:pt x="249" y="89"/>
                </a:lnTo>
                <a:lnTo>
                  <a:pt x="253" y="102"/>
                </a:lnTo>
                <a:lnTo>
                  <a:pt x="254" y="114"/>
                </a:lnTo>
                <a:lnTo>
                  <a:pt x="255" y="127"/>
                </a:lnTo>
                <a:lnTo>
                  <a:pt x="255" y="127"/>
                </a:lnTo>
                <a:lnTo>
                  <a:pt x="254" y="140"/>
                </a:lnTo>
                <a:lnTo>
                  <a:pt x="253" y="153"/>
                </a:lnTo>
                <a:lnTo>
                  <a:pt x="249" y="166"/>
                </a:lnTo>
                <a:lnTo>
                  <a:pt x="245" y="177"/>
                </a:lnTo>
                <a:lnTo>
                  <a:pt x="240" y="189"/>
                </a:lnTo>
                <a:lnTo>
                  <a:pt x="233" y="199"/>
                </a:lnTo>
                <a:lnTo>
                  <a:pt x="226" y="209"/>
                </a:lnTo>
                <a:lnTo>
                  <a:pt x="218" y="218"/>
                </a:lnTo>
                <a:lnTo>
                  <a:pt x="209" y="226"/>
                </a:lnTo>
                <a:lnTo>
                  <a:pt x="199" y="233"/>
                </a:lnTo>
                <a:lnTo>
                  <a:pt x="188" y="239"/>
                </a:lnTo>
                <a:lnTo>
                  <a:pt x="177" y="245"/>
                </a:lnTo>
                <a:lnTo>
                  <a:pt x="166" y="250"/>
                </a:lnTo>
                <a:lnTo>
                  <a:pt x="154" y="252"/>
                </a:lnTo>
                <a:lnTo>
                  <a:pt x="141" y="255"/>
                </a:lnTo>
                <a:lnTo>
                  <a:pt x="128" y="256"/>
                </a:lnTo>
                <a:lnTo>
                  <a:pt x="128" y="256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62" name="išlidê">
            <a:extLst>
              <a:ext uri="{FF2B5EF4-FFF2-40B4-BE49-F238E27FC236}">
                <a16:creationId xmlns:a16="http://schemas.microsoft.com/office/drawing/2014/main" id="{4E11DAA7-F7AF-EC43-B728-D11A425E8CE2}"/>
              </a:ext>
            </a:extLst>
          </p:cNvPr>
          <p:cNvSpPr/>
          <p:nvPr/>
        </p:nvSpPr>
        <p:spPr bwMode="auto">
          <a:xfrm>
            <a:off x="4818953" y="2688089"/>
            <a:ext cx="312274" cy="312274"/>
          </a:xfrm>
          <a:custGeom>
            <a:avLst/>
            <a:gdLst>
              <a:gd name="T0" fmla="*/ 600 w 1152"/>
              <a:gd name="T1" fmla="*/ 944 h 1153"/>
              <a:gd name="T2" fmla="*/ 578 w 1152"/>
              <a:gd name="T3" fmla="*/ 940 h 1153"/>
              <a:gd name="T4" fmla="*/ 908 w 1152"/>
              <a:gd name="T5" fmla="*/ 1066 h 1153"/>
              <a:gd name="T6" fmla="*/ 367 w 1152"/>
              <a:gd name="T7" fmla="*/ 868 h 1153"/>
              <a:gd name="T8" fmla="*/ 1049 w 1152"/>
              <a:gd name="T9" fmla="*/ 137 h 1153"/>
              <a:gd name="T10" fmla="*/ 367 w 1152"/>
              <a:gd name="T11" fmla="*/ 868 h 1153"/>
              <a:gd name="T12" fmla="*/ 947 w 1152"/>
              <a:gd name="T13" fmla="*/ 193 h 1153"/>
              <a:gd name="T14" fmla="*/ 336 w 1152"/>
              <a:gd name="T15" fmla="*/ 838 h 1153"/>
              <a:gd name="T16" fmla="*/ 113 w 1152"/>
              <a:gd name="T17" fmla="*/ 749 h 1153"/>
              <a:gd name="T18" fmla="*/ 1131 w 1152"/>
              <a:gd name="T19" fmla="*/ 4 h 1153"/>
              <a:gd name="T20" fmla="*/ 1121 w 1152"/>
              <a:gd name="T21" fmla="*/ 1 h 1153"/>
              <a:gd name="T22" fmla="*/ 1110 w 1152"/>
              <a:gd name="T23" fmla="*/ 1 h 1153"/>
              <a:gd name="T24" fmla="*/ 1101 w 1152"/>
              <a:gd name="T25" fmla="*/ 5 h 1153"/>
              <a:gd name="T26" fmla="*/ 16 w 1152"/>
              <a:gd name="T27" fmla="*/ 727 h 1153"/>
              <a:gd name="T28" fmla="*/ 9 w 1152"/>
              <a:gd name="T29" fmla="*/ 734 h 1153"/>
              <a:gd name="T30" fmla="*/ 3 w 1152"/>
              <a:gd name="T31" fmla="*/ 741 h 1153"/>
              <a:gd name="T32" fmla="*/ 0 w 1152"/>
              <a:gd name="T33" fmla="*/ 751 h 1153"/>
              <a:gd name="T34" fmla="*/ 0 w 1152"/>
              <a:gd name="T35" fmla="*/ 761 h 1153"/>
              <a:gd name="T36" fmla="*/ 2 w 1152"/>
              <a:gd name="T37" fmla="*/ 770 h 1153"/>
              <a:gd name="T38" fmla="*/ 8 w 1152"/>
              <a:gd name="T39" fmla="*/ 779 h 1153"/>
              <a:gd name="T40" fmla="*/ 14 w 1152"/>
              <a:gd name="T41" fmla="*/ 785 h 1153"/>
              <a:gd name="T42" fmla="*/ 23 w 1152"/>
              <a:gd name="T43" fmla="*/ 790 h 1153"/>
              <a:gd name="T44" fmla="*/ 436 w 1152"/>
              <a:gd name="T45" fmla="*/ 1134 h 1153"/>
              <a:gd name="T46" fmla="*/ 443 w 1152"/>
              <a:gd name="T47" fmla="*/ 1142 h 1153"/>
              <a:gd name="T48" fmla="*/ 449 w 1152"/>
              <a:gd name="T49" fmla="*/ 1148 h 1153"/>
              <a:gd name="T50" fmla="*/ 458 w 1152"/>
              <a:gd name="T51" fmla="*/ 1152 h 1153"/>
              <a:gd name="T52" fmla="*/ 468 w 1152"/>
              <a:gd name="T53" fmla="*/ 1153 h 1153"/>
              <a:gd name="T54" fmla="*/ 473 w 1152"/>
              <a:gd name="T55" fmla="*/ 1153 h 1153"/>
              <a:gd name="T56" fmla="*/ 482 w 1152"/>
              <a:gd name="T57" fmla="*/ 1150 h 1153"/>
              <a:gd name="T58" fmla="*/ 489 w 1152"/>
              <a:gd name="T59" fmla="*/ 1145 h 1153"/>
              <a:gd name="T60" fmla="*/ 496 w 1152"/>
              <a:gd name="T61" fmla="*/ 1139 h 1153"/>
              <a:gd name="T62" fmla="*/ 573 w 1152"/>
              <a:gd name="T63" fmla="*/ 1010 h 1153"/>
              <a:gd name="T64" fmla="*/ 929 w 1152"/>
              <a:gd name="T65" fmla="*/ 1153 h 1153"/>
              <a:gd name="T66" fmla="*/ 941 w 1152"/>
              <a:gd name="T67" fmla="*/ 1153 h 1153"/>
              <a:gd name="T68" fmla="*/ 949 w 1152"/>
              <a:gd name="T69" fmla="*/ 1150 h 1153"/>
              <a:gd name="T70" fmla="*/ 960 w 1152"/>
              <a:gd name="T71" fmla="*/ 1143 h 1153"/>
              <a:gd name="T72" fmla="*/ 969 w 1152"/>
              <a:gd name="T73" fmla="*/ 1130 h 1153"/>
              <a:gd name="T74" fmla="*/ 1151 w 1152"/>
              <a:gd name="T75" fmla="*/ 42 h 1153"/>
              <a:gd name="T76" fmla="*/ 1151 w 1152"/>
              <a:gd name="T77" fmla="*/ 33 h 1153"/>
              <a:gd name="T78" fmla="*/ 1149 w 1152"/>
              <a:gd name="T79" fmla="*/ 22 h 1153"/>
              <a:gd name="T80" fmla="*/ 1144 w 1152"/>
              <a:gd name="T81" fmla="*/ 13 h 1153"/>
              <a:gd name="T82" fmla="*/ 1135 w 1152"/>
              <a:gd name="T83" fmla="*/ 7 h 1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52" h="1153">
                <a:moveTo>
                  <a:pt x="908" y="1066"/>
                </a:moveTo>
                <a:lnTo>
                  <a:pt x="600" y="944"/>
                </a:lnTo>
                <a:lnTo>
                  <a:pt x="590" y="941"/>
                </a:lnTo>
                <a:lnTo>
                  <a:pt x="578" y="940"/>
                </a:lnTo>
                <a:lnTo>
                  <a:pt x="1051" y="205"/>
                </a:lnTo>
                <a:lnTo>
                  <a:pt x="908" y="1066"/>
                </a:lnTo>
                <a:close/>
                <a:moveTo>
                  <a:pt x="367" y="868"/>
                </a:moveTo>
                <a:lnTo>
                  <a:pt x="367" y="868"/>
                </a:lnTo>
                <a:lnTo>
                  <a:pt x="366" y="866"/>
                </a:lnTo>
                <a:lnTo>
                  <a:pt x="1049" y="137"/>
                </a:lnTo>
                <a:lnTo>
                  <a:pt x="468" y="1042"/>
                </a:lnTo>
                <a:lnTo>
                  <a:pt x="367" y="868"/>
                </a:lnTo>
                <a:close/>
                <a:moveTo>
                  <a:pt x="113" y="749"/>
                </a:moveTo>
                <a:lnTo>
                  <a:pt x="947" y="193"/>
                </a:lnTo>
                <a:lnTo>
                  <a:pt x="340" y="842"/>
                </a:lnTo>
                <a:lnTo>
                  <a:pt x="336" y="838"/>
                </a:lnTo>
                <a:lnTo>
                  <a:pt x="332" y="836"/>
                </a:lnTo>
                <a:lnTo>
                  <a:pt x="113" y="749"/>
                </a:lnTo>
                <a:close/>
                <a:moveTo>
                  <a:pt x="1135" y="7"/>
                </a:moveTo>
                <a:lnTo>
                  <a:pt x="1131" y="4"/>
                </a:lnTo>
                <a:lnTo>
                  <a:pt x="1126" y="2"/>
                </a:lnTo>
                <a:lnTo>
                  <a:pt x="1121" y="1"/>
                </a:lnTo>
                <a:lnTo>
                  <a:pt x="1116" y="0"/>
                </a:lnTo>
                <a:lnTo>
                  <a:pt x="1110" y="1"/>
                </a:lnTo>
                <a:lnTo>
                  <a:pt x="1106" y="2"/>
                </a:lnTo>
                <a:lnTo>
                  <a:pt x="1101" y="5"/>
                </a:lnTo>
                <a:lnTo>
                  <a:pt x="1096" y="7"/>
                </a:lnTo>
                <a:lnTo>
                  <a:pt x="16" y="727"/>
                </a:lnTo>
                <a:lnTo>
                  <a:pt x="12" y="730"/>
                </a:lnTo>
                <a:lnTo>
                  <a:pt x="9" y="734"/>
                </a:lnTo>
                <a:lnTo>
                  <a:pt x="5" y="737"/>
                </a:lnTo>
                <a:lnTo>
                  <a:pt x="3" y="741"/>
                </a:lnTo>
                <a:lnTo>
                  <a:pt x="2" y="745"/>
                </a:lnTo>
                <a:lnTo>
                  <a:pt x="0" y="751"/>
                </a:lnTo>
                <a:lnTo>
                  <a:pt x="0" y="755"/>
                </a:lnTo>
                <a:lnTo>
                  <a:pt x="0" y="761"/>
                </a:lnTo>
                <a:lnTo>
                  <a:pt x="1" y="765"/>
                </a:lnTo>
                <a:lnTo>
                  <a:pt x="2" y="770"/>
                </a:lnTo>
                <a:lnTo>
                  <a:pt x="4" y="775"/>
                </a:lnTo>
                <a:lnTo>
                  <a:pt x="8" y="779"/>
                </a:lnTo>
                <a:lnTo>
                  <a:pt x="11" y="782"/>
                </a:lnTo>
                <a:lnTo>
                  <a:pt x="14" y="785"/>
                </a:lnTo>
                <a:lnTo>
                  <a:pt x="18" y="788"/>
                </a:lnTo>
                <a:lnTo>
                  <a:pt x="23" y="790"/>
                </a:lnTo>
                <a:lnTo>
                  <a:pt x="305" y="903"/>
                </a:lnTo>
                <a:lnTo>
                  <a:pt x="436" y="1134"/>
                </a:lnTo>
                <a:lnTo>
                  <a:pt x="440" y="1139"/>
                </a:lnTo>
                <a:lnTo>
                  <a:pt x="443" y="1142"/>
                </a:lnTo>
                <a:lnTo>
                  <a:pt x="446" y="1145"/>
                </a:lnTo>
                <a:lnTo>
                  <a:pt x="449" y="1148"/>
                </a:lnTo>
                <a:lnTo>
                  <a:pt x="454" y="1149"/>
                </a:lnTo>
                <a:lnTo>
                  <a:pt x="458" y="1152"/>
                </a:lnTo>
                <a:lnTo>
                  <a:pt x="463" y="1153"/>
                </a:lnTo>
                <a:lnTo>
                  <a:pt x="468" y="1153"/>
                </a:lnTo>
                <a:lnTo>
                  <a:pt x="468" y="1153"/>
                </a:lnTo>
                <a:lnTo>
                  <a:pt x="473" y="1153"/>
                </a:lnTo>
                <a:lnTo>
                  <a:pt x="477" y="1152"/>
                </a:lnTo>
                <a:lnTo>
                  <a:pt x="482" y="1150"/>
                </a:lnTo>
                <a:lnTo>
                  <a:pt x="486" y="1148"/>
                </a:lnTo>
                <a:lnTo>
                  <a:pt x="489" y="1145"/>
                </a:lnTo>
                <a:lnTo>
                  <a:pt x="494" y="1143"/>
                </a:lnTo>
                <a:lnTo>
                  <a:pt x="496" y="1139"/>
                </a:lnTo>
                <a:lnTo>
                  <a:pt x="499" y="1135"/>
                </a:lnTo>
                <a:lnTo>
                  <a:pt x="573" y="1010"/>
                </a:lnTo>
                <a:lnTo>
                  <a:pt x="922" y="1150"/>
                </a:lnTo>
                <a:lnTo>
                  <a:pt x="929" y="1153"/>
                </a:lnTo>
                <a:lnTo>
                  <a:pt x="936" y="1153"/>
                </a:lnTo>
                <a:lnTo>
                  <a:pt x="941" y="1153"/>
                </a:lnTo>
                <a:lnTo>
                  <a:pt x="945" y="1152"/>
                </a:lnTo>
                <a:lnTo>
                  <a:pt x="949" y="1150"/>
                </a:lnTo>
                <a:lnTo>
                  <a:pt x="954" y="1148"/>
                </a:lnTo>
                <a:lnTo>
                  <a:pt x="960" y="1143"/>
                </a:lnTo>
                <a:lnTo>
                  <a:pt x="966" y="1138"/>
                </a:lnTo>
                <a:lnTo>
                  <a:pt x="969" y="1130"/>
                </a:lnTo>
                <a:lnTo>
                  <a:pt x="972" y="1122"/>
                </a:lnTo>
                <a:lnTo>
                  <a:pt x="1151" y="42"/>
                </a:lnTo>
                <a:lnTo>
                  <a:pt x="1152" y="37"/>
                </a:lnTo>
                <a:lnTo>
                  <a:pt x="1151" y="33"/>
                </a:lnTo>
                <a:lnTo>
                  <a:pt x="1150" y="27"/>
                </a:lnTo>
                <a:lnTo>
                  <a:pt x="1149" y="22"/>
                </a:lnTo>
                <a:lnTo>
                  <a:pt x="1147" y="18"/>
                </a:lnTo>
                <a:lnTo>
                  <a:pt x="1144" y="13"/>
                </a:lnTo>
                <a:lnTo>
                  <a:pt x="1139" y="10"/>
                </a:lnTo>
                <a:lnTo>
                  <a:pt x="1135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64" name="îšḷidê">
            <a:extLst>
              <a:ext uri="{FF2B5EF4-FFF2-40B4-BE49-F238E27FC236}">
                <a16:creationId xmlns:a16="http://schemas.microsoft.com/office/drawing/2014/main" id="{B6B94D6C-F104-D44B-88D7-D761C51CFB75}"/>
              </a:ext>
            </a:extLst>
          </p:cNvPr>
          <p:cNvSpPr/>
          <p:nvPr/>
        </p:nvSpPr>
        <p:spPr bwMode="auto">
          <a:xfrm>
            <a:off x="6444980" y="2606260"/>
            <a:ext cx="591065" cy="593383"/>
          </a:xfrm>
          <a:custGeom>
            <a:avLst/>
            <a:gdLst>
              <a:gd name="T0" fmla="*/ 128 w 255"/>
              <a:gd name="T1" fmla="*/ 256 h 256"/>
              <a:gd name="T2" fmla="*/ 102 w 255"/>
              <a:gd name="T3" fmla="*/ 252 h 256"/>
              <a:gd name="T4" fmla="*/ 78 w 255"/>
              <a:gd name="T5" fmla="*/ 245 h 256"/>
              <a:gd name="T6" fmla="*/ 56 w 255"/>
              <a:gd name="T7" fmla="*/ 233 h 256"/>
              <a:gd name="T8" fmla="*/ 37 w 255"/>
              <a:gd name="T9" fmla="*/ 218 h 256"/>
              <a:gd name="T10" fmla="*/ 22 w 255"/>
              <a:gd name="T11" fmla="*/ 199 h 256"/>
              <a:gd name="T12" fmla="*/ 10 w 255"/>
              <a:gd name="T13" fmla="*/ 177 h 256"/>
              <a:gd name="T14" fmla="*/ 3 w 255"/>
              <a:gd name="T15" fmla="*/ 153 h 256"/>
              <a:gd name="T16" fmla="*/ 0 w 255"/>
              <a:gd name="T17" fmla="*/ 127 h 256"/>
              <a:gd name="T18" fmla="*/ 0 w 255"/>
              <a:gd name="T19" fmla="*/ 114 h 256"/>
              <a:gd name="T20" fmla="*/ 5 w 255"/>
              <a:gd name="T21" fmla="*/ 89 h 256"/>
              <a:gd name="T22" fmla="*/ 16 w 255"/>
              <a:gd name="T23" fmla="*/ 67 h 256"/>
              <a:gd name="T24" fmla="*/ 29 w 255"/>
              <a:gd name="T25" fmla="*/ 47 h 256"/>
              <a:gd name="T26" fmla="*/ 46 w 255"/>
              <a:gd name="T27" fmla="*/ 29 h 256"/>
              <a:gd name="T28" fmla="*/ 66 w 255"/>
              <a:gd name="T29" fmla="*/ 15 h 256"/>
              <a:gd name="T30" fmla="*/ 90 w 255"/>
              <a:gd name="T31" fmla="*/ 6 h 256"/>
              <a:gd name="T32" fmla="*/ 115 w 255"/>
              <a:gd name="T33" fmla="*/ 1 h 256"/>
              <a:gd name="T34" fmla="*/ 128 w 255"/>
              <a:gd name="T35" fmla="*/ 0 h 256"/>
              <a:gd name="T36" fmla="*/ 154 w 255"/>
              <a:gd name="T37" fmla="*/ 2 h 256"/>
              <a:gd name="T38" fmla="*/ 177 w 255"/>
              <a:gd name="T39" fmla="*/ 10 h 256"/>
              <a:gd name="T40" fmla="*/ 199 w 255"/>
              <a:gd name="T41" fmla="*/ 22 h 256"/>
              <a:gd name="T42" fmla="*/ 218 w 255"/>
              <a:gd name="T43" fmla="*/ 38 h 256"/>
              <a:gd name="T44" fmla="*/ 233 w 255"/>
              <a:gd name="T45" fmla="*/ 56 h 256"/>
              <a:gd name="T46" fmla="*/ 245 w 255"/>
              <a:gd name="T47" fmla="*/ 78 h 256"/>
              <a:gd name="T48" fmla="*/ 253 w 255"/>
              <a:gd name="T49" fmla="*/ 102 h 256"/>
              <a:gd name="T50" fmla="*/ 255 w 255"/>
              <a:gd name="T51" fmla="*/ 127 h 256"/>
              <a:gd name="T52" fmla="*/ 254 w 255"/>
              <a:gd name="T53" fmla="*/ 140 h 256"/>
              <a:gd name="T54" fmla="*/ 249 w 255"/>
              <a:gd name="T55" fmla="*/ 166 h 256"/>
              <a:gd name="T56" fmla="*/ 240 w 255"/>
              <a:gd name="T57" fmla="*/ 189 h 256"/>
              <a:gd name="T58" fmla="*/ 226 w 255"/>
              <a:gd name="T59" fmla="*/ 209 h 256"/>
              <a:gd name="T60" fmla="*/ 209 w 255"/>
              <a:gd name="T61" fmla="*/ 226 h 256"/>
              <a:gd name="T62" fmla="*/ 188 w 255"/>
              <a:gd name="T63" fmla="*/ 239 h 256"/>
              <a:gd name="T64" fmla="*/ 166 w 255"/>
              <a:gd name="T65" fmla="*/ 250 h 256"/>
              <a:gd name="T66" fmla="*/ 141 w 255"/>
              <a:gd name="T67" fmla="*/ 255 h 256"/>
              <a:gd name="T68" fmla="*/ 128 w 255"/>
              <a:gd name="T69" fmla="*/ 25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5" h="256">
                <a:moveTo>
                  <a:pt x="128" y="256"/>
                </a:moveTo>
                <a:lnTo>
                  <a:pt x="128" y="256"/>
                </a:lnTo>
                <a:lnTo>
                  <a:pt x="115" y="255"/>
                </a:lnTo>
                <a:lnTo>
                  <a:pt x="102" y="252"/>
                </a:lnTo>
                <a:lnTo>
                  <a:pt x="90" y="250"/>
                </a:lnTo>
                <a:lnTo>
                  <a:pt x="78" y="245"/>
                </a:lnTo>
                <a:lnTo>
                  <a:pt x="66" y="239"/>
                </a:lnTo>
                <a:lnTo>
                  <a:pt x="56" y="233"/>
                </a:lnTo>
                <a:lnTo>
                  <a:pt x="46" y="226"/>
                </a:lnTo>
                <a:lnTo>
                  <a:pt x="37" y="218"/>
                </a:lnTo>
                <a:lnTo>
                  <a:pt x="29" y="209"/>
                </a:lnTo>
                <a:lnTo>
                  <a:pt x="22" y="199"/>
                </a:lnTo>
                <a:lnTo>
                  <a:pt x="16" y="189"/>
                </a:lnTo>
                <a:lnTo>
                  <a:pt x="10" y="177"/>
                </a:lnTo>
                <a:lnTo>
                  <a:pt x="5" y="166"/>
                </a:lnTo>
                <a:lnTo>
                  <a:pt x="3" y="153"/>
                </a:lnTo>
                <a:lnTo>
                  <a:pt x="0" y="140"/>
                </a:lnTo>
                <a:lnTo>
                  <a:pt x="0" y="127"/>
                </a:lnTo>
                <a:lnTo>
                  <a:pt x="0" y="127"/>
                </a:lnTo>
                <a:lnTo>
                  <a:pt x="0" y="114"/>
                </a:lnTo>
                <a:lnTo>
                  <a:pt x="3" y="102"/>
                </a:lnTo>
                <a:lnTo>
                  <a:pt x="5" y="89"/>
                </a:lnTo>
                <a:lnTo>
                  <a:pt x="10" y="78"/>
                </a:lnTo>
                <a:lnTo>
                  <a:pt x="16" y="67"/>
                </a:lnTo>
                <a:lnTo>
                  <a:pt x="22" y="56"/>
                </a:lnTo>
                <a:lnTo>
                  <a:pt x="29" y="47"/>
                </a:lnTo>
                <a:lnTo>
                  <a:pt x="37" y="38"/>
                </a:lnTo>
                <a:lnTo>
                  <a:pt x="46" y="29"/>
                </a:lnTo>
                <a:lnTo>
                  <a:pt x="56" y="22"/>
                </a:lnTo>
                <a:lnTo>
                  <a:pt x="66" y="15"/>
                </a:lnTo>
                <a:lnTo>
                  <a:pt x="78" y="10"/>
                </a:lnTo>
                <a:lnTo>
                  <a:pt x="90" y="6"/>
                </a:lnTo>
                <a:lnTo>
                  <a:pt x="102" y="2"/>
                </a:lnTo>
                <a:lnTo>
                  <a:pt x="115" y="1"/>
                </a:lnTo>
                <a:lnTo>
                  <a:pt x="128" y="0"/>
                </a:lnTo>
                <a:lnTo>
                  <a:pt x="128" y="0"/>
                </a:lnTo>
                <a:lnTo>
                  <a:pt x="141" y="1"/>
                </a:lnTo>
                <a:lnTo>
                  <a:pt x="154" y="2"/>
                </a:lnTo>
                <a:lnTo>
                  <a:pt x="166" y="6"/>
                </a:lnTo>
                <a:lnTo>
                  <a:pt x="177" y="10"/>
                </a:lnTo>
                <a:lnTo>
                  <a:pt x="188" y="15"/>
                </a:lnTo>
                <a:lnTo>
                  <a:pt x="199" y="22"/>
                </a:lnTo>
                <a:lnTo>
                  <a:pt x="209" y="29"/>
                </a:lnTo>
                <a:lnTo>
                  <a:pt x="218" y="38"/>
                </a:lnTo>
                <a:lnTo>
                  <a:pt x="226" y="47"/>
                </a:lnTo>
                <a:lnTo>
                  <a:pt x="233" y="56"/>
                </a:lnTo>
                <a:lnTo>
                  <a:pt x="240" y="67"/>
                </a:lnTo>
                <a:lnTo>
                  <a:pt x="245" y="78"/>
                </a:lnTo>
                <a:lnTo>
                  <a:pt x="249" y="89"/>
                </a:lnTo>
                <a:lnTo>
                  <a:pt x="253" y="102"/>
                </a:lnTo>
                <a:lnTo>
                  <a:pt x="254" y="114"/>
                </a:lnTo>
                <a:lnTo>
                  <a:pt x="255" y="127"/>
                </a:lnTo>
                <a:lnTo>
                  <a:pt x="255" y="127"/>
                </a:lnTo>
                <a:lnTo>
                  <a:pt x="254" y="140"/>
                </a:lnTo>
                <a:lnTo>
                  <a:pt x="253" y="153"/>
                </a:lnTo>
                <a:lnTo>
                  <a:pt x="249" y="166"/>
                </a:lnTo>
                <a:lnTo>
                  <a:pt x="245" y="177"/>
                </a:lnTo>
                <a:lnTo>
                  <a:pt x="240" y="189"/>
                </a:lnTo>
                <a:lnTo>
                  <a:pt x="233" y="199"/>
                </a:lnTo>
                <a:lnTo>
                  <a:pt x="226" y="209"/>
                </a:lnTo>
                <a:lnTo>
                  <a:pt x="218" y="218"/>
                </a:lnTo>
                <a:lnTo>
                  <a:pt x="209" y="226"/>
                </a:lnTo>
                <a:lnTo>
                  <a:pt x="199" y="233"/>
                </a:lnTo>
                <a:lnTo>
                  <a:pt x="188" y="239"/>
                </a:lnTo>
                <a:lnTo>
                  <a:pt x="177" y="245"/>
                </a:lnTo>
                <a:lnTo>
                  <a:pt x="166" y="250"/>
                </a:lnTo>
                <a:lnTo>
                  <a:pt x="154" y="252"/>
                </a:lnTo>
                <a:lnTo>
                  <a:pt x="141" y="255"/>
                </a:lnTo>
                <a:lnTo>
                  <a:pt x="128" y="256"/>
                </a:lnTo>
                <a:lnTo>
                  <a:pt x="128" y="256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65" name="išlidê">
            <a:extLst>
              <a:ext uri="{FF2B5EF4-FFF2-40B4-BE49-F238E27FC236}">
                <a16:creationId xmlns:a16="http://schemas.microsoft.com/office/drawing/2014/main" id="{A717D00F-C447-A443-89F4-8C8BB6052BC2}"/>
              </a:ext>
            </a:extLst>
          </p:cNvPr>
          <p:cNvSpPr/>
          <p:nvPr/>
        </p:nvSpPr>
        <p:spPr bwMode="auto">
          <a:xfrm>
            <a:off x="6564555" y="2730194"/>
            <a:ext cx="312274" cy="312274"/>
          </a:xfrm>
          <a:custGeom>
            <a:avLst/>
            <a:gdLst>
              <a:gd name="T0" fmla="*/ 600 w 1152"/>
              <a:gd name="T1" fmla="*/ 944 h 1153"/>
              <a:gd name="T2" fmla="*/ 578 w 1152"/>
              <a:gd name="T3" fmla="*/ 940 h 1153"/>
              <a:gd name="T4" fmla="*/ 908 w 1152"/>
              <a:gd name="T5" fmla="*/ 1066 h 1153"/>
              <a:gd name="T6" fmla="*/ 367 w 1152"/>
              <a:gd name="T7" fmla="*/ 868 h 1153"/>
              <a:gd name="T8" fmla="*/ 1049 w 1152"/>
              <a:gd name="T9" fmla="*/ 137 h 1153"/>
              <a:gd name="T10" fmla="*/ 367 w 1152"/>
              <a:gd name="T11" fmla="*/ 868 h 1153"/>
              <a:gd name="T12" fmla="*/ 947 w 1152"/>
              <a:gd name="T13" fmla="*/ 193 h 1153"/>
              <a:gd name="T14" fmla="*/ 336 w 1152"/>
              <a:gd name="T15" fmla="*/ 838 h 1153"/>
              <a:gd name="T16" fmla="*/ 113 w 1152"/>
              <a:gd name="T17" fmla="*/ 749 h 1153"/>
              <a:gd name="T18" fmla="*/ 1131 w 1152"/>
              <a:gd name="T19" fmla="*/ 4 h 1153"/>
              <a:gd name="T20" fmla="*/ 1121 w 1152"/>
              <a:gd name="T21" fmla="*/ 1 h 1153"/>
              <a:gd name="T22" fmla="*/ 1110 w 1152"/>
              <a:gd name="T23" fmla="*/ 1 h 1153"/>
              <a:gd name="T24" fmla="*/ 1101 w 1152"/>
              <a:gd name="T25" fmla="*/ 5 h 1153"/>
              <a:gd name="T26" fmla="*/ 16 w 1152"/>
              <a:gd name="T27" fmla="*/ 727 h 1153"/>
              <a:gd name="T28" fmla="*/ 9 w 1152"/>
              <a:gd name="T29" fmla="*/ 734 h 1153"/>
              <a:gd name="T30" fmla="*/ 3 w 1152"/>
              <a:gd name="T31" fmla="*/ 741 h 1153"/>
              <a:gd name="T32" fmla="*/ 0 w 1152"/>
              <a:gd name="T33" fmla="*/ 751 h 1153"/>
              <a:gd name="T34" fmla="*/ 0 w 1152"/>
              <a:gd name="T35" fmla="*/ 761 h 1153"/>
              <a:gd name="T36" fmla="*/ 2 w 1152"/>
              <a:gd name="T37" fmla="*/ 770 h 1153"/>
              <a:gd name="T38" fmla="*/ 8 w 1152"/>
              <a:gd name="T39" fmla="*/ 779 h 1153"/>
              <a:gd name="T40" fmla="*/ 14 w 1152"/>
              <a:gd name="T41" fmla="*/ 785 h 1153"/>
              <a:gd name="T42" fmla="*/ 23 w 1152"/>
              <a:gd name="T43" fmla="*/ 790 h 1153"/>
              <a:gd name="T44" fmla="*/ 436 w 1152"/>
              <a:gd name="T45" fmla="*/ 1134 h 1153"/>
              <a:gd name="T46" fmla="*/ 443 w 1152"/>
              <a:gd name="T47" fmla="*/ 1142 h 1153"/>
              <a:gd name="T48" fmla="*/ 449 w 1152"/>
              <a:gd name="T49" fmla="*/ 1148 h 1153"/>
              <a:gd name="T50" fmla="*/ 458 w 1152"/>
              <a:gd name="T51" fmla="*/ 1152 h 1153"/>
              <a:gd name="T52" fmla="*/ 468 w 1152"/>
              <a:gd name="T53" fmla="*/ 1153 h 1153"/>
              <a:gd name="T54" fmla="*/ 473 w 1152"/>
              <a:gd name="T55" fmla="*/ 1153 h 1153"/>
              <a:gd name="T56" fmla="*/ 482 w 1152"/>
              <a:gd name="T57" fmla="*/ 1150 h 1153"/>
              <a:gd name="T58" fmla="*/ 489 w 1152"/>
              <a:gd name="T59" fmla="*/ 1145 h 1153"/>
              <a:gd name="T60" fmla="*/ 496 w 1152"/>
              <a:gd name="T61" fmla="*/ 1139 h 1153"/>
              <a:gd name="T62" fmla="*/ 573 w 1152"/>
              <a:gd name="T63" fmla="*/ 1010 h 1153"/>
              <a:gd name="T64" fmla="*/ 929 w 1152"/>
              <a:gd name="T65" fmla="*/ 1153 h 1153"/>
              <a:gd name="T66" fmla="*/ 941 w 1152"/>
              <a:gd name="T67" fmla="*/ 1153 h 1153"/>
              <a:gd name="T68" fmla="*/ 949 w 1152"/>
              <a:gd name="T69" fmla="*/ 1150 h 1153"/>
              <a:gd name="T70" fmla="*/ 960 w 1152"/>
              <a:gd name="T71" fmla="*/ 1143 h 1153"/>
              <a:gd name="T72" fmla="*/ 969 w 1152"/>
              <a:gd name="T73" fmla="*/ 1130 h 1153"/>
              <a:gd name="T74" fmla="*/ 1151 w 1152"/>
              <a:gd name="T75" fmla="*/ 42 h 1153"/>
              <a:gd name="T76" fmla="*/ 1151 w 1152"/>
              <a:gd name="T77" fmla="*/ 33 h 1153"/>
              <a:gd name="T78" fmla="*/ 1149 w 1152"/>
              <a:gd name="T79" fmla="*/ 22 h 1153"/>
              <a:gd name="T80" fmla="*/ 1144 w 1152"/>
              <a:gd name="T81" fmla="*/ 13 h 1153"/>
              <a:gd name="T82" fmla="*/ 1135 w 1152"/>
              <a:gd name="T83" fmla="*/ 7 h 1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52" h="1153">
                <a:moveTo>
                  <a:pt x="908" y="1066"/>
                </a:moveTo>
                <a:lnTo>
                  <a:pt x="600" y="944"/>
                </a:lnTo>
                <a:lnTo>
                  <a:pt x="590" y="941"/>
                </a:lnTo>
                <a:lnTo>
                  <a:pt x="578" y="940"/>
                </a:lnTo>
                <a:lnTo>
                  <a:pt x="1051" y="205"/>
                </a:lnTo>
                <a:lnTo>
                  <a:pt x="908" y="1066"/>
                </a:lnTo>
                <a:close/>
                <a:moveTo>
                  <a:pt x="367" y="868"/>
                </a:moveTo>
                <a:lnTo>
                  <a:pt x="367" y="868"/>
                </a:lnTo>
                <a:lnTo>
                  <a:pt x="366" y="866"/>
                </a:lnTo>
                <a:lnTo>
                  <a:pt x="1049" y="137"/>
                </a:lnTo>
                <a:lnTo>
                  <a:pt x="468" y="1042"/>
                </a:lnTo>
                <a:lnTo>
                  <a:pt x="367" y="868"/>
                </a:lnTo>
                <a:close/>
                <a:moveTo>
                  <a:pt x="113" y="749"/>
                </a:moveTo>
                <a:lnTo>
                  <a:pt x="947" y="193"/>
                </a:lnTo>
                <a:lnTo>
                  <a:pt x="340" y="842"/>
                </a:lnTo>
                <a:lnTo>
                  <a:pt x="336" y="838"/>
                </a:lnTo>
                <a:lnTo>
                  <a:pt x="332" y="836"/>
                </a:lnTo>
                <a:lnTo>
                  <a:pt x="113" y="749"/>
                </a:lnTo>
                <a:close/>
                <a:moveTo>
                  <a:pt x="1135" y="7"/>
                </a:moveTo>
                <a:lnTo>
                  <a:pt x="1131" y="4"/>
                </a:lnTo>
                <a:lnTo>
                  <a:pt x="1126" y="2"/>
                </a:lnTo>
                <a:lnTo>
                  <a:pt x="1121" y="1"/>
                </a:lnTo>
                <a:lnTo>
                  <a:pt x="1116" y="0"/>
                </a:lnTo>
                <a:lnTo>
                  <a:pt x="1110" y="1"/>
                </a:lnTo>
                <a:lnTo>
                  <a:pt x="1106" y="2"/>
                </a:lnTo>
                <a:lnTo>
                  <a:pt x="1101" y="5"/>
                </a:lnTo>
                <a:lnTo>
                  <a:pt x="1096" y="7"/>
                </a:lnTo>
                <a:lnTo>
                  <a:pt x="16" y="727"/>
                </a:lnTo>
                <a:lnTo>
                  <a:pt x="12" y="730"/>
                </a:lnTo>
                <a:lnTo>
                  <a:pt x="9" y="734"/>
                </a:lnTo>
                <a:lnTo>
                  <a:pt x="5" y="737"/>
                </a:lnTo>
                <a:lnTo>
                  <a:pt x="3" y="741"/>
                </a:lnTo>
                <a:lnTo>
                  <a:pt x="2" y="745"/>
                </a:lnTo>
                <a:lnTo>
                  <a:pt x="0" y="751"/>
                </a:lnTo>
                <a:lnTo>
                  <a:pt x="0" y="755"/>
                </a:lnTo>
                <a:lnTo>
                  <a:pt x="0" y="761"/>
                </a:lnTo>
                <a:lnTo>
                  <a:pt x="1" y="765"/>
                </a:lnTo>
                <a:lnTo>
                  <a:pt x="2" y="770"/>
                </a:lnTo>
                <a:lnTo>
                  <a:pt x="4" y="775"/>
                </a:lnTo>
                <a:lnTo>
                  <a:pt x="8" y="779"/>
                </a:lnTo>
                <a:lnTo>
                  <a:pt x="11" y="782"/>
                </a:lnTo>
                <a:lnTo>
                  <a:pt x="14" y="785"/>
                </a:lnTo>
                <a:lnTo>
                  <a:pt x="18" y="788"/>
                </a:lnTo>
                <a:lnTo>
                  <a:pt x="23" y="790"/>
                </a:lnTo>
                <a:lnTo>
                  <a:pt x="305" y="903"/>
                </a:lnTo>
                <a:lnTo>
                  <a:pt x="436" y="1134"/>
                </a:lnTo>
                <a:lnTo>
                  <a:pt x="440" y="1139"/>
                </a:lnTo>
                <a:lnTo>
                  <a:pt x="443" y="1142"/>
                </a:lnTo>
                <a:lnTo>
                  <a:pt x="446" y="1145"/>
                </a:lnTo>
                <a:lnTo>
                  <a:pt x="449" y="1148"/>
                </a:lnTo>
                <a:lnTo>
                  <a:pt x="454" y="1149"/>
                </a:lnTo>
                <a:lnTo>
                  <a:pt x="458" y="1152"/>
                </a:lnTo>
                <a:lnTo>
                  <a:pt x="463" y="1153"/>
                </a:lnTo>
                <a:lnTo>
                  <a:pt x="468" y="1153"/>
                </a:lnTo>
                <a:lnTo>
                  <a:pt x="468" y="1153"/>
                </a:lnTo>
                <a:lnTo>
                  <a:pt x="473" y="1153"/>
                </a:lnTo>
                <a:lnTo>
                  <a:pt x="477" y="1152"/>
                </a:lnTo>
                <a:lnTo>
                  <a:pt x="482" y="1150"/>
                </a:lnTo>
                <a:lnTo>
                  <a:pt x="486" y="1148"/>
                </a:lnTo>
                <a:lnTo>
                  <a:pt x="489" y="1145"/>
                </a:lnTo>
                <a:lnTo>
                  <a:pt x="494" y="1143"/>
                </a:lnTo>
                <a:lnTo>
                  <a:pt x="496" y="1139"/>
                </a:lnTo>
                <a:lnTo>
                  <a:pt x="499" y="1135"/>
                </a:lnTo>
                <a:lnTo>
                  <a:pt x="573" y="1010"/>
                </a:lnTo>
                <a:lnTo>
                  <a:pt x="922" y="1150"/>
                </a:lnTo>
                <a:lnTo>
                  <a:pt x="929" y="1153"/>
                </a:lnTo>
                <a:lnTo>
                  <a:pt x="936" y="1153"/>
                </a:lnTo>
                <a:lnTo>
                  <a:pt x="941" y="1153"/>
                </a:lnTo>
                <a:lnTo>
                  <a:pt x="945" y="1152"/>
                </a:lnTo>
                <a:lnTo>
                  <a:pt x="949" y="1150"/>
                </a:lnTo>
                <a:lnTo>
                  <a:pt x="954" y="1148"/>
                </a:lnTo>
                <a:lnTo>
                  <a:pt x="960" y="1143"/>
                </a:lnTo>
                <a:lnTo>
                  <a:pt x="966" y="1138"/>
                </a:lnTo>
                <a:lnTo>
                  <a:pt x="969" y="1130"/>
                </a:lnTo>
                <a:lnTo>
                  <a:pt x="972" y="1122"/>
                </a:lnTo>
                <a:lnTo>
                  <a:pt x="1151" y="42"/>
                </a:lnTo>
                <a:lnTo>
                  <a:pt x="1152" y="37"/>
                </a:lnTo>
                <a:lnTo>
                  <a:pt x="1151" y="33"/>
                </a:lnTo>
                <a:lnTo>
                  <a:pt x="1150" y="27"/>
                </a:lnTo>
                <a:lnTo>
                  <a:pt x="1149" y="22"/>
                </a:lnTo>
                <a:lnTo>
                  <a:pt x="1147" y="18"/>
                </a:lnTo>
                <a:lnTo>
                  <a:pt x="1144" y="13"/>
                </a:lnTo>
                <a:lnTo>
                  <a:pt x="1139" y="10"/>
                </a:lnTo>
                <a:lnTo>
                  <a:pt x="1135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68" name="question-mark-draw_16686">
            <a:extLst>
              <a:ext uri="{FF2B5EF4-FFF2-40B4-BE49-F238E27FC236}">
                <a16:creationId xmlns:a16="http://schemas.microsoft.com/office/drawing/2014/main" id="{9B551962-CE50-7640-889B-A73D0D320887}"/>
              </a:ext>
            </a:extLst>
          </p:cNvPr>
          <p:cNvSpPr/>
          <p:nvPr/>
        </p:nvSpPr>
        <p:spPr>
          <a:xfrm>
            <a:off x="4926233" y="3499117"/>
            <a:ext cx="204993" cy="413870"/>
          </a:xfrm>
          <a:custGeom>
            <a:avLst/>
            <a:gdLst>
              <a:gd name="connsiteX0" fmla="*/ 148049 w 391493"/>
              <a:gd name="connsiteY0" fmla="*/ 466367 h 604111"/>
              <a:gd name="connsiteX1" fmla="*/ 196111 w 391493"/>
              <a:gd name="connsiteY1" fmla="*/ 466367 h 604111"/>
              <a:gd name="connsiteX2" fmla="*/ 251915 w 391493"/>
              <a:gd name="connsiteY2" fmla="*/ 522109 h 604111"/>
              <a:gd name="connsiteX3" fmla="*/ 251915 w 391493"/>
              <a:gd name="connsiteY3" fmla="*/ 548208 h 604111"/>
              <a:gd name="connsiteX4" fmla="*/ 196111 w 391493"/>
              <a:gd name="connsiteY4" fmla="*/ 604111 h 604111"/>
              <a:gd name="connsiteX5" fmla="*/ 148049 w 391493"/>
              <a:gd name="connsiteY5" fmla="*/ 604111 h 604111"/>
              <a:gd name="connsiteX6" fmla="*/ 92084 w 391493"/>
              <a:gd name="connsiteY6" fmla="*/ 548208 h 604111"/>
              <a:gd name="connsiteX7" fmla="*/ 92084 w 391493"/>
              <a:gd name="connsiteY7" fmla="*/ 522109 h 604111"/>
              <a:gd name="connsiteX8" fmla="*/ 148049 w 391493"/>
              <a:gd name="connsiteY8" fmla="*/ 466367 h 604111"/>
              <a:gd name="connsiteX9" fmla="*/ 188697 w 391493"/>
              <a:gd name="connsiteY9" fmla="*/ 0 h 604111"/>
              <a:gd name="connsiteX10" fmla="*/ 391493 w 391493"/>
              <a:gd name="connsiteY10" fmla="*/ 170104 h 604111"/>
              <a:gd name="connsiteX11" fmla="*/ 391493 w 391493"/>
              <a:gd name="connsiteY11" fmla="*/ 171715 h 604111"/>
              <a:gd name="connsiteX12" fmla="*/ 233387 w 391493"/>
              <a:gd name="connsiteY12" fmla="*/ 367431 h 604111"/>
              <a:gd name="connsiteX13" fmla="*/ 228385 w 391493"/>
              <a:gd name="connsiteY13" fmla="*/ 393365 h 604111"/>
              <a:gd name="connsiteX14" fmla="*/ 174500 w 391493"/>
              <a:gd name="connsiteY14" fmla="*/ 419300 h 604111"/>
              <a:gd name="connsiteX15" fmla="*/ 117065 w 391493"/>
              <a:gd name="connsiteY15" fmla="*/ 364048 h 604111"/>
              <a:gd name="connsiteX16" fmla="*/ 113355 w 391493"/>
              <a:gd name="connsiteY16" fmla="*/ 339241 h 604111"/>
              <a:gd name="connsiteX17" fmla="*/ 108353 w 391493"/>
              <a:gd name="connsiteY17" fmla="*/ 280285 h 604111"/>
              <a:gd name="connsiteX18" fmla="*/ 111580 w 391493"/>
              <a:gd name="connsiteY18" fmla="*/ 276741 h 604111"/>
              <a:gd name="connsiteX19" fmla="*/ 239033 w 391493"/>
              <a:gd name="connsiteY19" fmla="*/ 183957 h 604111"/>
              <a:gd name="connsiteX20" fmla="*/ 239033 w 391493"/>
              <a:gd name="connsiteY20" fmla="*/ 183152 h 604111"/>
              <a:gd name="connsiteX21" fmla="*/ 178211 w 391493"/>
              <a:gd name="connsiteY21" fmla="*/ 138531 h 604111"/>
              <a:gd name="connsiteX22" fmla="*/ 104965 w 391493"/>
              <a:gd name="connsiteY22" fmla="*/ 159472 h 604111"/>
              <a:gd name="connsiteX23" fmla="*/ 25911 w 391493"/>
              <a:gd name="connsiteY23" fmla="*/ 147552 h 604111"/>
              <a:gd name="connsiteX24" fmla="*/ 12198 w 391493"/>
              <a:gd name="connsiteY24" fmla="*/ 129511 h 604111"/>
              <a:gd name="connsiteX25" fmla="*/ 21394 w 391493"/>
              <a:gd name="connsiteY25" fmla="*/ 49291 h 604111"/>
              <a:gd name="connsiteX26" fmla="*/ 188697 w 391493"/>
              <a:gd name="connsiteY26" fmla="*/ 0 h 604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91493" h="604111">
                <a:moveTo>
                  <a:pt x="148049" y="466367"/>
                </a:moveTo>
                <a:lnTo>
                  <a:pt x="196111" y="466367"/>
                </a:lnTo>
                <a:cubicBezTo>
                  <a:pt x="226916" y="466367"/>
                  <a:pt x="251915" y="491338"/>
                  <a:pt x="251915" y="522109"/>
                </a:cubicBezTo>
                <a:lnTo>
                  <a:pt x="251915" y="548208"/>
                </a:lnTo>
                <a:cubicBezTo>
                  <a:pt x="251915" y="579140"/>
                  <a:pt x="226916" y="604111"/>
                  <a:pt x="196111" y="604111"/>
                </a:cubicBezTo>
                <a:lnTo>
                  <a:pt x="148049" y="604111"/>
                </a:lnTo>
                <a:cubicBezTo>
                  <a:pt x="117244" y="604111"/>
                  <a:pt x="92084" y="579140"/>
                  <a:pt x="92084" y="548208"/>
                </a:cubicBezTo>
                <a:lnTo>
                  <a:pt x="92084" y="522109"/>
                </a:lnTo>
                <a:cubicBezTo>
                  <a:pt x="92084" y="491338"/>
                  <a:pt x="117083" y="466367"/>
                  <a:pt x="148049" y="466367"/>
                </a:cubicBezTo>
                <a:close/>
                <a:moveTo>
                  <a:pt x="188697" y="0"/>
                </a:moveTo>
                <a:cubicBezTo>
                  <a:pt x="307923" y="0"/>
                  <a:pt x="391493" y="64755"/>
                  <a:pt x="391493" y="170104"/>
                </a:cubicBezTo>
                <a:lnTo>
                  <a:pt x="391493" y="171715"/>
                </a:lnTo>
                <a:cubicBezTo>
                  <a:pt x="391493" y="273841"/>
                  <a:pt x="323411" y="345524"/>
                  <a:pt x="233387" y="367431"/>
                </a:cubicBezTo>
                <a:cubicBezTo>
                  <a:pt x="233387" y="367431"/>
                  <a:pt x="231128" y="379029"/>
                  <a:pt x="228385" y="393365"/>
                </a:cubicBezTo>
                <a:cubicBezTo>
                  <a:pt x="225804" y="407702"/>
                  <a:pt x="201604" y="419300"/>
                  <a:pt x="174500" y="419300"/>
                </a:cubicBezTo>
                <a:cubicBezTo>
                  <a:pt x="147396" y="419300"/>
                  <a:pt x="121744" y="394493"/>
                  <a:pt x="117065" y="364048"/>
                </a:cubicBezTo>
                <a:lnTo>
                  <a:pt x="113355" y="339241"/>
                </a:lnTo>
                <a:cubicBezTo>
                  <a:pt x="108837" y="308635"/>
                  <a:pt x="106579" y="282379"/>
                  <a:pt x="108353" y="280285"/>
                </a:cubicBezTo>
                <a:lnTo>
                  <a:pt x="111580" y="276741"/>
                </a:lnTo>
                <a:cubicBezTo>
                  <a:pt x="205799" y="268526"/>
                  <a:pt x="239033" y="218751"/>
                  <a:pt x="239033" y="183957"/>
                </a:cubicBezTo>
                <a:lnTo>
                  <a:pt x="239033" y="183152"/>
                </a:lnTo>
                <a:cubicBezTo>
                  <a:pt x="239033" y="155606"/>
                  <a:pt x="217092" y="138531"/>
                  <a:pt x="178211" y="138531"/>
                </a:cubicBezTo>
                <a:cubicBezTo>
                  <a:pt x="154656" y="138531"/>
                  <a:pt x="129649" y="145941"/>
                  <a:pt x="104965" y="159472"/>
                </a:cubicBezTo>
                <a:cubicBezTo>
                  <a:pt x="78022" y="174453"/>
                  <a:pt x="44465" y="172037"/>
                  <a:pt x="25911" y="147552"/>
                </a:cubicBezTo>
                <a:lnTo>
                  <a:pt x="12198" y="129511"/>
                </a:lnTo>
                <a:cubicBezTo>
                  <a:pt x="-6355" y="105026"/>
                  <a:pt x="-4097" y="66849"/>
                  <a:pt x="21394" y="49291"/>
                </a:cubicBezTo>
                <a:cubicBezTo>
                  <a:pt x="65115" y="19330"/>
                  <a:pt x="119808" y="0"/>
                  <a:pt x="18869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9" name="îšḷidê">
            <a:extLst>
              <a:ext uri="{FF2B5EF4-FFF2-40B4-BE49-F238E27FC236}">
                <a16:creationId xmlns:a16="http://schemas.microsoft.com/office/drawing/2014/main" id="{1CA4A20E-883F-EC48-A5BA-40AB0A3C56FD}"/>
              </a:ext>
            </a:extLst>
          </p:cNvPr>
          <p:cNvSpPr/>
          <p:nvPr/>
        </p:nvSpPr>
        <p:spPr bwMode="auto">
          <a:xfrm>
            <a:off x="6608723" y="3386493"/>
            <a:ext cx="591065" cy="593383"/>
          </a:xfrm>
          <a:custGeom>
            <a:avLst/>
            <a:gdLst>
              <a:gd name="T0" fmla="*/ 128 w 255"/>
              <a:gd name="T1" fmla="*/ 256 h 256"/>
              <a:gd name="T2" fmla="*/ 102 w 255"/>
              <a:gd name="T3" fmla="*/ 252 h 256"/>
              <a:gd name="T4" fmla="*/ 78 w 255"/>
              <a:gd name="T5" fmla="*/ 245 h 256"/>
              <a:gd name="T6" fmla="*/ 56 w 255"/>
              <a:gd name="T7" fmla="*/ 233 h 256"/>
              <a:gd name="T8" fmla="*/ 37 w 255"/>
              <a:gd name="T9" fmla="*/ 218 h 256"/>
              <a:gd name="T10" fmla="*/ 22 w 255"/>
              <a:gd name="T11" fmla="*/ 199 h 256"/>
              <a:gd name="T12" fmla="*/ 10 w 255"/>
              <a:gd name="T13" fmla="*/ 177 h 256"/>
              <a:gd name="T14" fmla="*/ 3 w 255"/>
              <a:gd name="T15" fmla="*/ 153 h 256"/>
              <a:gd name="T16" fmla="*/ 0 w 255"/>
              <a:gd name="T17" fmla="*/ 127 h 256"/>
              <a:gd name="T18" fmla="*/ 0 w 255"/>
              <a:gd name="T19" fmla="*/ 114 h 256"/>
              <a:gd name="T20" fmla="*/ 5 w 255"/>
              <a:gd name="T21" fmla="*/ 89 h 256"/>
              <a:gd name="T22" fmla="*/ 16 w 255"/>
              <a:gd name="T23" fmla="*/ 67 h 256"/>
              <a:gd name="T24" fmla="*/ 29 w 255"/>
              <a:gd name="T25" fmla="*/ 47 h 256"/>
              <a:gd name="T26" fmla="*/ 46 w 255"/>
              <a:gd name="T27" fmla="*/ 29 h 256"/>
              <a:gd name="T28" fmla="*/ 66 w 255"/>
              <a:gd name="T29" fmla="*/ 15 h 256"/>
              <a:gd name="T30" fmla="*/ 90 w 255"/>
              <a:gd name="T31" fmla="*/ 6 h 256"/>
              <a:gd name="T32" fmla="*/ 115 w 255"/>
              <a:gd name="T33" fmla="*/ 1 h 256"/>
              <a:gd name="T34" fmla="*/ 128 w 255"/>
              <a:gd name="T35" fmla="*/ 0 h 256"/>
              <a:gd name="T36" fmla="*/ 154 w 255"/>
              <a:gd name="T37" fmla="*/ 2 h 256"/>
              <a:gd name="T38" fmla="*/ 177 w 255"/>
              <a:gd name="T39" fmla="*/ 10 h 256"/>
              <a:gd name="T40" fmla="*/ 199 w 255"/>
              <a:gd name="T41" fmla="*/ 22 h 256"/>
              <a:gd name="T42" fmla="*/ 218 w 255"/>
              <a:gd name="T43" fmla="*/ 38 h 256"/>
              <a:gd name="T44" fmla="*/ 233 w 255"/>
              <a:gd name="T45" fmla="*/ 56 h 256"/>
              <a:gd name="T46" fmla="*/ 245 w 255"/>
              <a:gd name="T47" fmla="*/ 78 h 256"/>
              <a:gd name="T48" fmla="*/ 253 w 255"/>
              <a:gd name="T49" fmla="*/ 102 h 256"/>
              <a:gd name="T50" fmla="*/ 255 w 255"/>
              <a:gd name="T51" fmla="*/ 127 h 256"/>
              <a:gd name="T52" fmla="*/ 254 w 255"/>
              <a:gd name="T53" fmla="*/ 140 h 256"/>
              <a:gd name="T54" fmla="*/ 249 w 255"/>
              <a:gd name="T55" fmla="*/ 166 h 256"/>
              <a:gd name="T56" fmla="*/ 240 w 255"/>
              <a:gd name="T57" fmla="*/ 189 h 256"/>
              <a:gd name="T58" fmla="*/ 226 w 255"/>
              <a:gd name="T59" fmla="*/ 209 h 256"/>
              <a:gd name="T60" fmla="*/ 209 w 255"/>
              <a:gd name="T61" fmla="*/ 226 h 256"/>
              <a:gd name="T62" fmla="*/ 188 w 255"/>
              <a:gd name="T63" fmla="*/ 239 h 256"/>
              <a:gd name="T64" fmla="*/ 166 w 255"/>
              <a:gd name="T65" fmla="*/ 250 h 256"/>
              <a:gd name="T66" fmla="*/ 141 w 255"/>
              <a:gd name="T67" fmla="*/ 255 h 256"/>
              <a:gd name="T68" fmla="*/ 128 w 255"/>
              <a:gd name="T69" fmla="*/ 25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5" h="256">
                <a:moveTo>
                  <a:pt x="128" y="256"/>
                </a:moveTo>
                <a:lnTo>
                  <a:pt x="128" y="256"/>
                </a:lnTo>
                <a:lnTo>
                  <a:pt x="115" y="255"/>
                </a:lnTo>
                <a:lnTo>
                  <a:pt x="102" y="252"/>
                </a:lnTo>
                <a:lnTo>
                  <a:pt x="90" y="250"/>
                </a:lnTo>
                <a:lnTo>
                  <a:pt x="78" y="245"/>
                </a:lnTo>
                <a:lnTo>
                  <a:pt x="66" y="239"/>
                </a:lnTo>
                <a:lnTo>
                  <a:pt x="56" y="233"/>
                </a:lnTo>
                <a:lnTo>
                  <a:pt x="46" y="226"/>
                </a:lnTo>
                <a:lnTo>
                  <a:pt x="37" y="218"/>
                </a:lnTo>
                <a:lnTo>
                  <a:pt x="29" y="209"/>
                </a:lnTo>
                <a:lnTo>
                  <a:pt x="22" y="199"/>
                </a:lnTo>
                <a:lnTo>
                  <a:pt x="16" y="189"/>
                </a:lnTo>
                <a:lnTo>
                  <a:pt x="10" y="177"/>
                </a:lnTo>
                <a:lnTo>
                  <a:pt x="5" y="166"/>
                </a:lnTo>
                <a:lnTo>
                  <a:pt x="3" y="153"/>
                </a:lnTo>
                <a:lnTo>
                  <a:pt x="0" y="140"/>
                </a:lnTo>
                <a:lnTo>
                  <a:pt x="0" y="127"/>
                </a:lnTo>
                <a:lnTo>
                  <a:pt x="0" y="127"/>
                </a:lnTo>
                <a:lnTo>
                  <a:pt x="0" y="114"/>
                </a:lnTo>
                <a:lnTo>
                  <a:pt x="3" y="102"/>
                </a:lnTo>
                <a:lnTo>
                  <a:pt x="5" y="89"/>
                </a:lnTo>
                <a:lnTo>
                  <a:pt x="10" y="78"/>
                </a:lnTo>
                <a:lnTo>
                  <a:pt x="16" y="67"/>
                </a:lnTo>
                <a:lnTo>
                  <a:pt x="22" y="56"/>
                </a:lnTo>
                <a:lnTo>
                  <a:pt x="29" y="47"/>
                </a:lnTo>
                <a:lnTo>
                  <a:pt x="37" y="38"/>
                </a:lnTo>
                <a:lnTo>
                  <a:pt x="46" y="29"/>
                </a:lnTo>
                <a:lnTo>
                  <a:pt x="56" y="22"/>
                </a:lnTo>
                <a:lnTo>
                  <a:pt x="66" y="15"/>
                </a:lnTo>
                <a:lnTo>
                  <a:pt x="78" y="10"/>
                </a:lnTo>
                <a:lnTo>
                  <a:pt x="90" y="6"/>
                </a:lnTo>
                <a:lnTo>
                  <a:pt x="102" y="2"/>
                </a:lnTo>
                <a:lnTo>
                  <a:pt x="115" y="1"/>
                </a:lnTo>
                <a:lnTo>
                  <a:pt x="128" y="0"/>
                </a:lnTo>
                <a:lnTo>
                  <a:pt x="128" y="0"/>
                </a:lnTo>
                <a:lnTo>
                  <a:pt x="141" y="1"/>
                </a:lnTo>
                <a:lnTo>
                  <a:pt x="154" y="2"/>
                </a:lnTo>
                <a:lnTo>
                  <a:pt x="166" y="6"/>
                </a:lnTo>
                <a:lnTo>
                  <a:pt x="177" y="10"/>
                </a:lnTo>
                <a:lnTo>
                  <a:pt x="188" y="15"/>
                </a:lnTo>
                <a:lnTo>
                  <a:pt x="199" y="22"/>
                </a:lnTo>
                <a:lnTo>
                  <a:pt x="209" y="29"/>
                </a:lnTo>
                <a:lnTo>
                  <a:pt x="218" y="38"/>
                </a:lnTo>
                <a:lnTo>
                  <a:pt x="226" y="47"/>
                </a:lnTo>
                <a:lnTo>
                  <a:pt x="233" y="56"/>
                </a:lnTo>
                <a:lnTo>
                  <a:pt x="240" y="67"/>
                </a:lnTo>
                <a:lnTo>
                  <a:pt x="245" y="78"/>
                </a:lnTo>
                <a:lnTo>
                  <a:pt x="249" y="89"/>
                </a:lnTo>
                <a:lnTo>
                  <a:pt x="253" y="102"/>
                </a:lnTo>
                <a:lnTo>
                  <a:pt x="254" y="114"/>
                </a:lnTo>
                <a:lnTo>
                  <a:pt x="255" y="127"/>
                </a:lnTo>
                <a:lnTo>
                  <a:pt x="255" y="127"/>
                </a:lnTo>
                <a:lnTo>
                  <a:pt x="254" y="140"/>
                </a:lnTo>
                <a:lnTo>
                  <a:pt x="253" y="153"/>
                </a:lnTo>
                <a:lnTo>
                  <a:pt x="249" y="166"/>
                </a:lnTo>
                <a:lnTo>
                  <a:pt x="245" y="177"/>
                </a:lnTo>
                <a:lnTo>
                  <a:pt x="240" y="189"/>
                </a:lnTo>
                <a:lnTo>
                  <a:pt x="233" y="199"/>
                </a:lnTo>
                <a:lnTo>
                  <a:pt x="226" y="209"/>
                </a:lnTo>
                <a:lnTo>
                  <a:pt x="218" y="218"/>
                </a:lnTo>
                <a:lnTo>
                  <a:pt x="209" y="226"/>
                </a:lnTo>
                <a:lnTo>
                  <a:pt x="199" y="233"/>
                </a:lnTo>
                <a:lnTo>
                  <a:pt x="188" y="239"/>
                </a:lnTo>
                <a:lnTo>
                  <a:pt x="177" y="245"/>
                </a:lnTo>
                <a:lnTo>
                  <a:pt x="166" y="250"/>
                </a:lnTo>
                <a:lnTo>
                  <a:pt x="154" y="252"/>
                </a:lnTo>
                <a:lnTo>
                  <a:pt x="141" y="255"/>
                </a:lnTo>
                <a:lnTo>
                  <a:pt x="128" y="256"/>
                </a:lnTo>
                <a:lnTo>
                  <a:pt x="128" y="256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70" name="question-mark-draw_16686">
            <a:extLst>
              <a:ext uri="{FF2B5EF4-FFF2-40B4-BE49-F238E27FC236}">
                <a16:creationId xmlns:a16="http://schemas.microsoft.com/office/drawing/2014/main" id="{7097849F-FA9F-EC45-9049-30A45D13918E}"/>
              </a:ext>
            </a:extLst>
          </p:cNvPr>
          <p:cNvSpPr/>
          <p:nvPr/>
        </p:nvSpPr>
        <p:spPr>
          <a:xfrm>
            <a:off x="6829718" y="3490246"/>
            <a:ext cx="204993" cy="413870"/>
          </a:xfrm>
          <a:custGeom>
            <a:avLst/>
            <a:gdLst>
              <a:gd name="connsiteX0" fmla="*/ 148049 w 391493"/>
              <a:gd name="connsiteY0" fmla="*/ 466367 h 604111"/>
              <a:gd name="connsiteX1" fmla="*/ 196111 w 391493"/>
              <a:gd name="connsiteY1" fmla="*/ 466367 h 604111"/>
              <a:gd name="connsiteX2" fmla="*/ 251915 w 391493"/>
              <a:gd name="connsiteY2" fmla="*/ 522109 h 604111"/>
              <a:gd name="connsiteX3" fmla="*/ 251915 w 391493"/>
              <a:gd name="connsiteY3" fmla="*/ 548208 h 604111"/>
              <a:gd name="connsiteX4" fmla="*/ 196111 w 391493"/>
              <a:gd name="connsiteY4" fmla="*/ 604111 h 604111"/>
              <a:gd name="connsiteX5" fmla="*/ 148049 w 391493"/>
              <a:gd name="connsiteY5" fmla="*/ 604111 h 604111"/>
              <a:gd name="connsiteX6" fmla="*/ 92084 w 391493"/>
              <a:gd name="connsiteY6" fmla="*/ 548208 h 604111"/>
              <a:gd name="connsiteX7" fmla="*/ 92084 w 391493"/>
              <a:gd name="connsiteY7" fmla="*/ 522109 h 604111"/>
              <a:gd name="connsiteX8" fmla="*/ 148049 w 391493"/>
              <a:gd name="connsiteY8" fmla="*/ 466367 h 604111"/>
              <a:gd name="connsiteX9" fmla="*/ 188697 w 391493"/>
              <a:gd name="connsiteY9" fmla="*/ 0 h 604111"/>
              <a:gd name="connsiteX10" fmla="*/ 391493 w 391493"/>
              <a:gd name="connsiteY10" fmla="*/ 170104 h 604111"/>
              <a:gd name="connsiteX11" fmla="*/ 391493 w 391493"/>
              <a:gd name="connsiteY11" fmla="*/ 171715 h 604111"/>
              <a:gd name="connsiteX12" fmla="*/ 233387 w 391493"/>
              <a:gd name="connsiteY12" fmla="*/ 367431 h 604111"/>
              <a:gd name="connsiteX13" fmla="*/ 228385 w 391493"/>
              <a:gd name="connsiteY13" fmla="*/ 393365 h 604111"/>
              <a:gd name="connsiteX14" fmla="*/ 174500 w 391493"/>
              <a:gd name="connsiteY14" fmla="*/ 419300 h 604111"/>
              <a:gd name="connsiteX15" fmla="*/ 117065 w 391493"/>
              <a:gd name="connsiteY15" fmla="*/ 364048 h 604111"/>
              <a:gd name="connsiteX16" fmla="*/ 113355 w 391493"/>
              <a:gd name="connsiteY16" fmla="*/ 339241 h 604111"/>
              <a:gd name="connsiteX17" fmla="*/ 108353 w 391493"/>
              <a:gd name="connsiteY17" fmla="*/ 280285 h 604111"/>
              <a:gd name="connsiteX18" fmla="*/ 111580 w 391493"/>
              <a:gd name="connsiteY18" fmla="*/ 276741 h 604111"/>
              <a:gd name="connsiteX19" fmla="*/ 239033 w 391493"/>
              <a:gd name="connsiteY19" fmla="*/ 183957 h 604111"/>
              <a:gd name="connsiteX20" fmla="*/ 239033 w 391493"/>
              <a:gd name="connsiteY20" fmla="*/ 183152 h 604111"/>
              <a:gd name="connsiteX21" fmla="*/ 178211 w 391493"/>
              <a:gd name="connsiteY21" fmla="*/ 138531 h 604111"/>
              <a:gd name="connsiteX22" fmla="*/ 104965 w 391493"/>
              <a:gd name="connsiteY22" fmla="*/ 159472 h 604111"/>
              <a:gd name="connsiteX23" fmla="*/ 25911 w 391493"/>
              <a:gd name="connsiteY23" fmla="*/ 147552 h 604111"/>
              <a:gd name="connsiteX24" fmla="*/ 12198 w 391493"/>
              <a:gd name="connsiteY24" fmla="*/ 129511 h 604111"/>
              <a:gd name="connsiteX25" fmla="*/ 21394 w 391493"/>
              <a:gd name="connsiteY25" fmla="*/ 49291 h 604111"/>
              <a:gd name="connsiteX26" fmla="*/ 188697 w 391493"/>
              <a:gd name="connsiteY26" fmla="*/ 0 h 604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91493" h="604111">
                <a:moveTo>
                  <a:pt x="148049" y="466367"/>
                </a:moveTo>
                <a:lnTo>
                  <a:pt x="196111" y="466367"/>
                </a:lnTo>
                <a:cubicBezTo>
                  <a:pt x="226916" y="466367"/>
                  <a:pt x="251915" y="491338"/>
                  <a:pt x="251915" y="522109"/>
                </a:cubicBezTo>
                <a:lnTo>
                  <a:pt x="251915" y="548208"/>
                </a:lnTo>
                <a:cubicBezTo>
                  <a:pt x="251915" y="579140"/>
                  <a:pt x="226916" y="604111"/>
                  <a:pt x="196111" y="604111"/>
                </a:cubicBezTo>
                <a:lnTo>
                  <a:pt x="148049" y="604111"/>
                </a:lnTo>
                <a:cubicBezTo>
                  <a:pt x="117244" y="604111"/>
                  <a:pt x="92084" y="579140"/>
                  <a:pt x="92084" y="548208"/>
                </a:cubicBezTo>
                <a:lnTo>
                  <a:pt x="92084" y="522109"/>
                </a:lnTo>
                <a:cubicBezTo>
                  <a:pt x="92084" y="491338"/>
                  <a:pt x="117083" y="466367"/>
                  <a:pt x="148049" y="466367"/>
                </a:cubicBezTo>
                <a:close/>
                <a:moveTo>
                  <a:pt x="188697" y="0"/>
                </a:moveTo>
                <a:cubicBezTo>
                  <a:pt x="307923" y="0"/>
                  <a:pt x="391493" y="64755"/>
                  <a:pt x="391493" y="170104"/>
                </a:cubicBezTo>
                <a:lnTo>
                  <a:pt x="391493" y="171715"/>
                </a:lnTo>
                <a:cubicBezTo>
                  <a:pt x="391493" y="273841"/>
                  <a:pt x="323411" y="345524"/>
                  <a:pt x="233387" y="367431"/>
                </a:cubicBezTo>
                <a:cubicBezTo>
                  <a:pt x="233387" y="367431"/>
                  <a:pt x="231128" y="379029"/>
                  <a:pt x="228385" y="393365"/>
                </a:cubicBezTo>
                <a:cubicBezTo>
                  <a:pt x="225804" y="407702"/>
                  <a:pt x="201604" y="419300"/>
                  <a:pt x="174500" y="419300"/>
                </a:cubicBezTo>
                <a:cubicBezTo>
                  <a:pt x="147396" y="419300"/>
                  <a:pt x="121744" y="394493"/>
                  <a:pt x="117065" y="364048"/>
                </a:cubicBezTo>
                <a:lnTo>
                  <a:pt x="113355" y="339241"/>
                </a:lnTo>
                <a:cubicBezTo>
                  <a:pt x="108837" y="308635"/>
                  <a:pt x="106579" y="282379"/>
                  <a:pt x="108353" y="280285"/>
                </a:cubicBezTo>
                <a:lnTo>
                  <a:pt x="111580" y="276741"/>
                </a:lnTo>
                <a:cubicBezTo>
                  <a:pt x="205799" y="268526"/>
                  <a:pt x="239033" y="218751"/>
                  <a:pt x="239033" y="183957"/>
                </a:cubicBezTo>
                <a:lnTo>
                  <a:pt x="239033" y="183152"/>
                </a:lnTo>
                <a:cubicBezTo>
                  <a:pt x="239033" y="155606"/>
                  <a:pt x="217092" y="138531"/>
                  <a:pt x="178211" y="138531"/>
                </a:cubicBezTo>
                <a:cubicBezTo>
                  <a:pt x="154656" y="138531"/>
                  <a:pt x="129649" y="145941"/>
                  <a:pt x="104965" y="159472"/>
                </a:cubicBezTo>
                <a:cubicBezTo>
                  <a:pt x="78022" y="174453"/>
                  <a:pt x="44465" y="172037"/>
                  <a:pt x="25911" y="147552"/>
                </a:cubicBezTo>
                <a:lnTo>
                  <a:pt x="12198" y="129511"/>
                </a:lnTo>
                <a:cubicBezTo>
                  <a:pt x="-6355" y="105026"/>
                  <a:pt x="-4097" y="66849"/>
                  <a:pt x="21394" y="49291"/>
                </a:cubicBezTo>
                <a:cubicBezTo>
                  <a:pt x="65115" y="19330"/>
                  <a:pt x="119808" y="0"/>
                  <a:pt x="18869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4" name="search_182427">
            <a:extLst>
              <a:ext uri="{FF2B5EF4-FFF2-40B4-BE49-F238E27FC236}">
                <a16:creationId xmlns:a16="http://schemas.microsoft.com/office/drawing/2014/main" id="{77B92A46-2B7B-6A4A-AC0E-5B2A58CBFB81}"/>
              </a:ext>
            </a:extLst>
          </p:cNvPr>
          <p:cNvSpPr>
            <a:spLocks noChangeAspect="1"/>
          </p:cNvSpPr>
          <p:nvPr/>
        </p:nvSpPr>
        <p:spPr>
          <a:xfrm>
            <a:off x="5735043" y="1904153"/>
            <a:ext cx="430554" cy="429903"/>
          </a:xfrm>
          <a:custGeom>
            <a:avLst/>
            <a:gdLst>
              <a:gd name="connsiteX0" fmla="*/ 514621 w 607639"/>
              <a:gd name="connsiteY0" fmla="*/ 446609 h 606722"/>
              <a:gd name="connsiteX1" fmla="*/ 521831 w 607639"/>
              <a:gd name="connsiteY1" fmla="*/ 449541 h 606722"/>
              <a:gd name="connsiteX2" fmla="*/ 592774 w 607639"/>
              <a:gd name="connsiteY2" fmla="*/ 520446 h 606722"/>
              <a:gd name="connsiteX3" fmla="*/ 607639 w 607639"/>
              <a:gd name="connsiteY3" fmla="*/ 556165 h 606722"/>
              <a:gd name="connsiteX4" fmla="*/ 592774 w 607639"/>
              <a:gd name="connsiteY4" fmla="*/ 591884 h 606722"/>
              <a:gd name="connsiteX5" fmla="*/ 556991 w 607639"/>
              <a:gd name="connsiteY5" fmla="*/ 606722 h 606722"/>
              <a:gd name="connsiteX6" fmla="*/ 521208 w 607639"/>
              <a:gd name="connsiteY6" fmla="*/ 591884 h 606722"/>
              <a:gd name="connsiteX7" fmla="*/ 401130 w 607639"/>
              <a:gd name="connsiteY7" fmla="*/ 472110 h 606722"/>
              <a:gd name="connsiteX8" fmla="*/ 401130 w 607639"/>
              <a:gd name="connsiteY8" fmla="*/ 457804 h 606722"/>
              <a:gd name="connsiteX9" fmla="*/ 415461 w 607639"/>
              <a:gd name="connsiteY9" fmla="*/ 457804 h 606722"/>
              <a:gd name="connsiteX10" fmla="*/ 535450 w 607639"/>
              <a:gd name="connsiteY10" fmla="*/ 577578 h 606722"/>
              <a:gd name="connsiteX11" fmla="*/ 578443 w 607639"/>
              <a:gd name="connsiteY11" fmla="*/ 577578 h 606722"/>
              <a:gd name="connsiteX12" fmla="*/ 587344 w 607639"/>
              <a:gd name="connsiteY12" fmla="*/ 556165 h 606722"/>
              <a:gd name="connsiteX13" fmla="*/ 578443 w 607639"/>
              <a:gd name="connsiteY13" fmla="*/ 534751 h 606722"/>
              <a:gd name="connsiteX14" fmla="*/ 514621 w 607639"/>
              <a:gd name="connsiteY14" fmla="*/ 471044 h 606722"/>
              <a:gd name="connsiteX15" fmla="*/ 493258 w 607639"/>
              <a:gd name="connsiteY15" fmla="*/ 492546 h 606722"/>
              <a:gd name="connsiteX16" fmla="*/ 478927 w 607639"/>
              <a:gd name="connsiteY16" fmla="*/ 492546 h 606722"/>
              <a:gd name="connsiteX17" fmla="*/ 478927 w 607639"/>
              <a:gd name="connsiteY17" fmla="*/ 478241 h 606722"/>
              <a:gd name="connsiteX18" fmla="*/ 507500 w 607639"/>
              <a:gd name="connsiteY18" fmla="*/ 449630 h 606722"/>
              <a:gd name="connsiteX19" fmla="*/ 514621 w 607639"/>
              <a:gd name="connsiteY19" fmla="*/ 446609 h 606722"/>
              <a:gd name="connsiteX20" fmla="*/ 458449 w 607639"/>
              <a:gd name="connsiteY20" fmla="*/ 400556 h 606722"/>
              <a:gd name="connsiteX21" fmla="*/ 472789 w 607639"/>
              <a:gd name="connsiteY21" fmla="*/ 400556 h 606722"/>
              <a:gd name="connsiteX22" fmla="*/ 494254 w 607639"/>
              <a:gd name="connsiteY22" fmla="*/ 422045 h 606722"/>
              <a:gd name="connsiteX23" fmla="*/ 494254 w 607639"/>
              <a:gd name="connsiteY23" fmla="*/ 436341 h 606722"/>
              <a:gd name="connsiteX24" fmla="*/ 487129 w 607639"/>
              <a:gd name="connsiteY24" fmla="*/ 439271 h 606722"/>
              <a:gd name="connsiteX25" fmla="*/ 479914 w 607639"/>
              <a:gd name="connsiteY25" fmla="*/ 436341 h 606722"/>
              <a:gd name="connsiteX26" fmla="*/ 458449 w 607639"/>
              <a:gd name="connsiteY26" fmla="*/ 414852 h 606722"/>
              <a:gd name="connsiteX27" fmla="*/ 458449 w 607639"/>
              <a:gd name="connsiteY27" fmla="*/ 400556 h 606722"/>
              <a:gd name="connsiteX28" fmla="*/ 273421 w 607639"/>
              <a:gd name="connsiteY28" fmla="*/ 323613 h 606722"/>
              <a:gd name="connsiteX29" fmla="*/ 313896 w 607639"/>
              <a:gd name="connsiteY29" fmla="*/ 323613 h 606722"/>
              <a:gd name="connsiteX30" fmla="*/ 324037 w 607639"/>
              <a:gd name="connsiteY30" fmla="*/ 333739 h 606722"/>
              <a:gd name="connsiteX31" fmla="*/ 313896 w 607639"/>
              <a:gd name="connsiteY31" fmla="*/ 343865 h 606722"/>
              <a:gd name="connsiteX32" fmla="*/ 273421 w 607639"/>
              <a:gd name="connsiteY32" fmla="*/ 343865 h 606722"/>
              <a:gd name="connsiteX33" fmla="*/ 263280 w 607639"/>
              <a:gd name="connsiteY33" fmla="*/ 333739 h 606722"/>
              <a:gd name="connsiteX34" fmla="*/ 273421 w 607639"/>
              <a:gd name="connsiteY34" fmla="*/ 323613 h 606722"/>
              <a:gd name="connsiteX35" fmla="*/ 151917 w 607639"/>
              <a:gd name="connsiteY35" fmla="*/ 323613 h 606722"/>
              <a:gd name="connsiteX36" fmla="*/ 232947 w 607639"/>
              <a:gd name="connsiteY36" fmla="*/ 323613 h 606722"/>
              <a:gd name="connsiteX37" fmla="*/ 243098 w 607639"/>
              <a:gd name="connsiteY37" fmla="*/ 333739 h 606722"/>
              <a:gd name="connsiteX38" fmla="*/ 232947 w 607639"/>
              <a:gd name="connsiteY38" fmla="*/ 343865 h 606722"/>
              <a:gd name="connsiteX39" fmla="*/ 151917 w 607639"/>
              <a:gd name="connsiteY39" fmla="*/ 343865 h 606722"/>
              <a:gd name="connsiteX40" fmla="*/ 141766 w 607639"/>
              <a:gd name="connsiteY40" fmla="*/ 333739 h 606722"/>
              <a:gd name="connsiteX41" fmla="*/ 151917 w 607639"/>
              <a:gd name="connsiteY41" fmla="*/ 323613 h 606722"/>
              <a:gd name="connsiteX42" fmla="*/ 232920 w 607639"/>
              <a:gd name="connsiteY42" fmla="*/ 262856 h 606722"/>
              <a:gd name="connsiteX43" fmla="*/ 354396 w 607639"/>
              <a:gd name="connsiteY43" fmla="*/ 262856 h 606722"/>
              <a:gd name="connsiteX44" fmla="*/ 364541 w 607639"/>
              <a:gd name="connsiteY44" fmla="*/ 273017 h 606722"/>
              <a:gd name="connsiteX45" fmla="*/ 354396 w 607639"/>
              <a:gd name="connsiteY45" fmla="*/ 283179 h 606722"/>
              <a:gd name="connsiteX46" fmla="*/ 232920 w 607639"/>
              <a:gd name="connsiteY46" fmla="*/ 283179 h 606722"/>
              <a:gd name="connsiteX47" fmla="*/ 222775 w 607639"/>
              <a:gd name="connsiteY47" fmla="*/ 273017 h 606722"/>
              <a:gd name="connsiteX48" fmla="*/ 232920 w 607639"/>
              <a:gd name="connsiteY48" fmla="*/ 262856 h 606722"/>
              <a:gd name="connsiteX49" fmla="*/ 131660 w 607639"/>
              <a:gd name="connsiteY49" fmla="*/ 262856 h 606722"/>
              <a:gd name="connsiteX50" fmla="*/ 192448 w 607639"/>
              <a:gd name="connsiteY50" fmla="*/ 262856 h 606722"/>
              <a:gd name="connsiteX51" fmla="*/ 202594 w 607639"/>
              <a:gd name="connsiteY51" fmla="*/ 273017 h 606722"/>
              <a:gd name="connsiteX52" fmla="*/ 192448 w 607639"/>
              <a:gd name="connsiteY52" fmla="*/ 283179 h 606722"/>
              <a:gd name="connsiteX53" fmla="*/ 131660 w 607639"/>
              <a:gd name="connsiteY53" fmla="*/ 283179 h 606722"/>
              <a:gd name="connsiteX54" fmla="*/ 121514 w 607639"/>
              <a:gd name="connsiteY54" fmla="*/ 273017 h 606722"/>
              <a:gd name="connsiteX55" fmla="*/ 131660 w 607639"/>
              <a:gd name="connsiteY55" fmla="*/ 262856 h 606722"/>
              <a:gd name="connsiteX56" fmla="*/ 313925 w 607639"/>
              <a:gd name="connsiteY56" fmla="*/ 202241 h 606722"/>
              <a:gd name="connsiteX57" fmla="*/ 354400 w 607639"/>
              <a:gd name="connsiteY57" fmla="*/ 202241 h 606722"/>
              <a:gd name="connsiteX58" fmla="*/ 364541 w 607639"/>
              <a:gd name="connsiteY58" fmla="*/ 212288 h 606722"/>
              <a:gd name="connsiteX59" fmla="*/ 354400 w 607639"/>
              <a:gd name="connsiteY59" fmla="*/ 222423 h 606722"/>
              <a:gd name="connsiteX60" fmla="*/ 313925 w 607639"/>
              <a:gd name="connsiteY60" fmla="*/ 222423 h 606722"/>
              <a:gd name="connsiteX61" fmla="*/ 303784 w 607639"/>
              <a:gd name="connsiteY61" fmla="*/ 212288 h 606722"/>
              <a:gd name="connsiteX62" fmla="*/ 313925 w 607639"/>
              <a:gd name="connsiteY62" fmla="*/ 202241 h 606722"/>
              <a:gd name="connsiteX63" fmla="*/ 131657 w 607639"/>
              <a:gd name="connsiteY63" fmla="*/ 202241 h 606722"/>
              <a:gd name="connsiteX64" fmla="*/ 273389 w 607639"/>
              <a:gd name="connsiteY64" fmla="*/ 202241 h 606722"/>
              <a:gd name="connsiteX65" fmla="*/ 283532 w 607639"/>
              <a:gd name="connsiteY65" fmla="*/ 212288 h 606722"/>
              <a:gd name="connsiteX66" fmla="*/ 273389 w 607639"/>
              <a:gd name="connsiteY66" fmla="*/ 222423 h 606722"/>
              <a:gd name="connsiteX67" fmla="*/ 131657 w 607639"/>
              <a:gd name="connsiteY67" fmla="*/ 222423 h 606722"/>
              <a:gd name="connsiteX68" fmla="*/ 121514 w 607639"/>
              <a:gd name="connsiteY68" fmla="*/ 212288 h 606722"/>
              <a:gd name="connsiteX69" fmla="*/ 131657 w 607639"/>
              <a:gd name="connsiteY69" fmla="*/ 202241 h 606722"/>
              <a:gd name="connsiteX70" fmla="*/ 172163 w 607639"/>
              <a:gd name="connsiteY70" fmla="*/ 141554 h 606722"/>
              <a:gd name="connsiteX71" fmla="*/ 293728 w 607639"/>
              <a:gd name="connsiteY71" fmla="*/ 141554 h 606722"/>
              <a:gd name="connsiteX72" fmla="*/ 303784 w 607639"/>
              <a:gd name="connsiteY72" fmla="*/ 151680 h 606722"/>
              <a:gd name="connsiteX73" fmla="*/ 293728 w 607639"/>
              <a:gd name="connsiteY73" fmla="*/ 161806 h 606722"/>
              <a:gd name="connsiteX74" fmla="*/ 172163 w 607639"/>
              <a:gd name="connsiteY74" fmla="*/ 161806 h 606722"/>
              <a:gd name="connsiteX75" fmla="*/ 162018 w 607639"/>
              <a:gd name="connsiteY75" fmla="*/ 151680 h 606722"/>
              <a:gd name="connsiteX76" fmla="*/ 172163 w 607639"/>
              <a:gd name="connsiteY76" fmla="*/ 141554 h 606722"/>
              <a:gd name="connsiteX77" fmla="*/ 243072 w 607639"/>
              <a:gd name="connsiteY77" fmla="*/ 60698 h 606722"/>
              <a:gd name="connsiteX78" fmla="*/ 60797 w 607639"/>
              <a:gd name="connsiteY78" fmla="*/ 242719 h 606722"/>
              <a:gd name="connsiteX79" fmla="*/ 243072 w 607639"/>
              <a:gd name="connsiteY79" fmla="*/ 424740 h 606722"/>
              <a:gd name="connsiteX80" fmla="*/ 425348 w 607639"/>
              <a:gd name="connsiteY80" fmla="*/ 242719 h 606722"/>
              <a:gd name="connsiteX81" fmla="*/ 243072 w 607639"/>
              <a:gd name="connsiteY81" fmla="*/ 60698 h 606722"/>
              <a:gd name="connsiteX82" fmla="*/ 243072 w 607639"/>
              <a:gd name="connsiteY82" fmla="*/ 40434 h 606722"/>
              <a:gd name="connsiteX83" fmla="*/ 445551 w 607639"/>
              <a:gd name="connsiteY83" fmla="*/ 242719 h 606722"/>
              <a:gd name="connsiteX84" fmla="*/ 243072 w 607639"/>
              <a:gd name="connsiteY84" fmla="*/ 444915 h 606722"/>
              <a:gd name="connsiteX85" fmla="*/ 40505 w 607639"/>
              <a:gd name="connsiteY85" fmla="*/ 242719 h 606722"/>
              <a:gd name="connsiteX86" fmla="*/ 243072 w 607639"/>
              <a:gd name="connsiteY86" fmla="*/ 40434 h 606722"/>
              <a:gd name="connsiteX87" fmla="*/ 243072 w 607639"/>
              <a:gd name="connsiteY87" fmla="*/ 20264 h 606722"/>
              <a:gd name="connsiteX88" fmla="*/ 20293 w 607639"/>
              <a:gd name="connsiteY88" fmla="*/ 242719 h 606722"/>
              <a:gd name="connsiteX89" fmla="*/ 243072 w 607639"/>
              <a:gd name="connsiteY89" fmla="*/ 465174 h 606722"/>
              <a:gd name="connsiteX90" fmla="*/ 465851 w 607639"/>
              <a:gd name="connsiteY90" fmla="*/ 242719 h 606722"/>
              <a:gd name="connsiteX91" fmla="*/ 243072 w 607639"/>
              <a:gd name="connsiteY91" fmla="*/ 20264 h 606722"/>
              <a:gd name="connsiteX92" fmla="*/ 243072 w 607639"/>
              <a:gd name="connsiteY92" fmla="*/ 0 h 606722"/>
              <a:gd name="connsiteX93" fmla="*/ 486055 w 607639"/>
              <a:gd name="connsiteY93" fmla="*/ 242719 h 606722"/>
              <a:gd name="connsiteX94" fmla="*/ 243072 w 607639"/>
              <a:gd name="connsiteY94" fmla="*/ 485349 h 606722"/>
              <a:gd name="connsiteX95" fmla="*/ 0 w 607639"/>
              <a:gd name="connsiteY95" fmla="*/ 242719 h 606722"/>
              <a:gd name="connsiteX96" fmla="*/ 243072 w 607639"/>
              <a:gd name="connsiteY96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607639" h="606722">
                <a:moveTo>
                  <a:pt x="514621" y="446609"/>
                </a:moveTo>
                <a:cubicBezTo>
                  <a:pt x="517291" y="446609"/>
                  <a:pt x="519873" y="447675"/>
                  <a:pt x="521831" y="449541"/>
                </a:cubicBezTo>
                <a:lnTo>
                  <a:pt x="592774" y="520446"/>
                </a:lnTo>
                <a:cubicBezTo>
                  <a:pt x="602298" y="529953"/>
                  <a:pt x="607639" y="542659"/>
                  <a:pt x="607639" y="556165"/>
                </a:cubicBezTo>
                <a:cubicBezTo>
                  <a:pt x="607639" y="569670"/>
                  <a:pt x="602298" y="582376"/>
                  <a:pt x="592774" y="591884"/>
                </a:cubicBezTo>
                <a:cubicBezTo>
                  <a:pt x="582894" y="601746"/>
                  <a:pt x="569898" y="606722"/>
                  <a:pt x="556991" y="606722"/>
                </a:cubicBezTo>
                <a:cubicBezTo>
                  <a:pt x="543995" y="606722"/>
                  <a:pt x="530999" y="601746"/>
                  <a:pt x="521208" y="591884"/>
                </a:cubicBezTo>
                <a:lnTo>
                  <a:pt x="401130" y="472110"/>
                </a:lnTo>
                <a:cubicBezTo>
                  <a:pt x="397213" y="468200"/>
                  <a:pt x="397213" y="461803"/>
                  <a:pt x="401130" y="457804"/>
                </a:cubicBezTo>
                <a:cubicBezTo>
                  <a:pt x="405135" y="453895"/>
                  <a:pt x="411544" y="453895"/>
                  <a:pt x="415461" y="457804"/>
                </a:cubicBezTo>
                <a:lnTo>
                  <a:pt x="535450" y="577578"/>
                </a:lnTo>
                <a:cubicBezTo>
                  <a:pt x="547378" y="589396"/>
                  <a:pt x="566604" y="589396"/>
                  <a:pt x="578443" y="577578"/>
                </a:cubicBezTo>
                <a:cubicBezTo>
                  <a:pt x="584140" y="571892"/>
                  <a:pt x="587344" y="564250"/>
                  <a:pt x="587344" y="556165"/>
                </a:cubicBezTo>
                <a:cubicBezTo>
                  <a:pt x="587344" y="548079"/>
                  <a:pt x="584140" y="540438"/>
                  <a:pt x="578443" y="534751"/>
                </a:cubicBezTo>
                <a:lnTo>
                  <a:pt x="514621" y="471044"/>
                </a:lnTo>
                <a:lnTo>
                  <a:pt x="493258" y="492546"/>
                </a:lnTo>
                <a:cubicBezTo>
                  <a:pt x="489341" y="496455"/>
                  <a:pt x="482932" y="496544"/>
                  <a:pt x="478927" y="492546"/>
                </a:cubicBezTo>
                <a:cubicBezTo>
                  <a:pt x="475010" y="488636"/>
                  <a:pt x="474921" y="482239"/>
                  <a:pt x="478927" y="478241"/>
                </a:cubicBezTo>
                <a:lnTo>
                  <a:pt x="507500" y="449630"/>
                </a:lnTo>
                <a:cubicBezTo>
                  <a:pt x="509369" y="447675"/>
                  <a:pt x="511951" y="446609"/>
                  <a:pt x="514621" y="446609"/>
                </a:cubicBezTo>
                <a:close/>
                <a:moveTo>
                  <a:pt x="458449" y="400556"/>
                </a:moveTo>
                <a:cubicBezTo>
                  <a:pt x="462368" y="396649"/>
                  <a:pt x="468781" y="396649"/>
                  <a:pt x="472789" y="400556"/>
                </a:cubicBezTo>
                <a:lnTo>
                  <a:pt x="494254" y="422045"/>
                </a:lnTo>
                <a:cubicBezTo>
                  <a:pt x="498262" y="425952"/>
                  <a:pt x="498262" y="432345"/>
                  <a:pt x="494254" y="436341"/>
                </a:cubicBezTo>
                <a:cubicBezTo>
                  <a:pt x="492295" y="438294"/>
                  <a:pt x="489712" y="439271"/>
                  <a:pt x="487129" y="439271"/>
                </a:cubicBezTo>
                <a:cubicBezTo>
                  <a:pt x="484546" y="439271"/>
                  <a:pt x="481874" y="438294"/>
                  <a:pt x="479914" y="436341"/>
                </a:cubicBezTo>
                <a:lnTo>
                  <a:pt x="458449" y="414852"/>
                </a:lnTo>
                <a:cubicBezTo>
                  <a:pt x="454441" y="410945"/>
                  <a:pt x="454441" y="404552"/>
                  <a:pt x="458449" y="400556"/>
                </a:cubicBezTo>
                <a:close/>
                <a:moveTo>
                  <a:pt x="273421" y="323613"/>
                </a:moveTo>
                <a:lnTo>
                  <a:pt x="313896" y="323613"/>
                </a:lnTo>
                <a:cubicBezTo>
                  <a:pt x="319500" y="323613"/>
                  <a:pt x="324037" y="328143"/>
                  <a:pt x="324037" y="333739"/>
                </a:cubicBezTo>
                <a:cubicBezTo>
                  <a:pt x="324037" y="339335"/>
                  <a:pt x="319500" y="343865"/>
                  <a:pt x="313896" y="343865"/>
                </a:cubicBezTo>
                <a:lnTo>
                  <a:pt x="273421" y="343865"/>
                </a:lnTo>
                <a:cubicBezTo>
                  <a:pt x="267817" y="343865"/>
                  <a:pt x="263280" y="339335"/>
                  <a:pt x="263280" y="333739"/>
                </a:cubicBezTo>
                <a:cubicBezTo>
                  <a:pt x="263280" y="328143"/>
                  <a:pt x="267817" y="323613"/>
                  <a:pt x="273421" y="323613"/>
                </a:cubicBezTo>
                <a:close/>
                <a:moveTo>
                  <a:pt x="151917" y="323613"/>
                </a:moveTo>
                <a:lnTo>
                  <a:pt x="232947" y="323613"/>
                </a:lnTo>
                <a:cubicBezTo>
                  <a:pt x="238557" y="323613"/>
                  <a:pt x="243098" y="328143"/>
                  <a:pt x="243098" y="333739"/>
                </a:cubicBezTo>
                <a:cubicBezTo>
                  <a:pt x="243098" y="339335"/>
                  <a:pt x="238557" y="343865"/>
                  <a:pt x="232947" y="343865"/>
                </a:cubicBezTo>
                <a:lnTo>
                  <a:pt x="151917" y="343865"/>
                </a:lnTo>
                <a:cubicBezTo>
                  <a:pt x="146307" y="343865"/>
                  <a:pt x="141766" y="339335"/>
                  <a:pt x="141766" y="333739"/>
                </a:cubicBezTo>
                <a:cubicBezTo>
                  <a:pt x="141766" y="328143"/>
                  <a:pt x="146307" y="323613"/>
                  <a:pt x="151917" y="323613"/>
                </a:cubicBezTo>
                <a:close/>
                <a:moveTo>
                  <a:pt x="232920" y="262856"/>
                </a:moveTo>
                <a:lnTo>
                  <a:pt x="354396" y="262856"/>
                </a:lnTo>
                <a:cubicBezTo>
                  <a:pt x="360003" y="262856"/>
                  <a:pt x="364541" y="267402"/>
                  <a:pt x="364541" y="273017"/>
                </a:cubicBezTo>
                <a:cubicBezTo>
                  <a:pt x="364541" y="278633"/>
                  <a:pt x="360003" y="283179"/>
                  <a:pt x="354396" y="283179"/>
                </a:cubicBezTo>
                <a:lnTo>
                  <a:pt x="232920" y="283179"/>
                </a:lnTo>
                <a:cubicBezTo>
                  <a:pt x="227313" y="283179"/>
                  <a:pt x="222775" y="278633"/>
                  <a:pt x="222775" y="273017"/>
                </a:cubicBezTo>
                <a:cubicBezTo>
                  <a:pt x="222775" y="267402"/>
                  <a:pt x="227313" y="262856"/>
                  <a:pt x="232920" y="262856"/>
                </a:cubicBezTo>
                <a:close/>
                <a:moveTo>
                  <a:pt x="131660" y="262856"/>
                </a:moveTo>
                <a:lnTo>
                  <a:pt x="192448" y="262856"/>
                </a:lnTo>
                <a:cubicBezTo>
                  <a:pt x="198055" y="262856"/>
                  <a:pt x="202594" y="267402"/>
                  <a:pt x="202594" y="273017"/>
                </a:cubicBezTo>
                <a:cubicBezTo>
                  <a:pt x="202594" y="278633"/>
                  <a:pt x="198055" y="283179"/>
                  <a:pt x="192448" y="283179"/>
                </a:cubicBezTo>
                <a:lnTo>
                  <a:pt x="131660" y="283179"/>
                </a:lnTo>
                <a:cubicBezTo>
                  <a:pt x="126053" y="283179"/>
                  <a:pt x="121514" y="278633"/>
                  <a:pt x="121514" y="273017"/>
                </a:cubicBezTo>
                <a:cubicBezTo>
                  <a:pt x="121514" y="267402"/>
                  <a:pt x="126053" y="262856"/>
                  <a:pt x="131660" y="262856"/>
                </a:cubicBezTo>
                <a:close/>
                <a:moveTo>
                  <a:pt x="313925" y="202241"/>
                </a:moveTo>
                <a:lnTo>
                  <a:pt x="354400" y="202241"/>
                </a:lnTo>
                <a:cubicBezTo>
                  <a:pt x="360004" y="202241"/>
                  <a:pt x="364541" y="206775"/>
                  <a:pt x="364541" y="212288"/>
                </a:cubicBezTo>
                <a:cubicBezTo>
                  <a:pt x="364541" y="217889"/>
                  <a:pt x="360004" y="222423"/>
                  <a:pt x="354400" y="222423"/>
                </a:cubicBezTo>
                <a:lnTo>
                  <a:pt x="313925" y="222423"/>
                </a:lnTo>
                <a:cubicBezTo>
                  <a:pt x="308321" y="222423"/>
                  <a:pt x="303784" y="217889"/>
                  <a:pt x="303784" y="212288"/>
                </a:cubicBezTo>
                <a:cubicBezTo>
                  <a:pt x="303784" y="206775"/>
                  <a:pt x="308321" y="202241"/>
                  <a:pt x="313925" y="202241"/>
                </a:cubicBezTo>
                <a:close/>
                <a:moveTo>
                  <a:pt x="131657" y="202241"/>
                </a:moveTo>
                <a:lnTo>
                  <a:pt x="273389" y="202241"/>
                </a:lnTo>
                <a:cubicBezTo>
                  <a:pt x="278994" y="202241"/>
                  <a:pt x="283532" y="206775"/>
                  <a:pt x="283532" y="212288"/>
                </a:cubicBezTo>
                <a:cubicBezTo>
                  <a:pt x="283532" y="217889"/>
                  <a:pt x="278994" y="222423"/>
                  <a:pt x="273389" y="222423"/>
                </a:cubicBezTo>
                <a:lnTo>
                  <a:pt x="131657" y="222423"/>
                </a:lnTo>
                <a:cubicBezTo>
                  <a:pt x="126051" y="222423"/>
                  <a:pt x="121514" y="217889"/>
                  <a:pt x="121514" y="212288"/>
                </a:cubicBezTo>
                <a:cubicBezTo>
                  <a:pt x="121514" y="206775"/>
                  <a:pt x="126051" y="202241"/>
                  <a:pt x="131657" y="202241"/>
                </a:cubicBezTo>
                <a:close/>
                <a:moveTo>
                  <a:pt x="172163" y="141554"/>
                </a:moveTo>
                <a:lnTo>
                  <a:pt x="293728" y="141554"/>
                </a:lnTo>
                <a:cubicBezTo>
                  <a:pt x="299245" y="141554"/>
                  <a:pt x="303784" y="146084"/>
                  <a:pt x="303784" y="151680"/>
                </a:cubicBezTo>
                <a:cubicBezTo>
                  <a:pt x="303784" y="157276"/>
                  <a:pt x="299245" y="161806"/>
                  <a:pt x="293728" y="161806"/>
                </a:cubicBezTo>
                <a:lnTo>
                  <a:pt x="172163" y="161806"/>
                </a:lnTo>
                <a:cubicBezTo>
                  <a:pt x="166556" y="161806"/>
                  <a:pt x="162018" y="157276"/>
                  <a:pt x="162018" y="151680"/>
                </a:cubicBezTo>
                <a:cubicBezTo>
                  <a:pt x="162018" y="146084"/>
                  <a:pt x="166556" y="141554"/>
                  <a:pt x="172163" y="141554"/>
                </a:cubicBezTo>
                <a:close/>
                <a:moveTo>
                  <a:pt x="243072" y="60698"/>
                </a:moveTo>
                <a:cubicBezTo>
                  <a:pt x="142501" y="60698"/>
                  <a:pt x="60797" y="142376"/>
                  <a:pt x="60797" y="242719"/>
                </a:cubicBezTo>
                <a:cubicBezTo>
                  <a:pt x="60797" y="343061"/>
                  <a:pt x="142501" y="424740"/>
                  <a:pt x="243072" y="424740"/>
                </a:cubicBezTo>
                <a:cubicBezTo>
                  <a:pt x="343555" y="424740"/>
                  <a:pt x="425348" y="343061"/>
                  <a:pt x="425348" y="242719"/>
                </a:cubicBezTo>
                <a:cubicBezTo>
                  <a:pt x="425348" y="142376"/>
                  <a:pt x="343555" y="60698"/>
                  <a:pt x="243072" y="60698"/>
                </a:cubicBezTo>
                <a:close/>
                <a:moveTo>
                  <a:pt x="243072" y="40434"/>
                </a:moveTo>
                <a:cubicBezTo>
                  <a:pt x="354681" y="40434"/>
                  <a:pt x="445551" y="131178"/>
                  <a:pt x="445551" y="242719"/>
                </a:cubicBezTo>
                <a:cubicBezTo>
                  <a:pt x="445551" y="354260"/>
                  <a:pt x="354681" y="444915"/>
                  <a:pt x="243072" y="444915"/>
                </a:cubicBezTo>
                <a:cubicBezTo>
                  <a:pt x="131375" y="444915"/>
                  <a:pt x="40505" y="354260"/>
                  <a:pt x="40505" y="242719"/>
                </a:cubicBezTo>
                <a:cubicBezTo>
                  <a:pt x="40505" y="131178"/>
                  <a:pt x="131375" y="40434"/>
                  <a:pt x="243072" y="40434"/>
                </a:cubicBezTo>
                <a:close/>
                <a:moveTo>
                  <a:pt x="243072" y="20264"/>
                </a:moveTo>
                <a:cubicBezTo>
                  <a:pt x="120156" y="20264"/>
                  <a:pt x="20293" y="120071"/>
                  <a:pt x="20293" y="242719"/>
                </a:cubicBezTo>
                <a:cubicBezTo>
                  <a:pt x="20293" y="365367"/>
                  <a:pt x="120156" y="465174"/>
                  <a:pt x="243072" y="465174"/>
                </a:cubicBezTo>
                <a:cubicBezTo>
                  <a:pt x="365899" y="465174"/>
                  <a:pt x="465851" y="365367"/>
                  <a:pt x="465851" y="242719"/>
                </a:cubicBezTo>
                <a:cubicBezTo>
                  <a:pt x="465851" y="120071"/>
                  <a:pt x="365899" y="20264"/>
                  <a:pt x="243072" y="20264"/>
                </a:cubicBezTo>
                <a:close/>
                <a:moveTo>
                  <a:pt x="243072" y="0"/>
                </a:moveTo>
                <a:cubicBezTo>
                  <a:pt x="377024" y="0"/>
                  <a:pt x="486055" y="108872"/>
                  <a:pt x="486055" y="242719"/>
                </a:cubicBezTo>
                <a:cubicBezTo>
                  <a:pt x="486055" y="376477"/>
                  <a:pt x="377024" y="485349"/>
                  <a:pt x="243072" y="485349"/>
                </a:cubicBezTo>
                <a:cubicBezTo>
                  <a:pt x="109031" y="485349"/>
                  <a:pt x="0" y="376477"/>
                  <a:pt x="0" y="242719"/>
                </a:cubicBezTo>
                <a:cubicBezTo>
                  <a:pt x="0" y="108872"/>
                  <a:pt x="109031" y="0"/>
                  <a:pt x="24307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页脚占位符 2">
            <a:extLst>
              <a:ext uri="{FF2B5EF4-FFF2-40B4-BE49-F238E27FC236}">
                <a16:creationId xmlns:a16="http://schemas.microsoft.com/office/drawing/2014/main" id="{6E70ACC8-2836-814C-8154-D9330B717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641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6323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  <p:bldP spid="39" grpId="0"/>
      <p:bldP spid="40" grpId="0"/>
      <p:bldP spid="4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2:</a:t>
            </a:r>
            <a:r>
              <a:rPr kumimoji="1" lang="zh-CN" altLang="en-US" dirty="0"/>
              <a:t> </a:t>
            </a:r>
            <a:r>
              <a:rPr lang="en-US" altLang="zh-CN" dirty="0"/>
              <a:t>Es</a:t>
            </a:r>
            <a:r>
              <a:rPr lang="zh-CN" altLang="en-US" dirty="0"/>
              <a:t>存储优化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012F819-76E7-CC48-A7F2-B24970DE337D}"/>
              </a:ext>
            </a:extLst>
          </p:cNvPr>
          <p:cNvGrpSpPr>
            <a:grpSpLocks noChangeAspect="1"/>
          </p:cNvGrpSpPr>
          <p:nvPr/>
        </p:nvGrpSpPr>
        <p:grpSpPr>
          <a:xfrm>
            <a:off x="2557762" y="2742120"/>
            <a:ext cx="4012124" cy="209897"/>
            <a:chOff x="4164247" y="3100881"/>
            <a:chExt cx="4012124" cy="209897"/>
          </a:xfrm>
        </p:grpSpPr>
        <p:sp>
          <p:nvSpPr>
            <p:cNvPr id="28" name="任意多边形 26">
              <a:extLst>
                <a:ext uri="{FF2B5EF4-FFF2-40B4-BE49-F238E27FC236}">
                  <a16:creationId xmlns:a16="http://schemas.microsoft.com/office/drawing/2014/main" id="{892908FC-8FED-E746-BFC1-37A98457DE52}"/>
                </a:ext>
              </a:extLst>
            </p:cNvPr>
            <p:cNvSpPr/>
            <p:nvPr/>
          </p:nvSpPr>
          <p:spPr bwMode="auto">
            <a:xfrm>
              <a:off x="7970810" y="3121819"/>
              <a:ext cx="205561" cy="163687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23" name="任意多边形 33">
              <a:extLst>
                <a:ext uri="{FF2B5EF4-FFF2-40B4-BE49-F238E27FC236}">
                  <a16:creationId xmlns:a16="http://schemas.microsoft.com/office/drawing/2014/main" id="{376FE531-6F54-4C48-A1AC-FD04874A552C}"/>
                </a:ext>
              </a:extLst>
            </p:cNvPr>
            <p:cNvSpPr/>
            <p:nvPr/>
          </p:nvSpPr>
          <p:spPr bwMode="auto">
            <a:xfrm>
              <a:off x="7695931" y="3100881"/>
              <a:ext cx="168853" cy="205561"/>
            </a:xfrm>
            <a:custGeom>
              <a:avLst/>
              <a:gdLst>
                <a:gd name="connsiteX0" fmla="*/ 283816 w 438150"/>
                <a:gd name="connsiteY0" fmla="*/ 621 h 533400"/>
                <a:gd name="connsiteX1" fmla="*/ 286102 w 438150"/>
                <a:gd name="connsiteY1" fmla="*/ 716 h 533400"/>
                <a:gd name="connsiteX2" fmla="*/ 286102 w 438150"/>
                <a:gd name="connsiteY2" fmla="*/ 124446 h 533400"/>
                <a:gd name="connsiteX3" fmla="*/ 286197 w 438150"/>
                <a:gd name="connsiteY3" fmla="*/ 126160 h 533400"/>
                <a:gd name="connsiteX4" fmla="*/ 314677 w 438150"/>
                <a:gd name="connsiteY4" fmla="*/ 153021 h 533400"/>
                <a:gd name="connsiteX5" fmla="*/ 314677 w 438150"/>
                <a:gd name="connsiteY5" fmla="*/ 153021 h 533400"/>
                <a:gd name="connsiteX6" fmla="*/ 438407 w 438150"/>
                <a:gd name="connsiteY6" fmla="*/ 153021 h 533400"/>
                <a:gd name="connsiteX7" fmla="*/ 438502 w 438150"/>
                <a:gd name="connsiteY7" fmla="*/ 155307 h 533400"/>
                <a:gd name="connsiteX8" fmla="*/ 438502 w 438150"/>
                <a:gd name="connsiteY8" fmla="*/ 505446 h 533400"/>
                <a:gd name="connsiteX9" fmla="*/ 409927 w 438150"/>
                <a:gd name="connsiteY9" fmla="*/ 534021 h 533400"/>
                <a:gd name="connsiteX10" fmla="*/ 28927 w 438150"/>
                <a:gd name="connsiteY10" fmla="*/ 534021 h 533400"/>
                <a:gd name="connsiteX11" fmla="*/ 352 w 438150"/>
                <a:gd name="connsiteY11" fmla="*/ 505446 h 533400"/>
                <a:gd name="connsiteX12" fmla="*/ 352 w 438150"/>
                <a:gd name="connsiteY12" fmla="*/ 29196 h 533400"/>
                <a:gd name="connsiteX13" fmla="*/ 28927 w 438150"/>
                <a:gd name="connsiteY13" fmla="*/ 621 h 533400"/>
                <a:gd name="connsiteX14" fmla="*/ 283816 w 438150"/>
                <a:gd name="connsiteY14" fmla="*/ 621 h 533400"/>
                <a:gd name="connsiteX15" fmla="*/ 248002 w 438150"/>
                <a:gd name="connsiteY15" fmla="*/ 200646 h 533400"/>
                <a:gd name="connsiteX16" fmla="*/ 152752 w 438150"/>
                <a:gd name="connsiteY16" fmla="*/ 200646 h 533400"/>
                <a:gd name="connsiteX17" fmla="*/ 152752 w 438150"/>
                <a:gd name="connsiteY17" fmla="*/ 410196 h 533400"/>
                <a:gd name="connsiteX18" fmla="*/ 171802 w 438150"/>
                <a:gd name="connsiteY18" fmla="*/ 410196 h 533400"/>
                <a:gd name="connsiteX19" fmla="*/ 171802 w 438150"/>
                <a:gd name="connsiteY19" fmla="*/ 314946 h 533400"/>
                <a:gd name="connsiteX20" fmla="*/ 248002 w 438150"/>
                <a:gd name="connsiteY20" fmla="*/ 314946 h 533400"/>
                <a:gd name="connsiteX21" fmla="*/ 250098 w 438150"/>
                <a:gd name="connsiteY21" fmla="*/ 314946 h 533400"/>
                <a:gd name="connsiteX22" fmla="*/ 305152 w 438150"/>
                <a:gd name="connsiteY22" fmla="*/ 257796 h 533400"/>
                <a:gd name="connsiteX23" fmla="*/ 248002 w 438150"/>
                <a:gd name="connsiteY23" fmla="*/ 200646 h 533400"/>
                <a:gd name="connsiteX24" fmla="*/ 248002 w 438150"/>
                <a:gd name="connsiteY24" fmla="*/ 200646 h 533400"/>
                <a:gd name="connsiteX25" fmla="*/ 248002 w 438150"/>
                <a:gd name="connsiteY25" fmla="*/ 219696 h 533400"/>
                <a:gd name="connsiteX26" fmla="*/ 286102 w 438150"/>
                <a:gd name="connsiteY26" fmla="*/ 257796 h 533400"/>
                <a:gd name="connsiteX27" fmla="*/ 248002 w 438150"/>
                <a:gd name="connsiteY27" fmla="*/ 295896 h 533400"/>
                <a:gd name="connsiteX28" fmla="*/ 248002 w 438150"/>
                <a:gd name="connsiteY28" fmla="*/ 295896 h 533400"/>
                <a:gd name="connsiteX29" fmla="*/ 171802 w 438150"/>
                <a:gd name="connsiteY29" fmla="*/ 295896 h 533400"/>
                <a:gd name="connsiteX30" fmla="*/ 171802 w 438150"/>
                <a:gd name="connsiteY30" fmla="*/ 219696 h 533400"/>
                <a:gd name="connsiteX31" fmla="*/ 248002 w 438150"/>
                <a:gd name="connsiteY31" fmla="*/ 219696 h 533400"/>
                <a:gd name="connsiteX32" fmla="*/ 428977 w 438150"/>
                <a:gd name="connsiteY32" fmla="*/ 133971 h 533400"/>
                <a:gd name="connsiteX33" fmla="*/ 314677 w 438150"/>
                <a:gd name="connsiteY33" fmla="*/ 133971 h 533400"/>
                <a:gd name="connsiteX34" fmla="*/ 313534 w 438150"/>
                <a:gd name="connsiteY34" fmla="*/ 133876 h 533400"/>
                <a:gd name="connsiteX35" fmla="*/ 305152 w 438150"/>
                <a:gd name="connsiteY35" fmla="*/ 124446 h 533400"/>
                <a:gd name="connsiteX36" fmla="*/ 305152 w 438150"/>
                <a:gd name="connsiteY36" fmla="*/ 124446 h 533400"/>
                <a:gd name="connsiteX37" fmla="*/ 305152 w 438150"/>
                <a:gd name="connsiteY37" fmla="*/ 10146 h 533400"/>
                <a:gd name="connsiteX38" fmla="*/ 428977 w 438150"/>
                <a:gd name="connsiteY38" fmla="*/ 133971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816" y="621"/>
                  </a:moveTo>
                  <a:cubicBezTo>
                    <a:pt x="284578" y="621"/>
                    <a:pt x="285340" y="621"/>
                    <a:pt x="286102" y="716"/>
                  </a:cubicBezTo>
                  <a:lnTo>
                    <a:pt x="286102" y="124446"/>
                  </a:lnTo>
                  <a:lnTo>
                    <a:pt x="286197" y="126160"/>
                  </a:lnTo>
                  <a:cubicBezTo>
                    <a:pt x="287055" y="141115"/>
                    <a:pt x="299532" y="153021"/>
                    <a:pt x="314677" y="153021"/>
                  </a:cubicBezTo>
                  <a:lnTo>
                    <a:pt x="314677" y="153021"/>
                  </a:lnTo>
                  <a:lnTo>
                    <a:pt x="438407" y="153021"/>
                  </a:lnTo>
                  <a:cubicBezTo>
                    <a:pt x="438502" y="153783"/>
                    <a:pt x="438502" y="154545"/>
                    <a:pt x="438502" y="155307"/>
                  </a:cubicBezTo>
                  <a:lnTo>
                    <a:pt x="438502" y="505446"/>
                  </a:lnTo>
                  <a:cubicBezTo>
                    <a:pt x="438502" y="521257"/>
                    <a:pt x="425739" y="534021"/>
                    <a:pt x="409927" y="534021"/>
                  </a:cubicBezTo>
                  <a:lnTo>
                    <a:pt x="28927" y="534021"/>
                  </a:lnTo>
                  <a:cubicBezTo>
                    <a:pt x="13115" y="534021"/>
                    <a:pt x="352" y="521257"/>
                    <a:pt x="352" y="505446"/>
                  </a:cubicBezTo>
                  <a:lnTo>
                    <a:pt x="352" y="29196"/>
                  </a:lnTo>
                  <a:cubicBezTo>
                    <a:pt x="352" y="13385"/>
                    <a:pt x="13115" y="621"/>
                    <a:pt x="28927" y="621"/>
                  </a:cubicBezTo>
                  <a:lnTo>
                    <a:pt x="283816" y="621"/>
                  </a:lnTo>
                  <a:close/>
                  <a:moveTo>
                    <a:pt x="248002" y="200646"/>
                  </a:moveTo>
                  <a:lnTo>
                    <a:pt x="152752" y="200646"/>
                  </a:lnTo>
                  <a:lnTo>
                    <a:pt x="152752" y="410196"/>
                  </a:lnTo>
                  <a:lnTo>
                    <a:pt x="171802" y="410196"/>
                  </a:lnTo>
                  <a:lnTo>
                    <a:pt x="171802" y="314946"/>
                  </a:lnTo>
                  <a:lnTo>
                    <a:pt x="248002" y="314946"/>
                  </a:lnTo>
                  <a:lnTo>
                    <a:pt x="250098" y="314946"/>
                  </a:lnTo>
                  <a:cubicBezTo>
                    <a:pt x="280673" y="313803"/>
                    <a:pt x="305152" y="288657"/>
                    <a:pt x="305152" y="257796"/>
                  </a:cubicBezTo>
                  <a:cubicBezTo>
                    <a:pt x="305152" y="226268"/>
                    <a:pt x="279530" y="200646"/>
                    <a:pt x="248002" y="200646"/>
                  </a:cubicBezTo>
                  <a:lnTo>
                    <a:pt x="248002" y="200646"/>
                  </a:lnTo>
                  <a:close/>
                  <a:moveTo>
                    <a:pt x="248002" y="219696"/>
                  </a:moveTo>
                  <a:cubicBezTo>
                    <a:pt x="269052" y="219696"/>
                    <a:pt x="286102" y="236746"/>
                    <a:pt x="286102" y="257796"/>
                  </a:cubicBezTo>
                  <a:cubicBezTo>
                    <a:pt x="286102" y="278846"/>
                    <a:pt x="269052" y="295896"/>
                    <a:pt x="248002" y="295896"/>
                  </a:cubicBezTo>
                  <a:lnTo>
                    <a:pt x="248002" y="295896"/>
                  </a:lnTo>
                  <a:lnTo>
                    <a:pt x="171802" y="295896"/>
                  </a:lnTo>
                  <a:lnTo>
                    <a:pt x="171802" y="219696"/>
                  </a:lnTo>
                  <a:lnTo>
                    <a:pt x="248002" y="219696"/>
                  </a:lnTo>
                  <a:close/>
                  <a:moveTo>
                    <a:pt x="428977" y="133971"/>
                  </a:moveTo>
                  <a:lnTo>
                    <a:pt x="314677" y="133971"/>
                  </a:lnTo>
                  <a:lnTo>
                    <a:pt x="313534" y="133876"/>
                  </a:lnTo>
                  <a:cubicBezTo>
                    <a:pt x="308772" y="133304"/>
                    <a:pt x="305152" y="129304"/>
                    <a:pt x="305152" y="124446"/>
                  </a:cubicBezTo>
                  <a:lnTo>
                    <a:pt x="305152" y="124446"/>
                  </a:lnTo>
                  <a:lnTo>
                    <a:pt x="305152" y="10146"/>
                  </a:lnTo>
                  <a:lnTo>
                    <a:pt x="428977" y="1339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" name="任意多边形 7">
              <a:extLst>
                <a:ext uri="{FF2B5EF4-FFF2-40B4-BE49-F238E27FC236}">
                  <a16:creationId xmlns:a16="http://schemas.microsoft.com/office/drawing/2014/main" id="{610D9D54-9BBB-C549-9FD8-670E0A145AD4}"/>
                </a:ext>
              </a:extLst>
            </p:cNvPr>
            <p:cNvSpPr/>
            <p:nvPr/>
          </p:nvSpPr>
          <p:spPr bwMode="auto">
            <a:xfrm>
              <a:off x="4164247" y="3101197"/>
              <a:ext cx="194894" cy="209581"/>
            </a:xfrm>
            <a:custGeom>
              <a:avLst/>
              <a:gdLst>
                <a:gd name="connsiteX0" fmla="*/ 8774 w 487162"/>
                <a:gd name="connsiteY0" fmla="*/ 514114 h 523875"/>
                <a:gd name="connsiteX1" fmla="*/ 8203 w 487162"/>
                <a:gd name="connsiteY1" fmla="*/ 513447 h 523875"/>
                <a:gd name="connsiteX2" fmla="*/ 8203 w 487162"/>
                <a:gd name="connsiteY2" fmla="*/ 513447 h 523875"/>
                <a:gd name="connsiteX3" fmla="*/ 7727 w 487162"/>
                <a:gd name="connsiteY3" fmla="*/ 512780 h 523875"/>
                <a:gd name="connsiteX4" fmla="*/ 5726 w 487162"/>
                <a:gd name="connsiteY4" fmla="*/ 509732 h 523875"/>
                <a:gd name="connsiteX5" fmla="*/ 5726 w 487162"/>
                <a:gd name="connsiteY5" fmla="*/ 509732 h 523875"/>
                <a:gd name="connsiteX6" fmla="*/ 5250 w 487162"/>
                <a:gd name="connsiteY6" fmla="*/ 508970 h 523875"/>
                <a:gd name="connsiteX7" fmla="*/ 4488 w 487162"/>
                <a:gd name="connsiteY7" fmla="*/ 507446 h 523875"/>
                <a:gd name="connsiteX8" fmla="*/ 3821 w 487162"/>
                <a:gd name="connsiteY8" fmla="*/ 505827 h 523875"/>
                <a:gd name="connsiteX9" fmla="*/ 3726 w 487162"/>
                <a:gd name="connsiteY9" fmla="*/ 505637 h 523875"/>
                <a:gd name="connsiteX10" fmla="*/ 3631 w 487162"/>
                <a:gd name="connsiteY10" fmla="*/ 505351 h 523875"/>
                <a:gd name="connsiteX11" fmla="*/ 3631 w 487162"/>
                <a:gd name="connsiteY11" fmla="*/ 505160 h 523875"/>
                <a:gd name="connsiteX12" fmla="*/ 2964 w 487162"/>
                <a:gd name="connsiteY12" fmla="*/ 503160 h 523875"/>
                <a:gd name="connsiteX13" fmla="*/ 2583 w 487162"/>
                <a:gd name="connsiteY13" fmla="*/ 501826 h 523875"/>
                <a:gd name="connsiteX14" fmla="*/ 2107 w 487162"/>
                <a:gd name="connsiteY14" fmla="*/ 499921 h 523875"/>
                <a:gd name="connsiteX15" fmla="*/ 1250 w 487162"/>
                <a:gd name="connsiteY15" fmla="*/ 495635 h 523875"/>
                <a:gd name="connsiteX16" fmla="*/ 964 w 487162"/>
                <a:gd name="connsiteY16" fmla="*/ 493159 h 523875"/>
                <a:gd name="connsiteX17" fmla="*/ 773 w 487162"/>
                <a:gd name="connsiteY17" fmla="*/ 486587 h 523875"/>
                <a:gd name="connsiteX18" fmla="*/ 5345 w 487162"/>
                <a:gd name="connsiteY18" fmla="*/ 468298 h 523875"/>
                <a:gd name="connsiteX19" fmla="*/ 154983 w 487162"/>
                <a:gd name="connsiteY19" fmla="*/ 151592 h 523875"/>
                <a:gd name="connsiteX20" fmla="*/ 158603 w 487162"/>
                <a:gd name="connsiteY20" fmla="*/ 135305 h 523875"/>
                <a:gd name="connsiteX21" fmla="*/ 158603 w 487162"/>
                <a:gd name="connsiteY21" fmla="*/ 19671 h 523875"/>
                <a:gd name="connsiteX22" fmla="*/ 120503 w 487162"/>
                <a:gd name="connsiteY22" fmla="*/ 19671 h 523875"/>
                <a:gd name="connsiteX23" fmla="*/ 120503 w 487162"/>
                <a:gd name="connsiteY23" fmla="*/ 621 h 523875"/>
                <a:gd name="connsiteX24" fmla="*/ 368153 w 487162"/>
                <a:gd name="connsiteY24" fmla="*/ 621 h 523875"/>
                <a:gd name="connsiteX25" fmla="*/ 368153 w 487162"/>
                <a:gd name="connsiteY25" fmla="*/ 19671 h 523875"/>
                <a:gd name="connsiteX26" fmla="*/ 330053 w 487162"/>
                <a:gd name="connsiteY26" fmla="*/ 19671 h 523875"/>
                <a:gd name="connsiteX27" fmla="*/ 330053 w 487162"/>
                <a:gd name="connsiteY27" fmla="*/ 135305 h 523875"/>
                <a:gd name="connsiteX28" fmla="*/ 333672 w 487162"/>
                <a:gd name="connsiteY28" fmla="*/ 151592 h 523875"/>
                <a:gd name="connsiteX29" fmla="*/ 483310 w 487162"/>
                <a:gd name="connsiteY29" fmla="*/ 468298 h 523875"/>
                <a:gd name="connsiteX30" fmla="*/ 484834 w 487162"/>
                <a:gd name="connsiteY30" fmla="*/ 505541 h 523875"/>
                <a:gd name="connsiteX31" fmla="*/ 484739 w 487162"/>
                <a:gd name="connsiteY31" fmla="*/ 505732 h 523875"/>
                <a:gd name="connsiteX32" fmla="*/ 484167 w 487162"/>
                <a:gd name="connsiteY32" fmla="*/ 507160 h 523875"/>
                <a:gd name="connsiteX33" fmla="*/ 459307 w 487162"/>
                <a:gd name="connsiteY33" fmla="*/ 524401 h 523875"/>
                <a:gd name="connsiteX34" fmla="*/ 457497 w 487162"/>
                <a:gd name="connsiteY34" fmla="*/ 524496 h 523875"/>
                <a:gd name="connsiteX35" fmla="*/ 31253 w 487162"/>
                <a:gd name="connsiteY35" fmla="*/ 524496 h 523875"/>
                <a:gd name="connsiteX36" fmla="*/ 29444 w 487162"/>
                <a:gd name="connsiteY36" fmla="*/ 524401 h 523875"/>
                <a:gd name="connsiteX37" fmla="*/ 26967 w 487162"/>
                <a:gd name="connsiteY37" fmla="*/ 524115 h 523875"/>
                <a:gd name="connsiteX38" fmla="*/ 23157 w 487162"/>
                <a:gd name="connsiteY38" fmla="*/ 523258 h 523875"/>
                <a:gd name="connsiteX39" fmla="*/ 23157 w 487162"/>
                <a:gd name="connsiteY39" fmla="*/ 523258 h 523875"/>
                <a:gd name="connsiteX40" fmla="*/ 17633 w 487162"/>
                <a:gd name="connsiteY40" fmla="*/ 520972 h 523875"/>
                <a:gd name="connsiteX41" fmla="*/ 16204 w 487162"/>
                <a:gd name="connsiteY41" fmla="*/ 520210 h 523875"/>
                <a:gd name="connsiteX42" fmla="*/ 15251 w 487162"/>
                <a:gd name="connsiteY42" fmla="*/ 519638 h 523875"/>
                <a:gd name="connsiteX43" fmla="*/ 10298 w 487162"/>
                <a:gd name="connsiteY43" fmla="*/ 515542 h 523875"/>
                <a:gd name="connsiteX44" fmla="*/ 8774 w 487162"/>
                <a:gd name="connsiteY44" fmla="*/ 514114 h 523875"/>
                <a:gd name="connsiteX45" fmla="*/ 8774 w 487162"/>
                <a:gd name="connsiteY45" fmla="*/ 514114 h 523875"/>
                <a:gd name="connsiteX46" fmla="*/ 255377 w 487162"/>
                <a:gd name="connsiteY46" fmla="*/ 404767 h 523875"/>
                <a:gd name="connsiteX47" fmla="*/ 252519 w 487162"/>
                <a:gd name="connsiteY47" fmla="*/ 406576 h 523875"/>
                <a:gd name="connsiteX48" fmla="*/ 246995 w 487162"/>
                <a:gd name="connsiteY48" fmla="*/ 410291 h 523875"/>
                <a:gd name="connsiteX49" fmla="*/ 55161 w 487162"/>
                <a:gd name="connsiteY49" fmla="*/ 416864 h 523875"/>
                <a:gd name="connsiteX50" fmla="*/ 51351 w 487162"/>
                <a:gd name="connsiteY50" fmla="*/ 415339 h 523875"/>
                <a:gd name="connsiteX51" fmla="*/ 22490 w 487162"/>
                <a:gd name="connsiteY51" fmla="*/ 476395 h 523875"/>
                <a:gd name="connsiteX52" fmla="*/ 21633 w 487162"/>
                <a:gd name="connsiteY52" fmla="*/ 478300 h 523875"/>
                <a:gd name="connsiteX53" fmla="*/ 21538 w 487162"/>
                <a:gd name="connsiteY53" fmla="*/ 498778 h 523875"/>
                <a:gd name="connsiteX54" fmla="*/ 28681 w 487162"/>
                <a:gd name="connsiteY54" fmla="*/ 505065 h 523875"/>
                <a:gd name="connsiteX55" fmla="*/ 29920 w 487162"/>
                <a:gd name="connsiteY55" fmla="*/ 505255 h 523875"/>
                <a:gd name="connsiteX56" fmla="*/ 31063 w 487162"/>
                <a:gd name="connsiteY56" fmla="*/ 505351 h 523875"/>
                <a:gd name="connsiteX57" fmla="*/ 457306 w 487162"/>
                <a:gd name="connsiteY57" fmla="*/ 505351 h 523875"/>
                <a:gd name="connsiteX58" fmla="*/ 458450 w 487162"/>
                <a:gd name="connsiteY58" fmla="*/ 505255 h 523875"/>
                <a:gd name="connsiteX59" fmla="*/ 466831 w 487162"/>
                <a:gd name="connsiteY59" fmla="*/ 498683 h 523875"/>
                <a:gd name="connsiteX60" fmla="*/ 467403 w 487162"/>
                <a:gd name="connsiteY60" fmla="*/ 480205 h 523875"/>
                <a:gd name="connsiteX61" fmla="*/ 466736 w 487162"/>
                <a:gd name="connsiteY61" fmla="*/ 478205 h 523875"/>
                <a:gd name="connsiteX62" fmla="*/ 465879 w 487162"/>
                <a:gd name="connsiteY62" fmla="*/ 476300 h 523875"/>
                <a:gd name="connsiteX63" fmla="*/ 424255 w 487162"/>
                <a:gd name="connsiteY63" fmla="*/ 388098 h 523875"/>
                <a:gd name="connsiteX64" fmla="*/ 255377 w 487162"/>
                <a:gd name="connsiteY64" fmla="*/ 404767 h 523875"/>
                <a:gd name="connsiteX65" fmla="*/ 306240 w 487162"/>
                <a:gd name="connsiteY65" fmla="*/ 257796 h 523875"/>
                <a:gd name="connsiteX66" fmla="*/ 272903 w 487162"/>
                <a:gd name="connsiteY66" fmla="*/ 291134 h 523875"/>
                <a:gd name="connsiteX67" fmla="*/ 306240 w 487162"/>
                <a:gd name="connsiteY67" fmla="*/ 324471 h 523875"/>
                <a:gd name="connsiteX68" fmla="*/ 339578 w 487162"/>
                <a:gd name="connsiteY68" fmla="*/ 291134 h 523875"/>
                <a:gd name="connsiteX69" fmla="*/ 306240 w 487162"/>
                <a:gd name="connsiteY69" fmla="*/ 257796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774" y="514114"/>
                  </a:moveTo>
                  <a:lnTo>
                    <a:pt x="8203" y="513447"/>
                  </a:lnTo>
                  <a:lnTo>
                    <a:pt x="8203" y="513447"/>
                  </a:lnTo>
                  <a:lnTo>
                    <a:pt x="7727" y="512780"/>
                  </a:lnTo>
                  <a:cubicBezTo>
                    <a:pt x="6964" y="511828"/>
                    <a:pt x="6393" y="510780"/>
                    <a:pt x="5726" y="509732"/>
                  </a:cubicBezTo>
                  <a:lnTo>
                    <a:pt x="5726" y="509732"/>
                  </a:lnTo>
                  <a:lnTo>
                    <a:pt x="5250" y="508970"/>
                  </a:lnTo>
                  <a:lnTo>
                    <a:pt x="4488" y="507446"/>
                  </a:lnTo>
                  <a:lnTo>
                    <a:pt x="3821" y="505827"/>
                  </a:lnTo>
                  <a:lnTo>
                    <a:pt x="3726" y="505637"/>
                  </a:lnTo>
                  <a:lnTo>
                    <a:pt x="3631" y="505351"/>
                  </a:lnTo>
                  <a:lnTo>
                    <a:pt x="3631" y="505160"/>
                  </a:lnTo>
                  <a:lnTo>
                    <a:pt x="2964" y="503160"/>
                  </a:lnTo>
                  <a:cubicBezTo>
                    <a:pt x="2869" y="502684"/>
                    <a:pt x="2678" y="502303"/>
                    <a:pt x="2583" y="501826"/>
                  </a:cubicBezTo>
                  <a:cubicBezTo>
                    <a:pt x="2393" y="501160"/>
                    <a:pt x="2202" y="500588"/>
                    <a:pt x="2107" y="499921"/>
                  </a:cubicBezTo>
                  <a:cubicBezTo>
                    <a:pt x="1726" y="498493"/>
                    <a:pt x="1535" y="497064"/>
                    <a:pt x="1250" y="495635"/>
                  </a:cubicBezTo>
                  <a:lnTo>
                    <a:pt x="964" y="493159"/>
                  </a:lnTo>
                  <a:cubicBezTo>
                    <a:pt x="773" y="490968"/>
                    <a:pt x="678" y="488777"/>
                    <a:pt x="773" y="486587"/>
                  </a:cubicBezTo>
                  <a:cubicBezTo>
                    <a:pt x="1059" y="480300"/>
                    <a:pt x="2583" y="474109"/>
                    <a:pt x="5345" y="468298"/>
                  </a:cubicBezTo>
                  <a:lnTo>
                    <a:pt x="154983" y="151592"/>
                  </a:lnTo>
                  <a:cubicBezTo>
                    <a:pt x="157364" y="146544"/>
                    <a:pt x="158603" y="140924"/>
                    <a:pt x="158603" y="135305"/>
                  </a:cubicBezTo>
                  <a:lnTo>
                    <a:pt x="158603" y="19671"/>
                  </a:lnTo>
                  <a:lnTo>
                    <a:pt x="120503" y="19671"/>
                  </a:lnTo>
                  <a:lnTo>
                    <a:pt x="120503" y="621"/>
                  </a:lnTo>
                  <a:lnTo>
                    <a:pt x="368153" y="621"/>
                  </a:lnTo>
                  <a:lnTo>
                    <a:pt x="368153" y="19671"/>
                  </a:lnTo>
                  <a:lnTo>
                    <a:pt x="330053" y="19671"/>
                  </a:lnTo>
                  <a:lnTo>
                    <a:pt x="330053" y="135305"/>
                  </a:lnTo>
                  <a:cubicBezTo>
                    <a:pt x="330053" y="140924"/>
                    <a:pt x="331291" y="146449"/>
                    <a:pt x="333672" y="151592"/>
                  </a:cubicBezTo>
                  <a:lnTo>
                    <a:pt x="483310" y="468298"/>
                  </a:lnTo>
                  <a:cubicBezTo>
                    <a:pt x="488834" y="480014"/>
                    <a:pt x="489406" y="493444"/>
                    <a:pt x="484834" y="505541"/>
                  </a:cubicBezTo>
                  <a:lnTo>
                    <a:pt x="484739" y="505732"/>
                  </a:lnTo>
                  <a:lnTo>
                    <a:pt x="484167" y="507160"/>
                  </a:lnTo>
                  <a:cubicBezTo>
                    <a:pt x="479690" y="517066"/>
                    <a:pt x="470165" y="523734"/>
                    <a:pt x="459307" y="524401"/>
                  </a:cubicBezTo>
                  <a:lnTo>
                    <a:pt x="457497" y="524496"/>
                  </a:lnTo>
                  <a:lnTo>
                    <a:pt x="31253" y="524496"/>
                  </a:lnTo>
                  <a:lnTo>
                    <a:pt x="29444" y="524401"/>
                  </a:lnTo>
                  <a:cubicBezTo>
                    <a:pt x="28586" y="524305"/>
                    <a:pt x="27824" y="524305"/>
                    <a:pt x="26967" y="524115"/>
                  </a:cubicBezTo>
                  <a:cubicBezTo>
                    <a:pt x="25634" y="523925"/>
                    <a:pt x="24395" y="523639"/>
                    <a:pt x="23157" y="523258"/>
                  </a:cubicBezTo>
                  <a:lnTo>
                    <a:pt x="23157" y="523258"/>
                  </a:lnTo>
                  <a:cubicBezTo>
                    <a:pt x="21252" y="522686"/>
                    <a:pt x="19347" y="521924"/>
                    <a:pt x="17633" y="520972"/>
                  </a:cubicBezTo>
                  <a:lnTo>
                    <a:pt x="16204" y="520210"/>
                  </a:lnTo>
                  <a:cubicBezTo>
                    <a:pt x="15918" y="520020"/>
                    <a:pt x="15632" y="519829"/>
                    <a:pt x="15251" y="519638"/>
                  </a:cubicBezTo>
                  <a:cubicBezTo>
                    <a:pt x="13442" y="518495"/>
                    <a:pt x="11727" y="517066"/>
                    <a:pt x="10298" y="515542"/>
                  </a:cubicBezTo>
                  <a:lnTo>
                    <a:pt x="8774" y="514114"/>
                  </a:lnTo>
                  <a:lnTo>
                    <a:pt x="8774" y="514114"/>
                  </a:lnTo>
                  <a:close/>
                  <a:moveTo>
                    <a:pt x="255377" y="404767"/>
                  </a:moveTo>
                  <a:lnTo>
                    <a:pt x="252519" y="406576"/>
                  </a:lnTo>
                  <a:lnTo>
                    <a:pt x="246995" y="410291"/>
                  </a:lnTo>
                  <a:cubicBezTo>
                    <a:pt x="199751" y="441628"/>
                    <a:pt x="120217" y="442581"/>
                    <a:pt x="55161" y="416864"/>
                  </a:cubicBezTo>
                  <a:lnTo>
                    <a:pt x="51351" y="415339"/>
                  </a:lnTo>
                  <a:lnTo>
                    <a:pt x="22490" y="476395"/>
                  </a:lnTo>
                  <a:lnTo>
                    <a:pt x="21633" y="478300"/>
                  </a:lnTo>
                  <a:cubicBezTo>
                    <a:pt x="19156" y="484872"/>
                    <a:pt x="19061" y="492111"/>
                    <a:pt x="21538" y="498778"/>
                  </a:cubicBezTo>
                  <a:cubicBezTo>
                    <a:pt x="22776" y="502017"/>
                    <a:pt x="25443" y="504303"/>
                    <a:pt x="28681" y="505065"/>
                  </a:cubicBezTo>
                  <a:lnTo>
                    <a:pt x="29920" y="505255"/>
                  </a:lnTo>
                  <a:lnTo>
                    <a:pt x="31063" y="505351"/>
                  </a:lnTo>
                  <a:lnTo>
                    <a:pt x="457306" y="505351"/>
                  </a:lnTo>
                  <a:lnTo>
                    <a:pt x="458450" y="505255"/>
                  </a:lnTo>
                  <a:cubicBezTo>
                    <a:pt x="462260" y="504875"/>
                    <a:pt x="465498" y="502303"/>
                    <a:pt x="466831" y="498683"/>
                  </a:cubicBezTo>
                  <a:cubicBezTo>
                    <a:pt x="469118" y="492778"/>
                    <a:pt x="469308" y="486205"/>
                    <a:pt x="467403" y="480205"/>
                  </a:cubicBezTo>
                  <a:lnTo>
                    <a:pt x="466736" y="478205"/>
                  </a:lnTo>
                  <a:lnTo>
                    <a:pt x="465879" y="476300"/>
                  </a:lnTo>
                  <a:lnTo>
                    <a:pt x="424255" y="388098"/>
                  </a:lnTo>
                  <a:cubicBezTo>
                    <a:pt x="366152" y="373810"/>
                    <a:pt x="296715" y="379335"/>
                    <a:pt x="255377" y="404767"/>
                  </a:cubicBezTo>
                  <a:close/>
                  <a:moveTo>
                    <a:pt x="306240" y="257796"/>
                  </a:moveTo>
                  <a:cubicBezTo>
                    <a:pt x="287857" y="257796"/>
                    <a:pt x="272903" y="272750"/>
                    <a:pt x="272903" y="291134"/>
                  </a:cubicBezTo>
                  <a:cubicBezTo>
                    <a:pt x="272903" y="309517"/>
                    <a:pt x="287857" y="324471"/>
                    <a:pt x="306240" y="324471"/>
                  </a:cubicBezTo>
                  <a:cubicBezTo>
                    <a:pt x="324623" y="324471"/>
                    <a:pt x="339578" y="309517"/>
                    <a:pt x="339578" y="291134"/>
                  </a:cubicBezTo>
                  <a:cubicBezTo>
                    <a:pt x="339578" y="272750"/>
                    <a:pt x="324623" y="257796"/>
                    <a:pt x="306240" y="2577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pic>
        <p:nvPicPr>
          <p:cNvPr id="8" name="图片 7" descr="图示&#10;&#10;描述已自动生成">
            <a:extLst>
              <a:ext uri="{FF2B5EF4-FFF2-40B4-BE49-F238E27FC236}">
                <a16:creationId xmlns:a16="http://schemas.microsoft.com/office/drawing/2014/main" id="{9AE0ABF7-6DB8-E047-8BE6-C20680148B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062" y="1259996"/>
            <a:ext cx="10262716" cy="4599823"/>
          </a:xfrm>
          <a:prstGeom prst="rect">
            <a:avLst/>
          </a:prstGeom>
        </p:spPr>
      </p:pic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5955B189-9053-364A-B1C2-D40C474E8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641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6749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2:</a:t>
            </a:r>
            <a:r>
              <a:rPr kumimoji="1" lang="zh-CN" altLang="en-US" dirty="0"/>
              <a:t> </a:t>
            </a:r>
            <a:r>
              <a:rPr lang="en-US" altLang="zh-CN" dirty="0"/>
              <a:t>Es</a:t>
            </a:r>
            <a:r>
              <a:rPr lang="zh-CN" altLang="en-US" dirty="0"/>
              <a:t>存储优化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012F819-76E7-CC48-A7F2-B24970DE337D}"/>
              </a:ext>
            </a:extLst>
          </p:cNvPr>
          <p:cNvGrpSpPr>
            <a:grpSpLocks noChangeAspect="1"/>
          </p:cNvGrpSpPr>
          <p:nvPr/>
        </p:nvGrpSpPr>
        <p:grpSpPr>
          <a:xfrm>
            <a:off x="2557762" y="2742120"/>
            <a:ext cx="4012124" cy="209897"/>
            <a:chOff x="4164247" y="3100881"/>
            <a:chExt cx="4012124" cy="209897"/>
          </a:xfrm>
        </p:grpSpPr>
        <p:sp>
          <p:nvSpPr>
            <p:cNvPr id="28" name="任意多边形 26">
              <a:extLst>
                <a:ext uri="{FF2B5EF4-FFF2-40B4-BE49-F238E27FC236}">
                  <a16:creationId xmlns:a16="http://schemas.microsoft.com/office/drawing/2014/main" id="{892908FC-8FED-E746-BFC1-37A98457DE52}"/>
                </a:ext>
              </a:extLst>
            </p:cNvPr>
            <p:cNvSpPr/>
            <p:nvPr/>
          </p:nvSpPr>
          <p:spPr bwMode="auto">
            <a:xfrm>
              <a:off x="7970810" y="3121819"/>
              <a:ext cx="205561" cy="163687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23" name="任意多边形 33">
              <a:extLst>
                <a:ext uri="{FF2B5EF4-FFF2-40B4-BE49-F238E27FC236}">
                  <a16:creationId xmlns:a16="http://schemas.microsoft.com/office/drawing/2014/main" id="{376FE531-6F54-4C48-A1AC-FD04874A552C}"/>
                </a:ext>
              </a:extLst>
            </p:cNvPr>
            <p:cNvSpPr/>
            <p:nvPr/>
          </p:nvSpPr>
          <p:spPr bwMode="auto">
            <a:xfrm>
              <a:off x="7695931" y="3100881"/>
              <a:ext cx="168853" cy="205561"/>
            </a:xfrm>
            <a:custGeom>
              <a:avLst/>
              <a:gdLst>
                <a:gd name="connsiteX0" fmla="*/ 283816 w 438150"/>
                <a:gd name="connsiteY0" fmla="*/ 621 h 533400"/>
                <a:gd name="connsiteX1" fmla="*/ 286102 w 438150"/>
                <a:gd name="connsiteY1" fmla="*/ 716 h 533400"/>
                <a:gd name="connsiteX2" fmla="*/ 286102 w 438150"/>
                <a:gd name="connsiteY2" fmla="*/ 124446 h 533400"/>
                <a:gd name="connsiteX3" fmla="*/ 286197 w 438150"/>
                <a:gd name="connsiteY3" fmla="*/ 126160 h 533400"/>
                <a:gd name="connsiteX4" fmla="*/ 314677 w 438150"/>
                <a:gd name="connsiteY4" fmla="*/ 153021 h 533400"/>
                <a:gd name="connsiteX5" fmla="*/ 314677 w 438150"/>
                <a:gd name="connsiteY5" fmla="*/ 153021 h 533400"/>
                <a:gd name="connsiteX6" fmla="*/ 438407 w 438150"/>
                <a:gd name="connsiteY6" fmla="*/ 153021 h 533400"/>
                <a:gd name="connsiteX7" fmla="*/ 438502 w 438150"/>
                <a:gd name="connsiteY7" fmla="*/ 155307 h 533400"/>
                <a:gd name="connsiteX8" fmla="*/ 438502 w 438150"/>
                <a:gd name="connsiteY8" fmla="*/ 505446 h 533400"/>
                <a:gd name="connsiteX9" fmla="*/ 409927 w 438150"/>
                <a:gd name="connsiteY9" fmla="*/ 534021 h 533400"/>
                <a:gd name="connsiteX10" fmla="*/ 28927 w 438150"/>
                <a:gd name="connsiteY10" fmla="*/ 534021 h 533400"/>
                <a:gd name="connsiteX11" fmla="*/ 352 w 438150"/>
                <a:gd name="connsiteY11" fmla="*/ 505446 h 533400"/>
                <a:gd name="connsiteX12" fmla="*/ 352 w 438150"/>
                <a:gd name="connsiteY12" fmla="*/ 29196 h 533400"/>
                <a:gd name="connsiteX13" fmla="*/ 28927 w 438150"/>
                <a:gd name="connsiteY13" fmla="*/ 621 h 533400"/>
                <a:gd name="connsiteX14" fmla="*/ 283816 w 438150"/>
                <a:gd name="connsiteY14" fmla="*/ 621 h 533400"/>
                <a:gd name="connsiteX15" fmla="*/ 248002 w 438150"/>
                <a:gd name="connsiteY15" fmla="*/ 200646 h 533400"/>
                <a:gd name="connsiteX16" fmla="*/ 152752 w 438150"/>
                <a:gd name="connsiteY16" fmla="*/ 200646 h 533400"/>
                <a:gd name="connsiteX17" fmla="*/ 152752 w 438150"/>
                <a:gd name="connsiteY17" fmla="*/ 410196 h 533400"/>
                <a:gd name="connsiteX18" fmla="*/ 171802 w 438150"/>
                <a:gd name="connsiteY18" fmla="*/ 410196 h 533400"/>
                <a:gd name="connsiteX19" fmla="*/ 171802 w 438150"/>
                <a:gd name="connsiteY19" fmla="*/ 314946 h 533400"/>
                <a:gd name="connsiteX20" fmla="*/ 248002 w 438150"/>
                <a:gd name="connsiteY20" fmla="*/ 314946 h 533400"/>
                <a:gd name="connsiteX21" fmla="*/ 250098 w 438150"/>
                <a:gd name="connsiteY21" fmla="*/ 314946 h 533400"/>
                <a:gd name="connsiteX22" fmla="*/ 305152 w 438150"/>
                <a:gd name="connsiteY22" fmla="*/ 257796 h 533400"/>
                <a:gd name="connsiteX23" fmla="*/ 248002 w 438150"/>
                <a:gd name="connsiteY23" fmla="*/ 200646 h 533400"/>
                <a:gd name="connsiteX24" fmla="*/ 248002 w 438150"/>
                <a:gd name="connsiteY24" fmla="*/ 200646 h 533400"/>
                <a:gd name="connsiteX25" fmla="*/ 248002 w 438150"/>
                <a:gd name="connsiteY25" fmla="*/ 219696 h 533400"/>
                <a:gd name="connsiteX26" fmla="*/ 286102 w 438150"/>
                <a:gd name="connsiteY26" fmla="*/ 257796 h 533400"/>
                <a:gd name="connsiteX27" fmla="*/ 248002 w 438150"/>
                <a:gd name="connsiteY27" fmla="*/ 295896 h 533400"/>
                <a:gd name="connsiteX28" fmla="*/ 248002 w 438150"/>
                <a:gd name="connsiteY28" fmla="*/ 295896 h 533400"/>
                <a:gd name="connsiteX29" fmla="*/ 171802 w 438150"/>
                <a:gd name="connsiteY29" fmla="*/ 295896 h 533400"/>
                <a:gd name="connsiteX30" fmla="*/ 171802 w 438150"/>
                <a:gd name="connsiteY30" fmla="*/ 219696 h 533400"/>
                <a:gd name="connsiteX31" fmla="*/ 248002 w 438150"/>
                <a:gd name="connsiteY31" fmla="*/ 219696 h 533400"/>
                <a:gd name="connsiteX32" fmla="*/ 428977 w 438150"/>
                <a:gd name="connsiteY32" fmla="*/ 133971 h 533400"/>
                <a:gd name="connsiteX33" fmla="*/ 314677 w 438150"/>
                <a:gd name="connsiteY33" fmla="*/ 133971 h 533400"/>
                <a:gd name="connsiteX34" fmla="*/ 313534 w 438150"/>
                <a:gd name="connsiteY34" fmla="*/ 133876 h 533400"/>
                <a:gd name="connsiteX35" fmla="*/ 305152 w 438150"/>
                <a:gd name="connsiteY35" fmla="*/ 124446 h 533400"/>
                <a:gd name="connsiteX36" fmla="*/ 305152 w 438150"/>
                <a:gd name="connsiteY36" fmla="*/ 124446 h 533400"/>
                <a:gd name="connsiteX37" fmla="*/ 305152 w 438150"/>
                <a:gd name="connsiteY37" fmla="*/ 10146 h 533400"/>
                <a:gd name="connsiteX38" fmla="*/ 428977 w 438150"/>
                <a:gd name="connsiteY38" fmla="*/ 133971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816" y="621"/>
                  </a:moveTo>
                  <a:cubicBezTo>
                    <a:pt x="284578" y="621"/>
                    <a:pt x="285340" y="621"/>
                    <a:pt x="286102" y="716"/>
                  </a:cubicBezTo>
                  <a:lnTo>
                    <a:pt x="286102" y="124446"/>
                  </a:lnTo>
                  <a:lnTo>
                    <a:pt x="286197" y="126160"/>
                  </a:lnTo>
                  <a:cubicBezTo>
                    <a:pt x="287055" y="141115"/>
                    <a:pt x="299532" y="153021"/>
                    <a:pt x="314677" y="153021"/>
                  </a:cubicBezTo>
                  <a:lnTo>
                    <a:pt x="314677" y="153021"/>
                  </a:lnTo>
                  <a:lnTo>
                    <a:pt x="438407" y="153021"/>
                  </a:lnTo>
                  <a:cubicBezTo>
                    <a:pt x="438502" y="153783"/>
                    <a:pt x="438502" y="154545"/>
                    <a:pt x="438502" y="155307"/>
                  </a:cubicBezTo>
                  <a:lnTo>
                    <a:pt x="438502" y="505446"/>
                  </a:lnTo>
                  <a:cubicBezTo>
                    <a:pt x="438502" y="521257"/>
                    <a:pt x="425739" y="534021"/>
                    <a:pt x="409927" y="534021"/>
                  </a:cubicBezTo>
                  <a:lnTo>
                    <a:pt x="28927" y="534021"/>
                  </a:lnTo>
                  <a:cubicBezTo>
                    <a:pt x="13115" y="534021"/>
                    <a:pt x="352" y="521257"/>
                    <a:pt x="352" y="505446"/>
                  </a:cubicBezTo>
                  <a:lnTo>
                    <a:pt x="352" y="29196"/>
                  </a:lnTo>
                  <a:cubicBezTo>
                    <a:pt x="352" y="13385"/>
                    <a:pt x="13115" y="621"/>
                    <a:pt x="28927" y="621"/>
                  </a:cubicBezTo>
                  <a:lnTo>
                    <a:pt x="283816" y="621"/>
                  </a:lnTo>
                  <a:close/>
                  <a:moveTo>
                    <a:pt x="248002" y="200646"/>
                  </a:moveTo>
                  <a:lnTo>
                    <a:pt x="152752" y="200646"/>
                  </a:lnTo>
                  <a:lnTo>
                    <a:pt x="152752" y="410196"/>
                  </a:lnTo>
                  <a:lnTo>
                    <a:pt x="171802" y="410196"/>
                  </a:lnTo>
                  <a:lnTo>
                    <a:pt x="171802" y="314946"/>
                  </a:lnTo>
                  <a:lnTo>
                    <a:pt x="248002" y="314946"/>
                  </a:lnTo>
                  <a:lnTo>
                    <a:pt x="250098" y="314946"/>
                  </a:lnTo>
                  <a:cubicBezTo>
                    <a:pt x="280673" y="313803"/>
                    <a:pt x="305152" y="288657"/>
                    <a:pt x="305152" y="257796"/>
                  </a:cubicBezTo>
                  <a:cubicBezTo>
                    <a:pt x="305152" y="226268"/>
                    <a:pt x="279530" y="200646"/>
                    <a:pt x="248002" y="200646"/>
                  </a:cubicBezTo>
                  <a:lnTo>
                    <a:pt x="248002" y="200646"/>
                  </a:lnTo>
                  <a:close/>
                  <a:moveTo>
                    <a:pt x="248002" y="219696"/>
                  </a:moveTo>
                  <a:cubicBezTo>
                    <a:pt x="269052" y="219696"/>
                    <a:pt x="286102" y="236746"/>
                    <a:pt x="286102" y="257796"/>
                  </a:cubicBezTo>
                  <a:cubicBezTo>
                    <a:pt x="286102" y="278846"/>
                    <a:pt x="269052" y="295896"/>
                    <a:pt x="248002" y="295896"/>
                  </a:cubicBezTo>
                  <a:lnTo>
                    <a:pt x="248002" y="295896"/>
                  </a:lnTo>
                  <a:lnTo>
                    <a:pt x="171802" y="295896"/>
                  </a:lnTo>
                  <a:lnTo>
                    <a:pt x="171802" y="219696"/>
                  </a:lnTo>
                  <a:lnTo>
                    <a:pt x="248002" y="219696"/>
                  </a:lnTo>
                  <a:close/>
                  <a:moveTo>
                    <a:pt x="428977" y="133971"/>
                  </a:moveTo>
                  <a:lnTo>
                    <a:pt x="314677" y="133971"/>
                  </a:lnTo>
                  <a:lnTo>
                    <a:pt x="313534" y="133876"/>
                  </a:lnTo>
                  <a:cubicBezTo>
                    <a:pt x="308772" y="133304"/>
                    <a:pt x="305152" y="129304"/>
                    <a:pt x="305152" y="124446"/>
                  </a:cubicBezTo>
                  <a:lnTo>
                    <a:pt x="305152" y="124446"/>
                  </a:lnTo>
                  <a:lnTo>
                    <a:pt x="305152" y="10146"/>
                  </a:lnTo>
                  <a:lnTo>
                    <a:pt x="428977" y="1339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" name="任意多边形 7">
              <a:extLst>
                <a:ext uri="{FF2B5EF4-FFF2-40B4-BE49-F238E27FC236}">
                  <a16:creationId xmlns:a16="http://schemas.microsoft.com/office/drawing/2014/main" id="{610D9D54-9BBB-C549-9FD8-670E0A145AD4}"/>
                </a:ext>
              </a:extLst>
            </p:cNvPr>
            <p:cNvSpPr/>
            <p:nvPr/>
          </p:nvSpPr>
          <p:spPr bwMode="auto">
            <a:xfrm>
              <a:off x="4164247" y="3101197"/>
              <a:ext cx="194894" cy="209581"/>
            </a:xfrm>
            <a:custGeom>
              <a:avLst/>
              <a:gdLst>
                <a:gd name="connsiteX0" fmla="*/ 8774 w 487162"/>
                <a:gd name="connsiteY0" fmla="*/ 514114 h 523875"/>
                <a:gd name="connsiteX1" fmla="*/ 8203 w 487162"/>
                <a:gd name="connsiteY1" fmla="*/ 513447 h 523875"/>
                <a:gd name="connsiteX2" fmla="*/ 8203 w 487162"/>
                <a:gd name="connsiteY2" fmla="*/ 513447 h 523875"/>
                <a:gd name="connsiteX3" fmla="*/ 7727 w 487162"/>
                <a:gd name="connsiteY3" fmla="*/ 512780 h 523875"/>
                <a:gd name="connsiteX4" fmla="*/ 5726 w 487162"/>
                <a:gd name="connsiteY4" fmla="*/ 509732 h 523875"/>
                <a:gd name="connsiteX5" fmla="*/ 5726 w 487162"/>
                <a:gd name="connsiteY5" fmla="*/ 509732 h 523875"/>
                <a:gd name="connsiteX6" fmla="*/ 5250 w 487162"/>
                <a:gd name="connsiteY6" fmla="*/ 508970 h 523875"/>
                <a:gd name="connsiteX7" fmla="*/ 4488 w 487162"/>
                <a:gd name="connsiteY7" fmla="*/ 507446 h 523875"/>
                <a:gd name="connsiteX8" fmla="*/ 3821 w 487162"/>
                <a:gd name="connsiteY8" fmla="*/ 505827 h 523875"/>
                <a:gd name="connsiteX9" fmla="*/ 3726 w 487162"/>
                <a:gd name="connsiteY9" fmla="*/ 505637 h 523875"/>
                <a:gd name="connsiteX10" fmla="*/ 3631 w 487162"/>
                <a:gd name="connsiteY10" fmla="*/ 505351 h 523875"/>
                <a:gd name="connsiteX11" fmla="*/ 3631 w 487162"/>
                <a:gd name="connsiteY11" fmla="*/ 505160 h 523875"/>
                <a:gd name="connsiteX12" fmla="*/ 2964 w 487162"/>
                <a:gd name="connsiteY12" fmla="*/ 503160 h 523875"/>
                <a:gd name="connsiteX13" fmla="*/ 2583 w 487162"/>
                <a:gd name="connsiteY13" fmla="*/ 501826 h 523875"/>
                <a:gd name="connsiteX14" fmla="*/ 2107 w 487162"/>
                <a:gd name="connsiteY14" fmla="*/ 499921 h 523875"/>
                <a:gd name="connsiteX15" fmla="*/ 1250 w 487162"/>
                <a:gd name="connsiteY15" fmla="*/ 495635 h 523875"/>
                <a:gd name="connsiteX16" fmla="*/ 964 w 487162"/>
                <a:gd name="connsiteY16" fmla="*/ 493159 h 523875"/>
                <a:gd name="connsiteX17" fmla="*/ 773 w 487162"/>
                <a:gd name="connsiteY17" fmla="*/ 486587 h 523875"/>
                <a:gd name="connsiteX18" fmla="*/ 5345 w 487162"/>
                <a:gd name="connsiteY18" fmla="*/ 468298 h 523875"/>
                <a:gd name="connsiteX19" fmla="*/ 154983 w 487162"/>
                <a:gd name="connsiteY19" fmla="*/ 151592 h 523875"/>
                <a:gd name="connsiteX20" fmla="*/ 158603 w 487162"/>
                <a:gd name="connsiteY20" fmla="*/ 135305 h 523875"/>
                <a:gd name="connsiteX21" fmla="*/ 158603 w 487162"/>
                <a:gd name="connsiteY21" fmla="*/ 19671 h 523875"/>
                <a:gd name="connsiteX22" fmla="*/ 120503 w 487162"/>
                <a:gd name="connsiteY22" fmla="*/ 19671 h 523875"/>
                <a:gd name="connsiteX23" fmla="*/ 120503 w 487162"/>
                <a:gd name="connsiteY23" fmla="*/ 621 h 523875"/>
                <a:gd name="connsiteX24" fmla="*/ 368153 w 487162"/>
                <a:gd name="connsiteY24" fmla="*/ 621 h 523875"/>
                <a:gd name="connsiteX25" fmla="*/ 368153 w 487162"/>
                <a:gd name="connsiteY25" fmla="*/ 19671 h 523875"/>
                <a:gd name="connsiteX26" fmla="*/ 330053 w 487162"/>
                <a:gd name="connsiteY26" fmla="*/ 19671 h 523875"/>
                <a:gd name="connsiteX27" fmla="*/ 330053 w 487162"/>
                <a:gd name="connsiteY27" fmla="*/ 135305 h 523875"/>
                <a:gd name="connsiteX28" fmla="*/ 333672 w 487162"/>
                <a:gd name="connsiteY28" fmla="*/ 151592 h 523875"/>
                <a:gd name="connsiteX29" fmla="*/ 483310 w 487162"/>
                <a:gd name="connsiteY29" fmla="*/ 468298 h 523875"/>
                <a:gd name="connsiteX30" fmla="*/ 484834 w 487162"/>
                <a:gd name="connsiteY30" fmla="*/ 505541 h 523875"/>
                <a:gd name="connsiteX31" fmla="*/ 484739 w 487162"/>
                <a:gd name="connsiteY31" fmla="*/ 505732 h 523875"/>
                <a:gd name="connsiteX32" fmla="*/ 484167 w 487162"/>
                <a:gd name="connsiteY32" fmla="*/ 507160 h 523875"/>
                <a:gd name="connsiteX33" fmla="*/ 459307 w 487162"/>
                <a:gd name="connsiteY33" fmla="*/ 524401 h 523875"/>
                <a:gd name="connsiteX34" fmla="*/ 457497 w 487162"/>
                <a:gd name="connsiteY34" fmla="*/ 524496 h 523875"/>
                <a:gd name="connsiteX35" fmla="*/ 31253 w 487162"/>
                <a:gd name="connsiteY35" fmla="*/ 524496 h 523875"/>
                <a:gd name="connsiteX36" fmla="*/ 29444 w 487162"/>
                <a:gd name="connsiteY36" fmla="*/ 524401 h 523875"/>
                <a:gd name="connsiteX37" fmla="*/ 26967 w 487162"/>
                <a:gd name="connsiteY37" fmla="*/ 524115 h 523875"/>
                <a:gd name="connsiteX38" fmla="*/ 23157 w 487162"/>
                <a:gd name="connsiteY38" fmla="*/ 523258 h 523875"/>
                <a:gd name="connsiteX39" fmla="*/ 23157 w 487162"/>
                <a:gd name="connsiteY39" fmla="*/ 523258 h 523875"/>
                <a:gd name="connsiteX40" fmla="*/ 17633 w 487162"/>
                <a:gd name="connsiteY40" fmla="*/ 520972 h 523875"/>
                <a:gd name="connsiteX41" fmla="*/ 16204 w 487162"/>
                <a:gd name="connsiteY41" fmla="*/ 520210 h 523875"/>
                <a:gd name="connsiteX42" fmla="*/ 15251 w 487162"/>
                <a:gd name="connsiteY42" fmla="*/ 519638 h 523875"/>
                <a:gd name="connsiteX43" fmla="*/ 10298 w 487162"/>
                <a:gd name="connsiteY43" fmla="*/ 515542 h 523875"/>
                <a:gd name="connsiteX44" fmla="*/ 8774 w 487162"/>
                <a:gd name="connsiteY44" fmla="*/ 514114 h 523875"/>
                <a:gd name="connsiteX45" fmla="*/ 8774 w 487162"/>
                <a:gd name="connsiteY45" fmla="*/ 514114 h 523875"/>
                <a:gd name="connsiteX46" fmla="*/ 255377 w 487162"/>
                <a:gd name="connsiteY46" fmla="*/ 404767 h 523875"/>
                <a:gd name="connsiteX47" fmla="*/ 252519 w 487162"/>
                <a:gd name="connsiteY47" fmla="*/ 406576 h 523875"/>
                <a:gd name="connsiteX48" fmla="*/ 246995 w 487162"/>
                <a:gd name="connsiteY48" fmla="*/ 410291 h 523875"/>
                <a:gd name="connsiteX49" fmla="*/ 55161 w 487162"/>
                <a:gd name="connsiteY49" fmla="*/ 416864 h 523875"/>
                <a:gd name="connsiteX50" fmla="*/ 51351 w 487162"/>
                <a:gd name="connsiteY50" fmla="*/ 415339 h 523875"/>
                <a:gd name="connsiteX51" fmla="*/ 22490 w 487162"/>
                <a:gd name="connsiteY51" fmla="*/ 476395 h 523875"/>
                <a:gd name="connsiteX52" fmla="*/ 21633 w 487162"/>
                <a:gd name="connsiteY52" fmla="*/ 478300 h 523875"/>
                <a:gd name="connsiteX53" fmla="*/ 21538 w 487162"/>
                <a:gd name="connsiteY53" fmla="*/ 498778 h 523875"/>
                <a:gd name="connsiteX54" fmla="*/ 28681 w 487162"/>
                <a:gd name="connsiteY54" fmla="*/ 505065 h 523875"/>
                <a:gd name="connsiteX55" fmla="*/ 29920 w 487162"/>
                <a:gd name="connsiteY55" fmla="*/ 505255 h 523875"/>
                <a:gd name="connsiteX56" fmla="*/ 31063 w 487162"/>
                <a:gd name="connsiteY56" fmla="*/ 505351 h 523875"/>
                <a:gd name="connsiteX57" fmla="*/ 457306 w 487162"/>
                <a:gd name="connsiteY57" fmla="*/ 505351 h 523875"/>
                <a:gd name="connsiteX58" fmla="*/ 458450 w 487162"/>
                <a:gd name="connsiteY58" fmla="*/ 505255 h 523875"/>
                <a:gd name="connsiteX59" fmla="*/ 466831 w 487162"/>
                <a:gd name="connsiteY59" fmla="*/ 498683 h 523875"/>
                <a:gd name="connsiteX60" fmla="*/ 467403 w 487162"/>
                <a:gd name="connsiteY60" fmla="*/ 480205 h 523875"/>
                <a:gd name="connsiteX61" fmla="*/ 466736 w 487162"/>
                <a:gd name="connsiteY61" fmla="*/ 478205 h 523875"/>
                <a:gd name="connsiteX62" fmla="*/ 465879 w 487162"/>
                <a:gd name="connsiteY62" fmla="*/ 476300 h 523875"/>
                <a:gd name="connsiteX63" fmla="*/ 424255 w 487162"/>
                <a:gd name="connsiteY63" fmla="*/ 388098 h 523875"/>
                <a:gd name="connsiteX64" fmla="*/ 255377 w 487162"/>
                <a:gd name="connsiteY64" fmla="*/ 404767 h 523875"/>
                <a:gd name="connsiteX65" fmla="*/ 306240 w 487162"/>
                <a:gd name="connsiteY65" fmla="*/ 257796 h 523875"/>
                <a:gd name="connsiteX66" fmla="*/ 272903 w 487162"/>
                <a:gd name="connsiteY66" fmla="*/ 291134 h 523875"/>
                <a:gd name="connsiteX67" fmla="*/ 306240 w 487162"/>
                <a:gd name="connsiteY67" fmla="*/ 324471 h 523875"/>
                <a:gd name="connsiteX68" fmla="*/ 339578 w 487162"/>
                <a:gd name="connsiteY68" fmla="*/ 291134 h 523875"/>
                <a:gd name="connsiteX69" fmla="*/ 306240 w 487162"/>
                <a:gd name="connsiteY69" fmla="*/ 257796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7162" h="523875">
                  <a:moveTo>
                    <a:pt x="8774" y="514114"/>
                  </a:moveTo>
                  <a:lnTo>
                    <a:pt x="8203" y="513447"/>
                  </a:lnTo>
                  <a:lnTo>
                    <a:pt x="8203" y="513447"/>
                  </a:lnTo>
                  <a:lnTo>
                    <a:pt x="7727" y="512780"/>
                  </a:lnTo>
                  <a:cubicBezTo>
                    <a:pt x="6964" y="511828"/>
                    <a:pt x="6393" y="510780"/>
                    <a:pt x="5726" y="509732"/>
                  </a:cubicBezTo>
                  <a:lnTo>
                    <a:pt x="5726" y="509732"/>
                  </a:lnTo>
                  <a:lnTo>
                    <a:pt x="5250" y="508970"/>
                  </a:lnTo>
                  <a:lnTo>
                    <a:pt x="4488" y="507446"/>
                  </a:lnTo>
                  <a:lnTo>
                    <a:pt x="3821" y="505827"/>
                  </a:lnTo>
                  <a:lnTo>
                    <a:pt x="3726" y="505637"/>
                  </a:lnTo>
                  <a:lnTo>
                    <a:pt x="3631" y="505351"/>
                  </a:lnTo>
                  <a:lnTo>
                    <a:pt x="3631" y="505160"/>
                  </a:lnTo>
                  <a:lnTo>
                    <a:pt x="2964" y="503160"/>
                  </a:lnTo>
                  <a:cubicBezTo>
                    <a:pt x="2869" y="502684"/>
                    <a:pt x="2678" y="502303"/>
                    <a:pt x="2583" y="501826"/>
                  </a:cubicBezTo>
                  <a:cubicBezTo>
                    <a:pt x="2393" y="501160"/>
                    <a:pt x="2202" y="500588"/>
                    <a:pt x="2107" y="499921"/>
                  </a:cubicBezTo>
                  <a:cubicBezTo>
                    <a:pt x="1726" y="498493"/>
                    <a:pt x="1535" y="497064"/>
                    <a:pt x="1250" y="495635"/>
                  </a:cubicBezTo>
                  <a:lnTo>
                    <a:pt x="964" y="493159"/>
                  </a:lnTo>
                  <a:cubicBezTo>
                    <a:pt x="773" y="490968"/>
                    <a:pt x="678" y="488777"/>
                    <a:pt x="773" y="486587"/>
                  </a:cubicBezTo>
                  <a:cubicBezTo>
                    <a:pt x="1059" y="480300"/>
                    <a:pt x="2583" y="474109"/>
                    <a:pt x="5345" y="468298"/>
                  </a:cubicBezTo>
                  <a:lnTo>
                    <a:pt x="154983" y="151592"/>
                  </a:lnTo>
                  <a:cubicBezTo>
                    <a:pt x="157364" y="146544"/>
                    <a:pt x="158603" y="140924"/>
                    <a:pt x="158603" y="135305"/>
                  </a:cubicBezTo>
                  <a:lnTo>
                    <a:pt x="158603" y="19671"/>
                  </a:lnTo>
                  <a:lnTo>
                    <a:pt x="120503" y="19671"/>
                  </a:lnTo>
                  <a:lnTo>
                    <a:pt x="120503" y="621"/>
                  </a:lnTo>
                  <a:lnTo>
                    <a:pt x="368153" y="621"/>
                  </a:lnTo>
                  <a:lnTo>
                    <a:pt x="368153" y="19671"/>
                  </a:lnTo>
                  <a:lnTo>
                    <a:pt x="330053" y="19671"/>
                  </a:lnTo>
                  <a:lnTo>
                    <a:pt x="330053" y="135305"/>
                  </a:lnTo>
                  <a:cubicBezTo>
                    <a:pt x="330053" y="140924"/>
                    <a:pt x="331291" y="146449"/>
                    <a:pt x="333672" y="151592"/>
                  </a:cubicBezTo>
                  <a:lnTo>
                    <a:pt x="483310" y="468298"/>
                  </a:lnTo>
                  <a:cubicBezTo>
                    <a:pt x="488834" y="480014"/>
                    <a:pt x="489406" y="493444"/>
                    <a:pt x="484834" y="505541"/>
                  </a:cubicBezTo>
                  <a:lnTo>
                    <a:pt x="484739" y="505732"/>
                  </a:lnTo>
                  <a:lnTo>
                    <a:pt x="484167" y="507160"/>
                  </a:lnTo>
                  <a:cubicBezTo>
                    <a:pt x="479690" y="517066"/>
                    <a:pt x="470165" y="523734"/>
                    <a:pt x="459307" y="524401"/>
                  </a:cubicBezTo>
                  <a:lnTo>
                    <a:pt x="457497" y="524496"/>
                  </a:lnTo>
                  <a:lnTo>
                    <a:pt x="31253" y="524496"/>
                  </a:lnTo>
                  <a:lnTo>
                    <a:pt x="29444" y="524401"/>
                  </a:lnTo>
                  <a:cubicBezTo>
                    <a:pt x="28586" y="524305"/>
                    <a:pt x="27824" y="524305"/>
                    <a:pt x="26967" y="524115"/>
                  </a:cubicBezTo>
                  <a:cubicBezTo>
                    <a:pt x="25634" y="523925"/>
                    <a:pt x="24395" y="523639"/>
                    <a:pt x="23157" y="523258"/>
                  </a:cubicBezTo>
                  <a:lnTo>
                    <a:pt x="23157" y="523258"/>
                  </a:lnTo>
                  <a:cubicBezTo>
                    <a:pt x="21252" y="522686"/>
                    <a:pt x="19347" y="521924"/>
                    <a:pt x="17633" y="520972"/>
                  </a:cubicBezTo>
                  <a:lnTo>
                    <a:pt x="16204" y="520210"/>
                  </a:lnTo>
                  <a:cubicBezTo>
                    <a:pt x="15918" y="520020"/>
                    <a:pt x="15632" y="519829"/>
                    <a:pt x="15251" y="519638"/>
                  </a:cubicBezTo>
                  <a:cubicBezTo>
                    <a:pt x="13442" y="518495"/>
                    <a:pt x="11727" y="517066"/>
                    <a:pt x="10298" y="515542"/>
                  </a:cubicBezTo>
                  <a:lnTo>
                    <a:pt x="8774" y="514114"/>
                  </a:lnTo>
                  <a:lnTo>
                    <a:pt x="8774" y="514114"/>
                  </a:lnTo>
                  <a:close/>
                  <a:moveTo>
                    <a:pt x="255377" y="404767"/>
                  </a:moveTo>
                  <a:lnTo>
                    <a:pt x="252519" y="406576"/>
                  </a:lnTo>
                  <a:lnTo>
                    <a:pt x="246995" y="410291"/>
                  </a:lnTo>
                  <a:cubicBezTo>
                    <a:pt x="199751" y="441628"/>
                    <a:pt x="120217" y="442581"/>
                    <a:pt x="55161" y="416864"/>
                  </a:cubicBezTo>
                  <a:lnTo>
                    <a:pt x="51351" y="415339"/>
                  </a:lnTo>
                  <a:lnTo>
                    <a:pt x="22490" y="476395"/>
                  </a:lnTo>
                  <a:lnTo>
                    <a:pt x="21633" y="478300"/>
                  </a:lnTo>
                  <a:cubicBezTo>
                    <a:pt x="19156" y="484872"/>
                    <a:pt x="19061" y="492111"/>
                    <a:pt x="21538" y="498778"/>
                  </a:cubicBezTo>
                  <a:cubicBezTo>
                    <a:pt x="22776" y="502017"/>
                    <a:pt x="25443" y="504303"/>
                    <a:pt x="28681" y="505065"/>
                  </a:cubicBezTo>
                  <a:lnTo>
                    <a:pt x="29920" y="505255"/>
                  </a:lnTo>
                  <a:lnTo>
                    <a:pt x="31063" y="505351"/>
                  </a:lnTo>
                  <a:lnTo>
                    <a:pt x="457306" y="505351"/>
                  </a:lnTo>
                  <a:lnTo>
                    <a:pt x="458450" y="505255"/>
                  </a:lnTo>
                  <a:cubicBezTo>
                    <a:pt x="462260" y="504875"/>
                    <a:pt x="465498" y="502303"/>
                    <a:pt x="466831" y="498683"/>
                  </a:cubicBezTo>
                  <a:cubicBezTo>
                    <a:pt x="469118" y="492778"/>
                    <a:pt x="469308" y="486205"/>
                    <a:pt x="467403" y="480205"/>
                  </a:cubicBezTo>
                  <a:lnTo>
                    <a:pt x="466736" y="478205"/>
                  </a:lnTo>
                  <a:lnTo>
                    <a:pt x="465879" y="476300"/>
                  </a:lnTo>
                  <a:lnTo>
                    <a:pt x="424255" y="388098"/>
                  </a:lnTo>
                  <a:cubicBezTo>
                    <a:pt x="366152" y="373810"/>
                    <a:pt x="296715" y="379335"/>
                    <a:pt x="255377" y="404767"/>
                  </a:cubicBezTo>
                  <a:close/>
                  <a:moveTo>
                    <a:pt x="306240" y="257796"/>
                  </a:moveTo>
                  <a:cubicBezTo>
                    <a:pt x="287857" y="257796"/>
                    <a:pt x="272903" y="272750"/>
                    <a:pt x="272903" y="291134"/>
                  </a:cubicBezTo>
                  <a:cubicBezTo>
                    <a:pt x="272903" y="309517"/>
                    <a:pt x="287857" y="324471"/>
                    <a:pt x="306240" y="324471"/>
                  </a:cubicBezTo>
                  <a:cubicBezTo>
                    <a:pt x="324623" y="324471"/>
                    <a:pt x="339578" y="309517"/>
                    <a:pt x="339578" y="291134"/>
                  </a:cubicBezTo>
                  <a:cubicBezTo>
                    <a:pt x="339578" y="272750"/>
                    <a:pt x="324623" y="257796"/>
                    <a:pt x="306240" y="2577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pic>
        <p:nvPicPr>
          <p:cNvPr id="8" name="图片 7" descr="图示&#10;&#10;描述已自动生成">
            <a:extLst>
              <a:ext uri="{FF2B5EF4-FFF2-40B4-BE49-F238E27FC236}">
                <a16:creationId xmlns:a16="http://schemas.microsoft.com/office/drawing/2014/main" id="{9AE0ABF7-6DB8-E047-8BE6-C20680148B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042" y="1857784"/>
            <a:ext cx="7569758" cy="3392820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CD44304A-114E-B242-90AF-C4F2D6B44B91}"/>
              </a:ext>
            </a:extLst>
          </p:cNvPr>
          <p:cNvSpPr txBox="1"/>
          <p:nvPr/>
        </p:nvSpPr>
        <p:spPr>
          <a:xfrm>
            <a:off x="669925" y="1298769"/>
            <a:ext cx="6255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Practice:</a:t>
            </a:r>
            <a:r>
              <a:rPr kumimoji="1" lang="zh-CN" altLang="en-US" dirty="0"/>
              <a:t> 一个每天</a:t>
            </a:r>
            <a:r>
              <a:rPr kumimoji="1" lang="en-US" altLang="zh-CN" dirty="0"/>
              <a:t>600G</a:t>
            </a:r>
            <a:r>
              <a:rPr kumimoji="1" lang="zh-CN" altLang="en-US" dirty="0"/>
              <a:t> </a:t>
            </a:r>
            <a:r>
              <a:rPr kumimoji="1" lang="en-US" altLang="zh-CN" dirty="0"/>
              <a:t>segment</a:t>
            </a:r>
            <a:r>
              <a:rPr kumimoji="1" lang="zh-CN" altLang="en-US" dirty="0"/>
              <a:t>数据的线上部署怎么配置</a:t>
            </a:r>
            <a:r>
              <a:rPr kumimoji="1" lang="en-US" altLang="zh-CN" dirty="0"/>
              <a:t>?</a:t>
            </a:r>
            <a:endParaRPr kumimoji="1"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8A22DB1-B6F9-CD47-8D05-1AF207CC6CE6}"/>
              </a:ext>
            </a:extLst>
          </p:cNvPr>
          <p:cNvSpPr txBox="1"/>
          <p:nvPr/>
        </p:nvSpPr>
        <p:spPr>
          <a:xfrm>
            <a:off x="9752637" y="429064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0</a:t>
            </a:r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21E75D4-71C1-B34B-87D7-8070EFE1752E}"/>
              </a:ext>
            </a:extLst>
          </p:cNvPr>
          <p:cNvSpPr txBox="1"/>
          <p:nvPr/>
        </p:nvSpPr>
        <p:spPr>
          <a:xfrm>
            <a:off x="8098971" y="246763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73546F4-2C37-BF45-B1DC-1325151C208D}"/>
              </a:ext>
            </a:extLst>
          </p:cNvPr>
          <p:cNvSpPr txBox="1"/>
          <p:nvPr/>
        </p:nvSpPr>
        <p:spPr>
          <a:xfrm>
            <a:off x="8098971" y="186842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4335C0A-9C1A-B448-B765-3EDE36F5CF66}"/>
              </a:ext>
            </a:extLst>
          </p:cNvPr>
          <p:cNvSpPr txBox="1"/>
          <p:nvPr/>
        </p:nvSpPr>
        <p:spPr>
          <a:xfrm>
            <a:off x="8190813" y="3026648"/>
            <a:ext cx="5757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20+</a:t>
            </a:r>
            <a:endParaRPr kumimoji="1" lang="zh-CN" altLang="en-US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8F926B5-7E84-9C42-8132-A91B5512F0B1}"/>
              </a:ext>
            </a:extLst>
          </p:cNvPr>
          <p:cNvSpPr txBox="1"/>
          <p:nvPr/>
        </p:nvSpPr>
        <p:spPr>
          <a:xfrm>
            <a:off x="9688517" y="3611051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20</a:t>
            </a:r>
            <a:endParaRPr kumimoji="1"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549E8E31-C223-1242-8B44-9390CDA5EE74}"/>
              </a:ext>
            </a:extLst>
          </p:cNvPr>
          <p:cNvSpPr txBox="1"/>
          <p:nvPr/>
        </p:nvSpPr>
        <p:spPr>
          <a:xfrm>
            <a:off x="8098971" y="4811544"/>
            <a:ext cx="312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17" name="页脚占位符 2">
            <a:extLst>
              <a:ext uri="{FF2B5EF4-FFF2-40B4-BE49-F238E27FC236}">
                <a16:creationId xmlns:a16="http://schemas.microsoft.com/office/drawing/2014/main" id="{3E5E6063-2225-BC4D-83B2-53E6D1FD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641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00108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0" grpId="0"/>
      <p:bldP spid="14" grpId="0"/>
      <p:bldP spid="15" grpId="0"/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3:</a:t>
            </a:r>
            <a:r>
              <a:rPr kumimoji="1" lang="zh-CN" altLang="en-US" dirty="0"/>
              <a:t> </a:t>
            </a:r>
            <a:r>
              <a:rPr lang="zh-CN" altLang="en-US" dirty="0"/>
              <a:t>识别异常流量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012F819-76E7-CC48-A7F2-B24970DE337D}"/>
              </a:ext>
            </a:extLst>
          </p:cNvPr>
          <p:cNvGrpSpPr>
            <a:grpSpLocks noChangeAspect="1"/>
          </p:cNvGrpSpPr>
          <p:nvPr/>
        </p:nvGrpSpPr>
        <p:grpSpPr>
          <a:xfrm>
            <a:off x="2302287" y="1358443"/>
            <a:ext cx="7585836" cy="4103925"/>
            <a:chOff x="2301036" y="1431891"/>
            <a:chExt cx="7585836" cy="4103925"/>
          </a:xfrm>
        </p:grpSpPr>
        <p:sp>
          <p:nvSpPr>
            <p:cNvPr id="7" name="圆角矩形 6">
              <a:extLst>
                <a:ext uri="{FF2B5EF4-FFF2-40B4-BE49-F238E27FC236}">
                  <a16:creationId xmlns:a16="http://schemas.microsoft.com/office/drawing/2014/main" id="{203DB90C-8E71-3045-8C34-D28C548B328A}"/>
                </a:ext>
              </a:extLst>
            </p:cNvPr>
            <p:cNvSpPr/>
            <p:nvPr/>
          </p:nvSpPr>
          <p:spPr>
            <a:xfrm rot="5400000">
              <a:off x="2719221" y="2896445"/>
              <a:ext cx="3084947" cy="2193796"/>
            </a:xfrm>
            <a:prstGeom prst="roundRect">
              <a:avLst>
                <a:gd name="adj" fmla="val 12000"/>
              </a:avLst>
            </a:pr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圆角矩形 8">
              <a:extLst>
                <a:ext uri="{FF2B5EF4-FFF2-40B4-BE49-F238E27FC236}">
                  <a16:creationId xmlns:a16="http://schemas.microsoft.com/office/drawing/2014/main" id="{090B0120-B99D-744D-888D-BC32A31C332B}"/>
                </a:ext>
              </a:extLst>
            </p:cNvPr>
            <p:cNvSpPr/>
            <p:nvPr/>
          </p:nvSpPr>
          <p:spPr>
            <a:xfrm rot="5400000">
              <a:off x="6428336" y="2896444"/>
              <a:ext cx="3084947" cy="2193796"/>
            </a:xfrm>
            <a:prstGeom prst="roundRect">
              <a:avLst>
                <a:gd name="adj" fmla="val 12000"/>
              </a:avLst>
            </a:pr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3AFA5F64-2590-7B44-86D6-6F006D118B8F}"/>
                </a:ext>
              </a:extLst>
            </p:cNvPr>
            <p:cNvSpPr txBox="1"/>
            <p:nvPr/>
          </p:nvSpPr>
          <p:spPr>
            <a:xfrm>
              <a:off x="2301036" y="1431891"/>
              <a:ext cx="7585836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lvl="0" algn="ctr" defTabSz="913765">
                <a:buSzPct val="25000"/>
                <a:defRPr/>
              </a:pPr>
              <a:r>
                <a:rPr lang="en-US" altLang="zh-CN" sz="3200" b="1" dirty="0" err="1"/>
                <a:t>目标</a:t>
              </a:r>
              <a:r>
                <a:rPr lang="en-US" altLang="zh-CN" sz="3200" b="1" dirty="0"/>
                <a:t>:</a:t>
              </a:r>
              <a:r>
                <a:rPr lang="zh-CN" altLang="en-US" sz="3200" b="1" dirty="0"/>
                <a:t> 链路追踪下识别异常流量</a:t>
              </a:r>
              <a:endParaRPr lang="en-US" altLang="zh-CN" sz="3200" b="1" dirty="0"/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F292E868-5EF1-EF4B-871B-5C433839B915}"/>
                </a:ext>
              </a:extLst>
            </p:cNvPr>
            <p:cNvGrpSpPr/>
            <p:nvPr/>
          </p:nvGrpSpPr>
          <p:grpSpPr>
            <a:xfrm>
              <a:off x="3297219" y="3121819"/>
              <a:ext cx="4879152" cy="1189971"/>
              <a:chOff x="3297219" y="3358917"/>
              <a:chExt cx="4879152" cy="1189971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102C73D8-C60C-6B42-9FFD-CB58D01DD840}"/>
                  </a:ext>
                </a:extLst>
              </p:cNvPr>
              <p:cNvSpPr txBox="1"/>
              <p:nvPr/>
            </p:nvSpPr>
            <p:spPr>
              <a:xfrm>
                <a:off x="3297219" y="3902557"/>
                <a:ext cx="2373172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1" dirty="0"/>
                  <a:t>接口鉴权不通过</a:t>
                </a:r>
                <a:r>
                  <a:rPr lang="en-US" altLang="zh-CN" b="1" dirty="0"/>
                  <a:t>,</a:t>
                </a:r>
              </a:p>
              <a:p>
                <a:r>
                  <a:rPr lang="zh-CN" altLang="en-US" b="1" dirty="0"/>
                  <a:t>为什么存在报警</a:t>
                </a:r>
                <a:r>
                  <a:rPr lang="en-US" altLang="zh-CN" b="1" dirty="0"/>
                  <a:t>?</a:t>
                </a:r>
              </a:p>
            </p:txBody>
          </p:sp>
          <p:sp>
            <p:nvSpPr>
              <p:cNvPr id="28" name="任意多边形 26">
                <a:extLst>
                  <a:ext uri="{FF2B5EF4-FFF2-40B4-BE49-F238E27FC236}">
                    <a16:creationId xmlns:a16="http://schemas.microsoft.com/office/drawing/2014/main" id="{892908FC-8FED-E746-BFC1-37A98457DE52}"/>
                  </a:ext>
                </a:extLst>
              </p:cNvPr>
              <p:cNvSpPr/>
              <p:nvPr/>
            </p:nvSpPr>
            <p:spPr bwMode="auto">
              <a:xfrm>
                <a:off x="7970810" y="3358917"/>
                <a:ext cx="205561" cy="163687"/>
              </a:xfrm>
              <a:custGeom>
                <a:avLst/>
                <a:gdLst>
                  <a:gd name="connsiteX0" fmla="*/ 486767 w 514350"/>
                  <a:gd name="connsiteY0" fmla="*/ 621 h 409575"/>
                  <a:gd name="connsiteX1" fmla="*/ 515342 w 514350"/>
                  <a:gd name="connsiteY1" fmla="*/ 29196 h 409575"/>
                  <a:gd name="connsiteX2" fmla="*/ 515342 w 514350"/>
                  <a:gd name="connsiteY2" fmla="*/ 324471 h 409575"/>
                  <a:gd name="connsiteX3" fmla="*/ 486767 w 514350"/>
                  <a:gd name="connsiteY3" fmla="*/ 353046 h 409575"/>
                  <a:gd name="connsiteX4" fmla="*/ 192159 w 514350"/>
                  <a:gd name="connsiteY4" fmla="*/ 353046 h 409575"/>
                  <a:gd name="connsiteX5" fmla="*/ 115387 w 514350"/>
                  <a:gd name="connsiteY5" fmla="*/ 410196 h 409575"/>
                  <a:gd name="connsiteX6" fmla="*/ 115387 w 514350"/>
                  <a:gd name="connsiteY6" fmla="*/ 353046 h 409575"/>
                  <a:gd name="connsiteX7" fmla="*/ 29567 w 514350"/>
                  <a:gd name="connsiteY7" fmla="*/ 353046 h 409575"/>
                  <a:gd name="connsiteX8" fmla="*/ 992 w 514350"/>
                  <a:gd name="connsiteY8" fmla="*/ 324471 h 409575"/>
                  <a:gd name="connsiteX9" fmla="*/ 992 w 514350"/>
                  <a:gd name="connsiteY9" fmla="*/ 29196 h 409575"/>
                  <a:gd name="connsiteX10" fmla="*/ 29567 w 514350"/>
                  <a:gd name="connsiteY10" fmla="*/ 621 h 409575"/>
                  <a:gd name="connsiteX11" fmla="*/ 486767 w 514350"/>
                  <a:gd name="connsiteY11" fmla="*/ 621 h 409575"/>
                  <a:gd name="connsiteX12" fmla="*/ 124817 w 514350"/>
                  <a:gd name="connsiteY12" fmla="*/ 143496 h 409575"/>
                  <a:gd name="connsiteX13" fmla="*/ 91480 w 514350"/>
                  <a:gd name="connsiteY13" fmla="*/ 176834 h 409575"/>
                  <a:gd name="connsiteX14" fmla="*/ 124817 w 514350"/>
                  <a:gd name="connsiteY14" fmla="*/ 210171 h 409575"/>
                  <a:gd name="connsiteX15" fmla="*/ 158155 w 514350"/>
                  <a:gd name="connsiteY15" fmla="*/ 176834 h 409575"/>
                  <a:gd name="connsiteX16" fmla="*/ 124817 w 514350"/>
                  <a:gd name="connsiteY16" fmla="*/ 143496 h 409575"/>
                  <a:gd name="connsiteX17" fmla="*/ 258167 w 514350"/>
                  <a:gd name="connsiteY17" fmla="*/ 143496 h 409575"/>
                  <a:gd name="connsiteX18" fmla="*/ 224830 w 514350"/>
                  <a:gd name="connsiteY18" fmla="*/ 176834 h 409575"/>
                  <a:gd name="connsiteX19" fmla="*/ 258167 w 514350"/>
                  <a:gd name="connsiteY19" fmla="*/ 210171 h 409575"/>
                  <a:gd name="connsiteX20" fmla="*/ 291505 w 514350"/>
                  <a:gd name="connsiteY20" fmla="*/ 176834 h 409575"/>
                  <a:gd name="connsiteX21" fmla="*/ 258167 w 514350"/>
                  <a:gd name="connsiteY21" fmla="*/ 143496 h 409575"/>
                  <a:gd name="connsiteX22" fmla="*/ 391517 w 514350"/>
                  <a:gd name="connsiteY22" fmla="*/ 143496 h 409575"/>
                  <a:gd name="connsiteX23" fmla="*/ 358180 w 514350"/>
                  <a:gd name="connsiteY23" fmla="*/ 176834 h 409575"/>
                  <a:gd name="connsiteX24" fmla="*/ 391517 w 514350"/>
                  <a:gd name="connsiteY24" fmla="*/ 210171 h 409575"/>
                  <a:gd name="connsiteX25" fmla="*/ 424855 w 514350"/>
                  <a:gd name="connsiteY25" fmla="*/ 176834 h 409575"/>
                  <a:gd name="connsiteX26" fmla="*/ 391517 w 514350"/>
                  <a:gd name="connsiteY26" fmla="*/ 143496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6767" y="621"/>
                    </a:moveTo>
                    <a:cubicBezTo>
                      <a:pt x="502579" y="621"/>
                      <a:pt x="515342" y="13385"/>
                      <a:pt x="515342" y="29196"/>
                    </a:cubicBezTo>
                    <a:lnTo>
                      <a:pt x="515342" y="324471"/>
                    </a:lnTo>
                    <a:cubicBezTo>
                      <a:pt x="515342" y="340282"/>
                      <a:pt x="502579" y="353046"/>
                      <a:pt x="486767" y="353046"/>
                    </a:cubicBezTo>
                    <a:lnTo>
                      <a:pt x="192159" y="353046"/>
                    </a:lnTo>
                    <a:lnTo>
                      <a:pt x="115387" y="410196"/>
                    </a:lnTo>
                    <a:lnTo>
                      <a:pt x="115387" y="353046"/>
                    </a:lnTo>
                    <a:lnTo>
                      <a:pt x="29567" y="353046"/>
                    </a:lnTo>
                    <a:cubicBezTo>
                      <a:pt x="13755" y="353046"/>
                      <a:pt x="992" y="340282"/>
                      <a:pt x="992" y="324471"/>
                    </a:cubicBezTo>
                    <a:lnTo>
                      <a:pt x="992" y="29196"/>
                    </a:lnTo>
                    <a:cubicBezTo>
                      <a:pt x="992" y="13385"/>
                      <a:pt x="13755" y="621"/>
                      <a:pt x="29567" y="621"/>
                    </a:cubicBezTo>
                    <a:lnTo>
                      <a:pt x="486767" y="621"/>
                    </a:lnTo>
                    <a:close/>
                    <a:moveTo>
                      <a:pt x="124817" y="143496"/>
                    </a:moveTo>
                    <a:cubicBezTo>
                      <a:pt x="106434" y="143496"/>
                      <a:pt x="91480" y="158450"/>
                      <a:pt x="91480" y="176834"/>
                    </a:cubicBezTo>
                    <a:cubicBezTo>
                      <a:pt x="91480" y="195217"/>
                      <a:pt x="106434" y="210171"/>
                      <a:pt x="124817" y="210171"/>
                    </a:cubicBezTo>
                    <a:cubicBezTo>
                      <a:pt x="143200" y="210171"/>
                      <a:pt x="158155" y="195217"/>
                      <a:pt x="158155" y="176834"/>
                    </a:cubicBezTo>
                    <a:cubicBezTo>
                      <a:pt x="158155" y="158450"/>
                      <a:pt x="143200" y="143496"/>
                      <a:pt x="124817" y="143496"/>
                    </a:cubicBezTo>
                    <a:close/>
                    <a:moveTo>
                      <a:pt x="258167" y="143496"/>
                    </a:moveTo>
                    <a:cubicBezTo>
                      <a:pt x="239784" y="143496"/>
                      <a:pt x="224830" y="158450"/>
                      <a:pt x="224830" y="176834"/>
                    </a:cubicBezTo>
                    <a:cubicBezTo>
                      <a:pt x="224830" y="195217"/>
                      <a:pt x="239784" y="210171"/>
                      <a:pt x="258167" y="210171"/>
                    </a:cubicBezTo>
                    <a:cubicBezTo>
                      <a:pt x="276550" y="210171"/>
                      <a:pt x="291505" y="195217"/>
                      <a:pt x="291505" y="176834"/>
                    </a:cubicBezTo>
                    <a:cubicBezTo>
                      <a:pt x="291505" y="158450"/>
                      <a:pt x="276550" y="143496"/>
                      <a:pt x="258167" y="143496"/>
                    </a:cubicBezTo>
                    <a:close/>
                    <a:moveTo>
                      <a:pt x="391517" y="143496"/>
                    </a:moveTo>
                    <a:cubicBezTo>
                      <a:pt x="373134" y="143496"/>
                      <a:pt x="358180" y="158450"/>
                      <a:pt x="358180" y="176834"/>
                    </a:cubicBezTo>
                    <a:cubicBezTo>
                      <a:pt x="358180" y="195217"/>
                      <a:pt x="373134" y="210171"/>
                      <a:pt x="391517" y="210171"/>
                    </a:cubicBezTo>
                    <a:cubicBezTo>
                      <a:pt x="409900" y="210171"/>
                      <a:pt x="424855" y="195217"/>
                      <a:pt x="424855" y="176834"/>
                    </a:cubicBezTo>
                    <a:cubicBezTo>
                      <a:pt x="424855" y="158450"/>
                      <a:pt x="409900" y="143496"/>
                      <a:pt x="391517" y="14349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3E100E5B-D267-CD44-9BFC-6F071963291C}"/>
                </a:ext>
              </a:extLst>
            </p:cNvPr>
            <p:cNvGrpSpPr/>
            <p:nvPr/>
          </p:nvGrpSpPr>
          <p:grpSpPr>
            <a:xfrm>
              <a:off x="7541697" y="2981552"/>
              <a:ext cx="444222" cy="444220"/>
              <a:chOff x="4576001" y="5295240"/>
              <a:chExt cx="444222" cy="444220"/>
            </a:xfrm>
          </p:grpSpPr>
          <p:sp>
            <p:nvSpPr>
              <p:cNvPr id="22" name="椭圆 21">
                <a:extLst>
                  <a:ext uri="{FF2B5EF4-FFF2-40B4-BE49-F238E27FC236}">
                    <a16:creationId xmlns:a16="http://schemas.microsoft.com/office/drawing/2014/main" id="{3B1893A6-C47A-0A45-9F7B-14EA70E4B581}"/>
                  </a:ext>
                </a:extLst>
              </p:cNvPr>
              <p:cNvSpPr/>
              <p:nvPr/>
            </p:nvSpPr>
            <p:spPr>
              <a:xfrm>
                <a:off x="4576001" y="5295240"/>
                <a:ext cx="444222" cy="444220"/>
              </a:xfrm>
              <a:prstGeom prst="ellipse">
                <a:avLst/>
              </a:prstGeom>
              <a:solidFill>
                <a:schemeClr val="accent6"/>
              </a:solidFill>
              <a:ln w="12700" cap="rnd">
                <a:noFill/>
                <a:prstDash val="solid"/>
                <a:round/>
                <a:headEnd/>
                <a:tailEnd/>
              </a:ln>
              <a:effectLst>
                <a:outerShdw sx="1000" sy="1000" algn="ctr" rotWithShape="0">
                  <a:schemeClr val="accent6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任意多边形 33">
                <a:extLst>
                  <a:ext uri="{FF2B5EF4-FFF2-40B4-BE49-F238E27FC236}">
                    <a16:creationId xmlns:a16="http://schemas.microsoft.com/office/drawing/2014/main" id="{376FE531-6F54-4C48-A1AC-FD04874A552C}"/>
                  </a:ext>
                </a:extLst>
              </p:cNvPr>
              <p:cNvSpPr/>
              <p:nvPr/>
            </p:nvSpPr>
            <p:spPr bwMode="auto">
              <a:xfrm>
                <a:off x="4730235" y="5414569"/>
                <a:ext cx="168853" cy="205561"/>
              </a:xfrm>
              <a:custGeom>
                <a:avLst/>
                <a:gdLst>
                  <a:gd name="connsiteX0" fmla="*/ 283816 w 438150"/>
                  <a:gd name="connsiteY0" fmla="*/ 621 h 533400"/>
                  <a:gd name="connsiteX1" fmla="*/ 286102 w 438150"/>
                  <a:gd name="connsiteY1" fmla="*/ 716 h 533400"/>
                  <a:gd name="connsiteX2" fmla="*/ 286102 w 438150"/>
                  <a:gd name="connsiteY2" fmla="*/ 124446 h 533400"/>
                  <a:gd name="connsiteX3" fmla="*/ 286197 w 438150"/>
                  <a:gd name="connsiteY3" fmla="*/ 126160 h 533400"/>
                  <a:gd name="connsiteX4" fmla="*/ 314677 w 438150"/>
                  <a:gd name="connsiteY4" fmla="*/ 153021 h 533400"/>
                  <a:gd name="connsiteX5" fmla="*/ 314677 w 438150"/>
                  <a:gd name="connsiteY5" fmla="*/ 153021 h 533400"/>
                  <a:gd name="connsiteX6" fmla="*/ 438407 w 438150"/>
                  <a:gd name="connsiteY6" fmla="*/ 153021 h 533400"/>
                  <a:gd name="connsiteX7" fmla="*/ 438502 w 438150"/>
                  <a:gd name="connsiteY7" fmla="*/ 155307 h 533400"/>
                  <a:gd name="connsiteX8" fmla="*/ 438502 w 438150"/>
                  <a:gd name="connsiteY8" fmla="*/ 505446 h 533400"/>
                  <a:gd name="connsiteX9" fmla="*/ 409927 w 438150"/>
                  <a:gd name="connsiteY9" fmla="*/ 534021 h 533400"/>
                  <a:gd name="connsiteX10" fmla="*/ 28927 w 438150"/>
                  <a:gd name="connsiteY10" fmla="*/ 534021 h 533400"/>
                  <a:gd name="connsiteX11" fmla="*/ 352 w 438150"/>
                  <a:gd name="connsiteY11" fmla="*/ 505446 h 533400"/>
                  <a:gd name="connsiteX12" fmla="*/ 352 w 438150"/>
                  <a:gd name="connsiteY12" fmla="*/ 29196 h 533400"/>
                  <a:gd name="connsiteX13" fmla="*/ 28927 w 438150"/>
                  <a:gd name="connsiteY13" fmla="*/ 621 h 533400"/>
                  <a:gd name="connsiteX14" fmla="*/ 283816 w 438150"/>
                  <a:gd name="connsiteY14" fmla="*/ 621 h 533400"/>
                  <a:gd name="connsiteX15" fmla="*/ 248002 w 438150"/>
                  <a:gd name="connsiteY15" fmla="*/ 200646 h 533400"/>
                  <a:gd name="connsiteX16" fmla="*/ 152752 w 438150"/>
                  <a:gd name="connsiteY16" fmla="*/ 200646 h 533400"/>
                  <a:gd name="connsiteX17" fmla="*/ 152752 w 438150"/>
                  <a:gd name="connsiteY17" fmla="*/ 410196 h 533400"/>
                  <a:gd name="connsiteX18" fmla="*/ 171802 w 438150"/>
                  <a:gd name="connsiteY18" fmla="*/ 410196 h 533400"/>
                  <a:gd name="connsiteX19" fmla="*/ 171802 w 438150"/>
                  <a:gd name="connsiteY19" fmla="*/ 314946 h 533400"/>
                  <a:gd name="connsiteX20" fmla="*/ 248002 w 438150"/>
                  <a:gd name="connsiteY20" fmla="*/ 314946 h 533400"/>
                  <a:gd name="connsiteX21" fmla="*/ 250098 w 438150"/>
                  <a:gd name="connsiteY21" fmla="*/ 314946 h 533400"/>
                  <a:gd name="connsiteX22" fmla="*/ 305152 w 438150"/>
                  <a:gd name="connsiteY22" fmla="*/ 257796 h 533400"/>
                  <a:gd name="connsiteX23" fmla="*/ 248002 w 438150"/>
                  <a:gd name="connsiteY23" fmla="*/ 200646 h 533400"/>
                  <a:gd name="connsiteX24" fmla="*/ 248002 w 438150"/>
                  <a:gd name="connsiteY24" fmla="*/ 200646 h 533400"/>
                  <a:gd name="connsiteX25" fmla="*/ 248002 w 438150"/>
                  <a:gd name="connsiteY25" fmla="*/ 219696 h 533400"/>
                  <a:gd name="connsiteX26" fmla="*/ 286102 w 438150"/>
                  <a:gd name="connsiteY26" fmla="*/ 257796 h 533400"/>
                  <a:gd name="connsiteX27" fmla="*/ 248002 w 438150"/>
                  <a:gd name="connsiteY27" fmla="*/ 295896 h 533400"/>
                  <a:gd name="connsiteX28" fmla="*/ 248002 w 438150"/>
                  <a:gd name="connsiteY28" fmla="*/ 295896 h 533400"/>
                  <a:gd name="connsiteX29" fmla="*/ 171802 w 438150"/>
                  <a:gd name="connsiteY29" fmla="*/ 295896 h 533400"/>
                  <a:gd name="connsiteX30" fmla="*/ 171802 w 438150"/>
                  <a:gd name="connsiteY30" fmla="*/ 219696 h 533400"/>
                  <a:gd name="connsiteX31" fmla="*/ 248002 w 438150"/>
                  <a:gd name="connsiteY31" fmla="*/ 219696 h 533400"/>
                  <a:gd name="connsiteX32" fmla="*/ 428977 w 438150"/>
                  <a:gd name="connsiteY32" fmla="*/ 133971 h 533400"/>
                  <a:gd name="connsiteX33" fmla="*/ 314677 w 438150"/>
                  <a:gd name="connsiteY33" fmla="*/ 133971 h 533400"/>
                  <a:gd name="connsiteX34" fmla="*/ 313534 w 438150"/>
                  <a:gd name="connsiteY34" fmla="*/ 133876 h 533400"/>
                  <a:gd name="connsiteX35" fmla="*/ 305152 w 438150"/>
                  <a:gd name="connsiteY35" fmla="*/ 124446 h 533400"/>
                  <a:gd name="connsiteX36" fmla="*/ 305152 w 438150"/>
                  <a:gd name="connsiteY36" fmla="*/ 124446 h 533400"/>
                  <a:gd name="connsiteX37" fmla="*/ 305152 w 438150"/>
                  <a:gd name="connsiteY37" fmla="*/ 10146 h 533400"/>
                  <a:gd name="connsiteX38" fmla="*/ 428977 w 438150"/>
                  <a:gd name="connsiteY38" fmla="*/ 133971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8150" h="533400">
                    <a:moveTo>
                      <a:pt x="283816" y="621"/>
                    </a:moveTo>
                    <a:cubicBezTo>
                      <a:pt x="284578" y="621"/>
                      <a:pt x="285340" y="621"/>
                      <a:pt x="286102" y="716"/>
                    </a:cubicBezTo>
                    <a:lnTo>
                      <a:pt x="286102" y="124446"/>
                    </a:lnTo>
                    <a:lnTo>
                      <a:pt x="286197" y="126160"/>
                    </a:lnTo>
                    <a:cubicBezTo>
                      <a:pt x="287055" y="141115"/>
                      <a:pt x="299532" y="153021"/>
                      <a:pt x="314677" y="153021"/>
                    </a:cubicBezTo>
                    <a:lnTo>
                      <a:pt x="314677" y="153021"/>
                    </a:lnTo>
                    <a:lnTo>
                      <a:pt x="438407" y="153021"/>
                    </a:lnTo>
                    <a:cubicBezTo>
                      <a:pt x="438502" y="153783"/>
                      <a:pt x="438502" y="154545"/>
                      <a:pt x="438502" y="155307"/>
                    </a:cubicBezTo>
                    <a:lnTo>
                      <a:pt x="438502" y="505446"/>
                    </a:lnTo>
                    <a:cubicBezTo>
                      <a:pt x="438502" y="521257"/>
                      <a:pt x="425739" y="534021"/>
                      <a:pt x="409927" y="534021"/>
                    </a:cubicBezTo>
                    <a:lnTo>
                      <a:pt x="28927" y="534021"/>
                    </a:lnTo>
                    <a:cubicBezTo>
                      <a:pt x="13115" y="534021"/>
                      <a:pt x="352" y="521257"/>
                      <a:pt x="352" y="505446"/>
                    </a:cubicBezTo>
                    <a:lnTo>
                      <a:pt x="352" y="29196"/>
                    </a:lnTo>
                    <a:cubicBezTo>
                      <a:pt x="352" y="13385"/>
                      <a:pt x="13115" y="621"/>
                      <a:pt x="28927" y="621"/>
                    </a:cubicBezTo>
                    <a:lnTo>
                      <a:pt x="283816" y="621"/>
                    </a:lnTo>
                    <a:close/>
                    <a:moveTo>
                      <a:pt x="248002" y="200646"/>
                    </a:moveTo>
                    <a:lnTo>
                      <a:pt x="152752" y="200646"/>
                    </a:lnTo>
                    <a:lnTo>
                      <a:pt x="152752" y="410196"/>
                    </a:lnTo>
                    <a:lnTo>
                      <a:pt x="171802" y="410196"/>
                    </a:lnTo>
                    <a:lnTo>
                      <a:pt x="171802" y="314946"/>
                    </a:lnTo>
                    <a:lnTo>
                      <a:pt x="248002" y="314946"/>
                    </a:lnTo>
                    <a:lnTo>
                      <a:pt x="250098" y="314946"/>
                    </a:lnTo>
                    <a:cubicBezTo>
                      <a:pt x="280673" y="313803"/>
                      <a:pt x="305152" y="288657"/>
                      <a:pt x="305152" y="257796"/>
                    </a:cubicBezTo>
                    <a:cubicBezTo>
                      <a:pt x="305152" y="226268"/>
                      <a:pt x="279530" y="200646"/>
                      <a:pt x="248002" y="200646"/>
                    </a:cubicBezTo>
                    <a:lnTo>
                      <a:pt x="248002" y="200646"/>
                    </a:lnTo>
                    <a:close/>
                    <a:moveTo>
                      <a:pt x="248002" y="219696"/>
                    </a:moveTo>
                    <a:cubicBezTo>
                      <a:pt x="269052" y="219696"/>
                      <a:pt x="286102" y="236746"/>
                      <a:pt x="286102" y="257796"/>
                    </a:cubicBezTo>
                    <a:cubicBezTo>
                      <a:pt x="286102" y="278846"/>
                      <a:pt x="269052" y="295896"/>
                      <a:pt x="248002" y="295896"/>
                    </a:cubicBezTo>
                    <a:lnTo>
                      <a:pt x="248002" y="295896"/>
                    </a:lnTo>
                    <a:lnTo>
                      <a:pt x="171802" y="295896"/>
                    </a:lnTo>
                    <a:lnTo>
                      <a:pt x="171802" y="219696"/>
                    </a:lnTo>
                    <a:lnTo>
                      <a:pt x="248002" y="219696"/>
                    </a:lnTo>
                    <a:close/>
                    <a:moveTo>
                      <a:pt x="428977" y="133971"/>
                    </a:moveTo>
                    <a:lnTo>
                      <a:pt x="314677" y="133971"/>
                    </a:lnTo>
                    <a:lnTo>
                      <a:pt x="313534" y="133876"/>
                    </a:lnTo>
                    <a:cubicBezTo>
                      <a:pt x="308772" y="133304"/>
                      <a:pt x="305152" y="129304"/>
                      <a:pt x="305152" y="124446"/>
                    </a:cubicBezTo>
                    <a:lnTo>
                      <a:pt x="305152" y="124446"/>
                    </a:lnTo>
                    <a:lnTo>
                      <a:pt x="305152" y="10146"/>
                    </a:lnTo>
                    <a:lnTo>
                      <a:pt x="428977" y="13397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7090F17E-BA62-8A4F-97D0-4D92636E837B}"/>
                </a:ext>
              </a:extLst>
            </p:cNvPr>
            <p:cNvGrpSpPr/>
            <p:nvPr/>
          </p:nvGrpSpPr>
          <p:grpSpPr>
            <a:xfrm>
              <a:off x="4039583" y="2981551"/>
              <a:ext cx="4910882" cy="1575895"/>
              <a:chOff x="4039583" y="3218649"/>
              <a:chExt cx="4910882" cy="1575895"/>
            </a:xfrm>
          </p:grpSpPr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E9DF6744-B737-494B-A25F-7D3F879A08FE}"/>
                  </a:ext>
                </a:extLst>
              </p:cNvPr>
              <p:cNvSpPr txBox="1"/>
              <p:nvPr/>
            </p:nvSpPr>
            <p:spPr>
              <a:xfrm>
                <a:off x="6991152" y="3871214"/>
                <a:ext cx="1959313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b="1" dirty="0"/>
                  <a:t>接口内部重试</a:t>
                </a:r>
                <a:r>
                  <a:rPr lang="en-US" altLang="zh-CN" b="1" dirty="0"/>
                  <a:t>,</a:t>
                </a:r>
              </a:p>
              <a:p>
                <a:r>
                  <a:rPr lang="zh-CN" altLang="en-US" b="1" dirty="0"/>
                  <a:t>最终为成功态</a:t>
                </a:r>
                <a:r>
                  <a:rPr lang="en-US" altLang="zh-CN" b="1" dirty="0"/>
                  <a:t>,</a:t>
                </a:r>
              </a:p>
              <a:p>
                <a:r>
                  <a:rPr lang="zh-CN" altLang="en-US" b="1" dirty="0"/>
                  <a:t>为什么存在报警</a:t>
                </a:r>
                <a:r>
                  <a:rPr lang="en-US" altLang="zh-CN" b="1" dirty="0"/>
                  <a:t>?</a:t>
                </a:r>
              </a:p>
            </p:txBody>
          </p:sp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49B27B6A-F455-E84C-ADA1-AE51BBD387D3}"/>
                  </a:ext>
                </a:extLst>
              </p:cNvPr>
              <p:cNvGrpSpPr/>
              <p:nvPr/>
            </p:nvGrpSpPr>
            <p:grpSpPr>
              <a:xfrm>
                <a:off x="4039583" y="3218649"/>
                <a:ext cx="444222" cy="444220"/>
                <a:chOff x="5265959" y="5707555"/>
                <a:chExt cx="444222" cy="444220"/>
              </a:xfrm>
            </p:grpSpPr>
            <p:sp>
              <p:nvSpPr>
                <p:cNvPr id="17" name="椭圆 16">
                  <a:extLst>
                    <a:ext uri="{FF2B5EF4-FFF2-40B4-BE49-F238E27FC236}">
                      <a16:creationId xmlns:a16="http://schemas.microsoft.com/office/drawing/2014/main" id="{D2824D99-52C4-274C-AF08-CA1D6990ED41}"/>
                    </a:ext>
                  </a:extLst>
                </p:cNvPr>
                <p:cNvSpPr/>
                <p:nvPr/>
              </p:nvSpPr>
              <p:spPr>
                <a:xfrm>
                  <a:off x="5265959" y="5707555"/>
                  <a:ext cx="444222" cy="444220"/>
                </a:xfrm>
                <a:prstGeom prst="ellipse">
                  <a:avLst/>
                </a:prstGeom>
                <a:solidFill>
                  <a:schemeClr val="accent5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>
                  <a:outerShdw sx="1000" sy="1000" algn="ctr" rotWithShape="0">
                    <a:schemeClr val="accent5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dirty="0">
                    <a:solidFill>
                      <a:schemeClr val="accent5"/>
                    </a:solidFill>
                  </a:endParaRPr>
                </a:p>
              </p:txBody>
            </p:sp>
            <p:sp>
              <p:nvSpPr>
                <p:cNvPr id="18" name="任意多边形 7">
                  <a:extLst>
                    <a:ext uri="{FF2B5EF4-FFF2-40B4-BE49-F238E27FC236}">
                      <a16:creationId xmlns:a16="http://schemas.microsoft.com/office/drawing/2014/main" id="{610D9D54-9BBB-C549-9FD8-670E0A145AD4}"/>
                    </a:ext>
                  </a:extLst>
                </p:cNvPr>
                <p:cNvSpPr/>
                <p:nvPr/>
              </p:nvSpPr>
              <p:spPr bwMode="auto">
                <a:xfrm>
                  <a:off x="5390623" y="5827201"/>
                  <a:ext cx="194894" cy="209581"/>
                </a:xfrm>
                <a:custGeom>
                  <a:avLst/>
                  <a:gdLst>
                    <a:gd name="connsiteX0" fmla="*/ 8774 w 487162"/>
                    <a:gd name="connsiteY0" fmla="*/ 514114 h 523875"/>
                    <a:gd name="connsiteX1" fmla="*/ 8203 w 487162"/>
                    <a:gd name="connsiteY1" fmla="*/ 513447 h 523875"/>
                    <a:gd name="connsiteX2" fmla="*/ 8203 w 487162"/>
                    <a:gd name="connsiteY2" fmla="*/ 513447 h 523875"/>
                    <a:gd name="connsiteX3" fmla="*/ 7727 w 487162"/>
                    <a:gd name="connsiteY3" fmla="*/ 512780 h 523875"/>
                    <a:gd name="connsiteX4" fmla="*/ 5726 w 487162"/>
                    <a:gd name="connsiteY4" fmla="*/ 509732 h 523875"/>
                    <a:gd name="connsiteX5" fmla="*/ 5726 w 487162"/>
                    <a:gd name="connsiteY5" fmla="*/ 509732 h 523875"/>
                    <a:gd name="connsiteX6" fmla="*/ 5250 w 487162"/>
                    <a:gd name="connsiteY6" fmla="*/ 508970 h 523875"/>
                    <a:gd name="connsiteX7" fmla="*/ 4488 w 487162"/>
                    <a:gd name="connsiteY7" fmla="*/ 507446 h 523875"/>
                    <a:gd name="connsiteX8" fmla="*/ 3821 w 487162"/>
                    <a:gd name="connsiteY8" fmla="*/ 505827 h 523875"/>
                    <a:gd name="connsiteX9" fmla="*/ 3726 w 487162"/>
                    <a:gd name="connsiteY9" fmla="*/ 505637 h 523875"/>
                    <a:gd name="connsiteX10" fmla="*/ 3631 w 487162"/>
                    <a:gd name="connsiteY10" fmla="*/ 505351 h 523875"/>
                    <a:gd name="connsiteX11" fmla="*/ 3631 w 487162"/>
                    <a:gd name="connsiteY11" fmla="*/ 505160 h 523875"/>
                    <a:gd name="connsiteX12" fmla="*/ 2964 w 487162"/>
                    <a:gd name="connsiteY12" fmla="*/ 503160 h 523875"/>
                    <a:gd name="connsiteX13" fmla="*/ 2583 w 487162"/>
                    <a:gd name="connsiteY13" fmla="*/ 501826 h 523875"/>
                    <a:gd name="connsiteX14" fmla="*/ 2107 w 487162"/>
                    <a:gd name="connsiteY14" fmla="*/ 499921 h 523875"/>
                    <a:gd name="connsiteX15" fmla="*/ 1250 w 487162"/>
                    <a:gd name="connsiteY15" fmla="*/ 495635 h 523875"/>
                    <a:gd name="connsiteX16" fmla="*/ 964 w 487162"/>
                    <a:gd name="connsiteY16" fmla="*/ 493159 h 523875"/>
                    <a:gd name="connsiteX17" fmla="*/ 773 w 487162"/>
                    <a:gd name="connsiteY17" fmla="*/ 486587 h 523875"/>
                    <a:gd name="connsiteX18" fmla="*/ 5345 w 487162"/>
                    <a:gd name="connsiteY18" fmla="*/ 468298 h 523875"/>
                    <a:gd name="connsiteX19" fmla="*/ 154983 w 487162"/>
                    <a:gd name="connsiteY19" fmla="*/ 151592 h 523875"/>
                    <a:gd name="connsiteX20" fmla="*/ 158603 w 487162"/>
                    <a:gd name="connsiteY20" fmla="*/ 135305 h 523875"/>
                    <a:gd name="connsiteX21" fmla="*/ 158603 w 487162"/>
                    <a:gd name="connsiteY21" fmla="*/ 19671 h 523875"/>
                    <a:gd name="connsiteX22" fmla="*/ 120503 w 487162"/>
                    <a:gd name="connsiteY22" fmla="*/ 19671 h 523875"/>
                    <a:gd name="connsiteX23" fmla="*/ 120503 w 487162"/>
                    <a:gd name="connsiteY23" fmla="*/ 621 h 523875"/>
                    <a:gd name="connsiteX24" fmla="*/ 368153 w 487162"/>
                    <a:gd name="connsiteY24" fmla="*/ 621 h 523875"/>
                    <a:gd name="connsiteX25" fmla="*/ 368153 w 487162"/>
                    <a:gd name="connsiteY25" fmla="*/ 19671 h 523875"/>
                    <a:gd name="connsiteX26" fmla="*/ 330053 w 487162"/>
                    <a:gd name="connsiteY26" fmla="*/ 19671 h 523875"/>
                    <a:gd name="connsiteX27" fmla="*/ 330053 w 487162"/>
                    <a:gd name="connsiteY27" fmla="*/ 135305 h 523875"/>
                    <a:gd name="connsiteX28" fmla="*/ 333672 w 487162"/>
                    <a:gd name="connsiteY28" fmla="*/ 151592 h 523875"/>
                    <a:gd name="connsiteX29" fmla="*/ 483310 w 487162"/>
                    <a:gd name="connsiteY29" fmla="*/ 468298 h 523875"/>
                    <a:gd name="connsiteX30" fmla="*/ 484834 w 487162"/>
                    <a:gd name="connsiteY30" fmla="*/ 505541 h 523875"/>
                    <a:gd name="connsiteX31" fmla="*/ 484739 w 487162"/>
                    <a:gd name="connsiteY31" fmla="*/ 505732 h 523875"/>
                    <a:gd name="connsiteX32" fmla="*/ 484167 w 487162"/>
                    <a:gd name="connsiteY32" fmla="*/ 507160 h 523875"/>
                    <a:gd name="connsiteX33" fmla="*/ 459307 w 487162"/>
                    <a:gd name="connsiteY33" fmla="*/ 524401 h 523875"/>
                    <a:gd name="connsiteX34" fmla="*/ 457497 w 487162"/>
                    <a:gd name="connsiteY34" fmla="*/ 524496 h 523875"/>
                    <a:gd name="connsiteX35" fmla="*/ 31253 w 487162"/>
                    <a:gd name="connsiteY35" fmla="*/ 524496 h 523875"/>
                    <a:gd name="connsiteX36" fmla="*/ 29444 w 487162"/>
                    <a:gd name="connsiteY36" fmla="*/ 524401 h 523875"/>
                    <a:gd name="connsiteX37" fmla="*/ 26967 w 487162"/>
                    <a:gd name="connsiteY37" fmla="*/ 524115 h 523875"/>
                    <a:gd name="connsiteX38" fmla="*/ 23157 w 487162"/>
                    <a:gd name="connsiteY38" fmla="*/ 523258 h 523875"/>
                    <a:gd name="connsiteX39" fmla="*/ 23157 w 487162"/>
                    <a:gd name="connsiteY39" fmla="*/ 523258 h 523875"/>
                    <a:gd name="connsiteX40" fmla="*/ 17633 w 487162"/>
                    <a:gd name="connsiteY40" fmla="*/ 520972 h 523875"/>
                    <a:gd name="connsiteX41" fmla="*/ 16204 w 487162"/>
                    <a:gd name="connsiteY41" fmla="*/ 520210 h 523875"/>
                    <a:gd name="connsiteX42" fmla="*/ 15251 w 487162"/>
                    <a:gd name="connsiteY42" fmla="*/ 519638 h 523875"/>
                    <a:gd name="connsiteX43" fmla="*/ 10298 w 487162"/>
                    <a:gd name="connsiteY43" fmla="*/ 515542 h 523875"/>
                    <a:gd name="connsiteX44" fmla="*/ 8774 w 487162"/>
                    <a:gd name="connsiteY44" fmla="*/ 514114 h 523875"/>
                    <a:gd name="connsiteX45" fmla="*/ 8774 w 487162"/>
                    <a:gd name="connsiteY45" fmla="*/ 514114 h 523875"/>
                    <a:gd name="connsiteX46" fmla="*/ 255377 w 487162"/>
                    <a:gd name="connsiteY46" fmla="*/ 404767 h 523875"/>
                    <a:gd name="connsiteX47" fmla="*/ 252519 w 487162"/>
                    <a:gd name="connsiteY47" fmla="*/ 406576 h 523875"/>
                    <a:gd name="connsiteX48" fmla="*/ 246995 w 487162"/>
                    <a:gd name="connsiteY48" fmla="*/ 410291 h 523875"/>
                    <a:gd name="connsiteX49" fmla="*/ 55161 w 487162"/>
                    <a:gd name="connsiteY49" fmla="*/ 416864 h 523875"/>
                    <a:gd name="connsiteX50" fmla="*/ 51351 w 487162"/>
                    <a:gd name="connsiteY50" fmla="*/ 415339 h 523875"/>
                    <a:gd name="connsiteX51" fmla="*/ 22490 w 487162"/>
                    <a:gd name="connsiteY51" fmla="*/ 476395 h 523875"/>
                    <a:gd name="connsiteX52" fmla="*/ 21633 w 487162"/>
                    <a:gd name="connsiteY52" fmla="*/ 478300 h 523875"/>
                    <a:gd name="connsiteX53" fmla="*/ 21538 w 487162"/>
                    <a:gd name="connsiteY53" fmla="*/ 498778 h 523875"/>
                    <a:gd name="connsiteX54" fmla="*/ 28681 w 487162"/>
                    <a:gd name="connsiteY54" fmla="*/ 505065 h 523875"/>
                    <a:gd name="connsiteX55" fmla="*/ 29920 w 487162"/>
                    <a:gd name="connsiteY55" fmla="*/ 505255 h 523875"/>
                    <a:gd name="connsiteX56" fmla="*/ 31063 w 487162"/>
                    <a:gd name="connsiteY56" fmla="*/ 505351 h 523875"/>
                    <a:gd name="connsiteX57" fmla="*/ 457306 w 487162"/>
                    <a:gd name="connsiteY57" fmla="*/ 505351 h 523875"/>
                    <a:gd name="connsiteX58" fmla="*/ 458450 w 487162"/>
                    <a:gd name="connsiteY58" fmla="*/ 505255 h 523875"/>
                    <a:gd name="connsiteX59" fmla="*/ 466831 w 487162"/>
                    <a:gd name="connsiteY59" fmla="*/ 498683 h 523875"/>
                    <a:gd name="connsiteX60" fmla="*/ 467403 w 487162"/>
                    <a:gd name="connsiteY60" fmla="*/ 480205 h 523875"/>
                    <a:gd name="connsiteX61" fmla="*/ 466736 w 487162"/>
                    <a:gd name="connsiteY61" fmla="*/ 478205 h 523875"/>
                    <a:gd name="connsiteX62" fmla="*/ 465879 w 487162"/>
                    <a:gd name="connsiteY62" fmla="*/ 476300 h 523875"/>
                    <a:gd name="connsiteX63" fmla="*/ 424255 w 487162"/>
                    <a:gd name="connsiteY63" fmla="*/ 388098 h 523875"/>
                    <a:gd name="connsiteX64" fmla="*/ 255377 w 487162"/>
                    <a:gd name="connsiteY64" fmla="*/ 404767 h 523875"/>
                    <a:gd name="connsiteX65" fmla="*/ 306240 w 487162"/>
                    <a:gd name="connsiteY65" fmla="*/ 257796 h 523875"/>
                    <a:gd name="connsiteX66" fmla="*/ 272903 w 487162"/>
                    <a:gd name="connsiteY66" fmla="*/ 291134 h 523875"/>
                    <a:gd name="connsiteX67" fmla="*/ 306240 w 487162"/>
                    <a:gd name="connsiteY67" fmla="*/ 324471 h 523875"/>
                    <a:gd name="connsiteX68" fmla="*/ 339578 w 487162"/>
                    <a:gd name="connsiteY68" fmla="*/ 291134 h 523875"/>
                    <a:gd name="connsiteX69" fmla="*/ 306240 w 487162"/>
                    <a:gd name="connsiteY69" fmla="*/ 257796 h 523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487162" h="523875">
                      <a:moveTo>
                        <a:pt x="8774" y="514114"/>
                      </a:moveTo>
                      <a:lnTo>
                        <a:pt x="8203" y="513447"/>
                      </a:lnTo>
                      <a:lnTo>
                        <a:pt x="8203" y="513447"/>
                      </a:lnTo>
                      <a:lnTo>
                        <a:pt x="7727" y="512780"/>
                      </a:lnTo>
                      <a:cubicBezTo>
                        <a:pt x="6964" y="511828"/>
                        <a:pt x="6393" y="510780"/>
                        <a:pt x="5726" y="509732"/>
                      </a:cubicBezTo>
                      <a:lnTo>
                        <a:pt x="5726" y="509732"/>
                      </a:lnTo>
                      <a:lnTo>
                        <a:pt x="5250" y="508970"/>
                      </a:lnTo>
                      <a:lnTo>
                        <a:pt x="4488" y="507446"/>
                      </a:lnTo>
                      <a:lnTo>
                        <a:pt x="3821" y="505827"/>
                      </a:lnTo>
                      <a:lnTo>
                        <a:pt x="3726" y="505637"/>
                      </a:lnTo>
                      <a:lnTo>
                        <a:pt x="3631" y="505351"/>
                      </a:lnTo>
                      <a:lnTo>
                        <a:pt x="3631" y="505160"/>
                      </a:lnTo>
                      <a:lnTo>
                        <a:pt x="2964" y="503160"/>
                      </a:lnTo>
                      <a:cubicBezTo>
                        <a:pt x="2869" y="502684"/>
                        <a:pt x="2678" y="502303"/>
                        <a:pt x="2583" y="501826"/>
                      </a:cubicBezTo>
                      <a:cubicBezTo>
                        <a:pt x="2393" y="501160"/>
                        <a:pt x="2202" y="500588"/>
                        <a:pt x="2107" y="499921"/>
                      </a:cubicBezTo>
                      <a:cubicBezTo>
                        <a:pt x="1726" y="498493"/>
                        <a:pt x="1535" y="497064"/>
                        <a:pt x="1250" y="495635"/>
                      </a:cubicBezTo>
                      <a:lnTo>
                        <a:pt x="964" y="493159"/>
                      </a:lnTo>
                      <a:cubicBezTo>
                        <a:pt x="773" y="490968"/>
                        <a:pt x="678" y="488777"/>
                        <a:pt x="773" y="486587"/>
                      </a:cubicBezTo>
                      <a:cubicBezTo>
                        <a:pt x="1059" y="480300"/>
                        <a:pt x="2583" y="474109"/>
                        <a:pt x="5345" y="468298"/>
                      </a:cubicBezTo>
                      <a:lnTo>
                        <a:pt x="154983" y="151592"/>
                      </a:lnTo>
                      <a:cubicBezTo>
                        <a:pt x="157364" y="146544"/>
                        <a:pt x="158603" y="140924"/>
                        <a:pt x="158603" y="135305"/>
                      </a:cubicBezTo>
                      <a:lnTo>
                        <a:pt x="158603" y="19671"/>
                      </a:lnTo>
                      <a:lnTo>
                        <a:pt x="120503" y="19671"/>
                      </a:lnTo>
                      <a:lnTo>
                        <a:pt x="120503" y="621"/>
                      </a:lnTo>
                      <a:lnTo>
                        <a:pt x="368153" y="621"/>
                      </a:lnTo>
                      <a:lnTo>
                        <a:pt x="368153" y="19671"/>
                      </a:lnTo>
                      <a:lnTo>
                        <a:pt x="330053" y="19671"/>
                      </a:lnTo>
                      <a:lnTo>
                        <a:pt x="330053" y="135305"/>
                      </a:lnTo>
                      <a:cubicBezTo>
                        <a:pt x="330053" y="140924"/>
                        <a:pt x="331291" y="146449"/>
                        <a:pt x="333672" y="151592"/>
                      </a:cubicBezTo>
                      <a:lnTo>
                        <a:pt x="483310" y="468298"/>
                      </a:lnTo>
                      <a:cubicBezTo>
                        <a:pt x="488834" y="480014"/>
                        <a:pt x="489406" y="493444"/>
                        <a:pt x="484834" y="505541"/>
                      </a:cubicBezTo>
                      <a:lnTo>
                        <a:pt x="484739" y="505732"/>
                      </a:lnTo>
                      <a:lnTo>
                        <a:pt x="484167" y="507160"/>
                      </a:lnTo>
                      <a:cubicBezTo>
                        <a:pt x="479690" y="517066"/>
                        <a:pt x="470165" y="523734"/>
                        <a:pt x="459307" y="524401"/>
                      </a:cubicBezTo>
                      <a:lnTo>
                        <a:pt x="457497" y="524496"/>
                      </a:lnTo>
                      <a:lnTo>
                        <a:pt x="31253" y="524496"/>
                      </a:lnTo>
                      <a:lnTo>
                        <a:pt x="29444" y="524401"/>
                      </a:lnTo>
                      <a:cubicBezTo>
                        <a:pt x="28586" y="524305"/>
                        <a:pt x="27824" y="524305"/>
                        <a:pt x="26967" y="524115"/>
                      </a:cubicBezTo>
                      <a:cubicBezTo>
                        <a:pt x="25634" y="523925"/>
                        <a:pt x="24395" y="523639"/>
                        <a:pt x="23157" y="523258"/>
                      </a:cubicBezTo>
                      <a:lnTo>
                        <a:pt x="23157" y="523258"/>
                      </a:lnTo>
                      <a:cubicBezTo>
                        <a:pt x="21252" y="522686"/>
                        <a:pt x="19347" y="521924"/>
                        <a:pt x="17633" y="520972"/>
                      </a:cubicBezTo>
                      <a:lnTo>
                        <a:pt x="16204" y="520210"/>
                      </a:lnTo>
                      <a:cubicBezTo>
                        <a:pt x="15918" y="520020"/>
                        <a:pt x="15632" y="519829"/>
                        <a:pt x="15251" y="519638"/>
                      </a:cubicBezTo>
                      <a:cubicBezTo>
                        <a:pt x="13442" y="518495"/>
                        <a:pt x="11727" y="517066"/>
                        <a:pt x="10298" y="515542"/>
                      </a:cubicBezTo>
                      <a:lnTo>
                        <a:pt x="8774" y="514114"/>
                      </a:lnTo>
                      <a:lnTo>
                        <a:pt x="8774" y="514114"/>
                      </a:lnTo>
                      <a:close/>
                      <a:moveTo>
                        <a:pt x="255377" y="404767"/>
                      </a:moveTo>
                      <a:lnTo>
                        <a:pt x="252519" y="406576"/>
                      </a:lnTo>
                      <a:lnTo>
                        <a:pt x="246995" y="410291"/>
                      </a:lnTo>
                      <a:cubicBezTo>
                        <a:pt x="199751" y="441628"/>
                        <a:pt x="120217" y="442581"/>
                        <a:pt x="55161" y="416864"/>
                      </a:cubicBezTo>
                      <a:lnTo>
                        <a:pt x="51351" y="415339"/>
                      </a:lnTo>
                      <a:lnTo>
                        <a:pt x="22490" y="476395"/>
                      </a:lnTo>
                      <a:lnTo>
                        <a:pt x="21633" y="478300"/>
                      </a:lnTo>
                      <a:cubicBezTo>
                        <a:pt x="19156" y="484872"/>
                        <a:pt x="19061" y="492111"/>
                        <a:pt x="21538" y="498778"/>
                      </a:cubicBezTo>
                      <a:cubicBezTo>
                        <a:pt x="22776" y="502017"/>
                        <a:pt x="25443" y="504303"/>
                        <a:pt x="28681" y="505065"/>
                      </a:cubicBezTo>
                      <a:lnTo>
                        <a:pt x="29920" y="505255"/>
                      </a:lnTo>
                      <a:lnTo>
                        <a:pt x="31063" y="505351"/>
                      </a:lnTo>
                      <a:lnTo>
                        <a:pt x="457306" y="505351"/>
                      </a:lnTo>
                      <a:lnTo>
                        <a:pt x="458450" y="505255"/>
                      </a:lnTo>
                      <a:cubicBezTo>
                        <a:pt x="462260" y="504875"/>
                        <a:pt x="465498" y="502303"/>
                        <a:pt x="466831" y="498683"/>
                      </a:cubicBezTo>
                      <a:cubicBezTo>
                        <a:pt x="469118" y="492778"/>
                        <a:pt x="469308" y="486205"/>
                        <a:pt x="467403" y="480205"/>
                      </a:cubicBezTo>
                      <a:lnTo>
                        <a:pt x="466736" y="478205"/>
                      </a:lnTo>
                      <a:lnTo>
                        <a:pt x="465879" y="476300"/>
                      </a:lnTo>
                      <a:lnTo>
                        <a:pt x="424255" y="388098"/>
                      </a:lnTo>
                      <a:cubicBezTo>
                        <a:pt x="366152" y="373810"/>
                        <a:pt x="296715" y="379335"/>
                        <a:pt x="255377" y="404767"/>
                      </a:cubicBezTo>
                      <a:close/>
                      <a:moveTo>
                        <a:pt x="306240" y="257796"/>
                      </a:moveTo>
                      <a:cubicBezTo>
                        <a:pt x="287857" y="257796"/>
                        <a:pt x="272903" y="272750"/>
                        <a:pt x="272903" y="291134"/>
                      </a:cubicBezTo>
                      <a:cubicBezTo>
                        <a:pt x="272903" y="309517"/>
                        <a:pt x="287857" y="324471"/>
                        <a:pt x="306240" y="324471"/>
                      </a:cubicBezTo>
                      <a:cubicBezTo>
                        <a:pt x="324623" y="324471"/>
                        <a:pt x="339578" y="309517"/>
                        <a:pt x="339578" y="291134"/>
                      </a:cubicBezTo>
                      <a:cubicBezTo>
                        <a:pt x="339578" y="272750"/>
                        <a:pt x="324623" y="257796"/>
                        <a:pt x="306240" y="25779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</p:sp>
          </p:grpSp>
        </p:grpSp>
      </p:grpSp>
      <p:sp>
        <p:nvSpPr>
          <p:cNvPr id="21" name="页脚占位符 2">
            <a:extLst>
              <a:ext uri="{FF2B5EF4-FFF2-40B4-BE49-F238E27FC236}">
                <a16:creationId xmlns:a16="http://schemas.microsoft.com/office/drawing/2014/main" id="{83A52D4E-0307-664A-BFC3-5893B1739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43559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se3:</a:t>
            </a:r>
            <a:r>
              <a:rPr kumimoji="1" lang="zh-CN" altLang="en-US" dirty="0"/>
              <a:t> </a:t>
            </a:r>
            <a:r>
              <a:rPr lang="zh-CN" altLang="en-US" dirty="0"/>
              <a:t>识别异常流量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26" name="页脚占位符 2">
            <a:extLst>
              <a:ext uri="{FF2B5EF4-FFF2-40B4-BE49-F238E27FC236}">
                <a16:creationId xmlns:a16="http://schemas.microsoft.com/office/drawing/2014/main" id="{07290EE0-FF6C-9942-BC1E-04E9DBD09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  <p:pic>
        <p:nvPicPr>
          <p:cNvPr id="3" name="图片 2" descr="图示&#10;&#10;描述已自动生成">
            <a:extLst>
              <a:ext uri="{FF2B5EF4-FFF2-40B4-BE49-F238E27FC236}">
                <a16:creationId xmlns:a16="http://schemas.microsoft.com/office/drawing/2014/main" id="{43EE7C80-6FA0-CE42-A654-FE075848D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756" y="1849863"/>
            <a:ext cx="8175530" cy="315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1785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发展历程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实践经验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solidFill>
                      <a:schemeClr val="accent1"/>
                    </a:solidFill>
                    <a:latin typeface="+mn-lt"/>
                    <a:ea typeface="+mn-ea"/>
                    <a:sym typeface="+mn-lt"/>
                  </a:rPr>
                  <a:t>使用场景的延展</a:t>
                </a:r>
                <a:endParaRPr lang="en-US" altLang="zh-CN" b="0" dirty="0">
                  <a:solidFill>
                    <a:schemeClr val="accent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未来规划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16824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F26E44AE-E938-FA4B-B9BA-70D8E4084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使用场景延展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1C33E7-D0CD-FD45-812F-1EF11B5F1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cxnSp>
        <p:nvCxnSpPr>
          <p:cNvPr id="7" name="直接连接符 1">
            <a:extLst>
              <a:ext uri="{FF2B5EF4-FFF2-40B4-BE49-F238E27FC236}">
                <a16:creationId xmlns:a16="http://schemas.microsoft.com/office/drawing/2014/main" id="{7FAA63E4-52A5-2C45-9467-E0AADE4B03AC}"/>
              </a:ext>
            </a:extLst>
          </p:cNvPr>
          <p:cNvCxnSpPr>
            <a:cxnSpLocks/>
            <a:stCxn id="50" idx="1"/>
          </p:cNvCxnSpPr>
          <p:nvPr/>
        </p:nvCxnSpPr>
        <p:spPr>
          <a:xfrm flipH="1" flipV="1">
            <a:off x="669928" y="2211021"/>
            <a:ext cx="4652144" cy="1105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2">
            <a:extLst>
              <a:ext uri="{FF2B5EF4-FFF2-40B4-BE49-F238E27FC236}">
                <a16:creationId xmlns:a16="http://schemas.microsoft.com/office/drawing/2014/main" id="{EC54CD55-D5B9-754A-8EA4-5CFD95AB2D08}"/>
              </a:ext>
            </a:extLst>
          </p:cNvPr>
          <p:cNvCxnSpPr>
            <a:cxnSpLocks/>
          </p:cNvCxnSpPr>
          <p:nvPr/>
        </p:nvCxnSpPr>
        <p:spPr>
          <a:xfrm flipH="1">
            <a:off x="673102" y="4069187"/>
            <a:ext cx="39560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3">
            <a:extLst>
              <a:ext uri="{FF2B5EF4-FFF2-40B4-BE49-F238E27FC236}">
                <a16:creationId xmlns:a16="http://schemas.microsoft.com/office/drawing/2014/main" id="{3B42DF8F-E7BA-7A45-B1E3-AD593CFF43F7}"/>
              </a:ext>
            </a:extLst>
          </p:cNvPr>
          <p:cNvCxnSpPr>
            <a:cxnSpLocks/>
          </p:cNvCxnSpPr>
          <p:nvPr/>
        </p:nvCxnSpPr>
        <p:spPr>
          <a:xfrm>
            <a:off x="7538473" y="3148746"/>
            <a:ext cx="398042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4">
            <a:extLst>
              <a:ext uri="{FF2B5EF4-FFF2-40B4-BE49-F238E27FC236}">
                <a16:creationId xmlns:a16="http://schemas.microsoft.com/office/drawing/2014/main" id="{C321CEFD-9116-814C-AABE-D4B2AEA369F8}"/>
              </a:ext>
            </a:extLst>
          </p:cNvPr>
          <p:cNvCxnSpPr>
            <a:cxnSpLocks/>
          </p:cNvCxnSpPr>
          <p:nvPr/>
        </p:nvCxnSpPr>
        <p:spPr>
          <a:xfrm>
            <a:off x="7544942" y="4073020"/>
            <a:ext cx="3973956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íśḷîdê">
            <a:extLst>
              <a:ext uri="{FF2B5EF4-FFF2-40B4-BE49-F238E27FC236}">
                <a16:creationId xmlns:a16="http://schemas.microsoft.com/office/drawing/2014/main" id="{3F3BBAE8-A9A4-4849-BA9F-811CA6BF12E0}"/>
              </a:ext>
            </a:extLst>
          </p:cNvPr>
          <p:cNvGrpSpPr/>
          <p:nvPr/>
        </p:nvGrpSpPr>
        <p:grpSpPr>
          <a:xfrm>
            <a:off x="4776752" y="2222076"/>
            <a:ext cx="2728945" cy="3924723"/>
            <a:chOff x="4944683" y="2705102"/>
            <a:chExt cx="2393088" cy="3441698"/>
          </a:xfrm>
        </p:grpSpPr>
        <p:grpSp>
          <p:nvGrpSpPr>
            <p:cNvPr id="30" name="iṩḷïḍè">
              <a:extLst>
                <a:ext uri="{FF2B5EF4-FFF2-40B4-BE49-F238E27FC236}">
                  <a16:creationId xmlns:a16="http://schemas.microsoft.com/office/drawing/2014/main" id="{809B6D48-32E4-AE4A-8060-43664DDC794B}"/>
                </a:ext>
              </a:extLst>
            </p:cNvPr>
            <p:cNvGrpSpPr/>
            <p:nvPr/>
          </p:nvGrpSpPr>
          <p:grpSpPr>
            <a:xfrm>
              <a:off x="6319172" y="3402199"/>
              <a:ext cx="928144" cy="792703"/>
              <a:chOff x="8222701" y="1844700"/>
              <a:chExt cx="369888" cy="315911"/>
            </a:xfrm>
          </p:grpSpPr>
          <p:grpSp>
            <p:nvGrpSpPr>
              <p:cNvPr id="55" name="iSlïḋê">
                <a:extLst>
                  <a:ext uri="{FF2B5EF4-FFF2-40B4-BE49-F238E27FC236}">
                    <a16:creationId xmlns:a16="http://schemas.microsoft.com/office/drawing/2014/main" id="{68A071EE-2DFD-8741-921B-FD20D097DF93}"/>
                  </a:ext>
                </a:extLst>
              </p:cNvPr>
              <p:cNvGrpSpPr/>
              <p:nvPr/>
            </p:nvGrpSpPr>
            <p:grpSpPr>
              <a:xfrm>
                <a:off x="8225877" y="1844700"/>
                <a:ext cx="366712" cy="315911"/>
                <a:chOff x="8225876" y="1844701"/>
                <a:chExt cx="366716" cy="315911"/>
              </a:xfrm>
            </p:grpSpPr>
            <p:sp>
              <p:nvSpPr>
                <p:cNvPr id="57" name="iṣḻiďê">
                  <a:extLst>
                    <a:ext uri="{FF2B5EF4-FFF2-40B4-BE49-F238E27FC236}">
                      <a16:creationId xmlns:a16="http://schemas.microsoft.com/office/drawing/2014/main" id="{9A3FE03B-3893-C54F-8210-7851A85235C2}"/>
                    </a:ext>
                  </a:extLst>
                </p:cNvPr>
                <p:cNvSpPr/>
                <p:nvPr/>
              </p:nvSpPr>
              <p:spPr bwMode="auto">
                <a:xfrm>
                  <a:off x="8229055" y="1890738"/>
                  <a:ext cx="363537" cy="269874"/>
                </a:xfrm>
                <a:custGeom>
                  <a:avLst/>
                  <a:gdLst>
                    <a:gd name="T0" fmla="*/ 79 w 110"/>
                    <a:gd name="T1" fmla="*/ 57 h 82"/>
                    <a:gd name="T2" fmla="*/ 109 w 110"/>
                    <a:gd name="T3" fmla="*/ 0 h 82"/>
                    <a:gd name="T4" fmla="*/ 0 w 110"/>
                    <a:gd name="T5" fmla="*/ 65 h 82"/>
                    <a:gd name="T6" fmla="*/ 79 w 110"/>
                    <a:gd name="T7" fmla="*/ 57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0" h="82">
                      <a:moveTo>
                        <a:pt x="79" y="57"/>
                      </a:moveTo>
                      <a:cubicBezTo>
                        <a:pt x="110" y="32"/>
                        <a:pt x="109" y="0"/>
                        <a:pt x="109" y="0"/>
                      </a:cubicBezTo>
                      <a:cubicBezTo>
                        <a:pt x="0" y="65"/>
                        <a:pt x="0" y="65"/>
                        <a:pt x="0" y="65"/>
                      </a:cubicBezTo>
                      <a:cubicBezTo>
                        <a:pt x="0" y="65"/>
                        <a:pt x="47" y="82"/>
                        <a:pt x="79" y="57"/>
                      </a:cubicBezTo>
                      <a:close/>
                    </a:path>
                  </a:pathLst>
                </a:custGeom>
                <a:solidFill>
                  <a:srgbClr val="689310">
                    <a:alpha val="6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8" name="íṣľïďé">
                  <a:extLst>
                    <a:ext uri="{FF2B5EF4-FFF2-40B4-BE49-F238E27FC236}">
                      <a16:creationId xmlns:a16="http://schemas.microsoft.com/office/drawing/2014/main" id="{7D75F770-A04C-A042-B6B6-C0839C6F4446}"/>
                    </a:ext>
                  </a:extLst>
                </p:cNvPr>
                <p:cNvSpPr/>
                <p:nvPr/>
              </p:nvSpPr>
              <p:spPr bwMode="auto">
                <a:xfrm>
                  <a:off x="8225876" y="1844701"/>
                  <a:ext cx="358774" cy="249238"/>
                </a:xfrm>
                <a:custGeom>
                  <a:avLst/>
                  <a:gdLst>
                    <a:gd name="T0" fmla="*/ 109 w 109"/>
                    <a:gd name="T1" fmla="*/ 11 h 76"/>
                    <a:gd name="T2" fmla="*/ 0 w 109"/>
                    <a:gd name="T3" fmla="*/ 76 h 76"/>
                    <a:gd name="T4" fmla="*/ 37 w 109"/>
                    <a:gd name="T5" fmla="*/ 20 h 76"/>
                    <a:gd name="T6" fmla="*/ 109 w 109"/>
                    <a:gd name="T7" fmla="*/ 11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9" h="76">
                      <a:moveTo>
                        <a:pt x="109" y="11"/>
                      </a:move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0" y="76"/>
                        <a:pt x="8" y="40"/>
                        <a:pt x="37" y="20"/>
                      </a:cubicBezTo>
                      <a:cubicBezTo>
                        <a:pt x="68" y="0"/>
                        <a:pt x="109" y="11"/>
                        <a:pt x="109" y="11"/>
                      </a:cubicBezTo>
                      <a:close/>
                    </a:path>
                  </a:pathLst>
                </a:custGeom>
                <a:solidFill>
                  <a:srgbClr val="649603">
                    <a:alpha val="6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56" name="i$lïďè">
                <a:extLst>
                  <a:ext uri="{FF2B5EF4-FFF2-40B4-BE49-F238E27FC236}">
                    <a16:creationId xmlns:a16="http://schemas.microsoft.com/office/drawing/2014/main" id="{DD57932C-B29C-1C4C-BA38-E3685BECB4EA}"/>
                  </a:ext>
                </a:extLst>
              </p:cNvPr>
              <p:cNvSpPr/>
              <p:nvPr/>
            </p:nvSpPr>
            <p:spPr bwMode="auto">
              <a:xfrm>
                <a:off x="8222701" y="1879626"/>
                <a:ext cx="366712" cy="225425"/>
              </a:xfrm>
              <a:custGeom>
                <a:avLst/>
                <a:gdLst>
                  <a:gd name="T0" fmla="*/ 111 w 111"/>
                  <a:gd name="T1" fmla="*/ 1 h 68"/>
                  <a:gd name="T2" fmla="*/ 111 w 111"/>
                  <a:gd name="T3" fmla="*/ 3 h 68"/>
                  <a:gd name="T4" fmla="*/ 2 w 111"/>
                  <a:gd name="T5" fmla="*/ 68 h 68"/>
                  <a:gd name="T6" fmla="*/ 1 w 111"/>
                  <a:gd name="T7" fmla="*/ 67 h 68"/>
                  <a:gd name="T8" fmla="*/ 1 w 111"/>
                  <a:gd name="T9" fmla="*/ 65 h 68"/>
                  <a:gd name="T10" fmla="*/ 110 w 111"/>
                  <a:gd name="T11" fmla="*/ 0 h 68"/>
                  <a:gd name="T12" fmla="*/ 111 w 111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1" h="68">
                    <a:moveTo>
                      <a:pt x="111" y="1"/>
                    </a:moveTo>
                    <a:cubicBezTo>
                      <a:pt x="111" y="1"/>
                      <a:pt x="111" y="3"/>
                      <a:pt x="111" y="3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2" y="68"/>
                      <a:pt x="1" y="68"/>
                      <a:pt x="1" y="67"/>
                    </a:cubicBezTo>
                    <a:cubicBezTo>
                      <a:pt x="0" y="67"/>
                      <a:pt x="1" y="65"/>
                      <a:pt x="1" y="65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10" y="0"/>
                      <a:pt x="111" y="0"/>
                      <a:pt x="111" y="1"/>
                    </a:cubicBezTo>
                    <a:close/>
                  </a:path>
                </a:pathLst>
              </a:custGeom>
              <a:solidFill>
                <a:srgbClr val="D1D8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/>
              </a:p>
            </p:txBody>
          </p:sp>
        </p:grpSp>
        <p:grpSp>
          <p:nvGrpSpPr>
            <p:cNvPr id="31" name="ïṡ1idé">
              <a:extLst>
                <a:ext uri="{FF2B5EF4-FFF2-40B4-BE49-F238E27FC236}">
                  <a16:creationId xmlns:a16="http://schemas.microsoft.com/office/drawing/2014/main" id="{919127DB-64BC-7A42-91AA-28E09D87495E}"/>
                </a:ext>
              </a:extLst>
            </p:cNvPr>
            <p:cNvGrpSpPr/>
            <p:nvPr/>
          </p:nvGrpSpPr>
          <p:grpSpPr>
            <a:xfrm>
              <a:off x="5606133" y="3772666"/>
              <a:ext cx="1250803" cy="2374134"/>
              <a:chOff x="7938539" y="1992338"/>
              <a:chExt cx="498474" cy="946148"/>
            </a:xfrm>
          </p:grpSpPr>
          <p:sp>
            <p:nvSpPr>
              <p:cNvPr id="51" name="íṡḻîḑè">
                <a:extLst>
                  <a:ext uri="{FF2B5EF4-FFF2-40B4-BE49-F238E27FC236}">
                    <a16:creationId xmlns:a16="http://schemas.microsoft.com/office/drawing/2014/main" id="{0FC04C4F-C072-4543-833D-00D9A71A5198}"/>
                  </a:ext>
                </a:extLst>
              </p:cNvPr>
              <p:cNvSpPr/>
              <p:nvPr/>
            </p:nvSpPr>
            <p:spPr bwMode="auto">
              <a:xfrm>
                <a:off x="7981401" y="1992338"/>
                <a:ext cx="263525" cy="946148"/>
              </a:xfrm>
              <a:custGeom>
                <a:avLst/>
                <a:gdLst>
                  <a:gd name="T0" fmla="*/ 28 w 80"/>
                  <a:gd name="T1" fmla="*/ 194 h 287"/>
                  <a:gd name="T2" fmla="*/ 0 w 80"/>
                  <a:gd name="T3" fmla="*/ 277 h 287"/>
                  <a:gd name="T4" fmla="*/ 58 w 80"/>
                  <a:gd name="T5" fmla="*/ 287 h 287"/>
                  <a:gd name="T6" fmla="*/ 22 w 80"/>
                  <a:gd name="T7" fmla="*/ 0 h 287"/>
                  <a:gd name="T8" fmla="*/ 28 w 80"/>
                  <a:gd name="T9" fmla="*/ 194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287">
                    <a:moveTo>
                      <a:pt x="28" y="194"/>
                    </a:moveTo>
                    <a:cubicBezTo>
                      <a:pt x="22" y="223"/>
                      <a:pt x="14" y="250"/>
                      <a:pt x="0" y="277"/>
                    </a:cubicBezTo>
                    <a:cubicBezTo>
                      <a:pt x="58" y="287"/>
                      <a:pt x="58" y="287"/>
                      <a:pt x="58" y="287"/>
                    </a:cubicBezTo>
                    <a:cubicBezTo>
                      <a:pt x="80" y="198"/>
                      <a:pt x="57" y="87"/>
                      <a:pt x="22" y="0"/>
                    </a:cubicBezTo>
                    <a:cubicBezTo>
                      <a:pt x="41" y="64"/>
                      <a:pt x="41" y="131"/>
                      <a:pt x="28" y="194"/>
                    </a:cubicBezTo>
                    <a:close/>
                  </a:path>
                </a:pathLst>
              </a:custGeom>
              <a:solidFill>
                <a:srgbClr val="5641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52" name="íṡ1iďé">
                <a:extLst>
                  <a:ext uri="{FF2B5EF4-FFF2-40B4-BE49-F238E27FC236}">
                    <a16:creationId xmlns:a16="http://schemas.microsoft.com/office/drawing/2014/main" id="{38AA9F41-DBC3-8148-AC42-DAE215BB639A}"/>
                  </a:ext>
                </a:extLst>
              </p:cNvPr>
              <p:cNvSpPr/>
              <p:nvPr/>
            </p:nvSpPr>
            <p:spPr bwMode="auto">
              <a:xfrm>
                <a:off x="8094114" y="2268563"/>
                <a:ext cx="342899" cy="360362"/>
              </a:xfrm>
              <a:custGeom>
                <a:avLst/>
                <a:gdLst>
                  <a:gd name="T0" fmla="*/ 1 w 104"/>
                  <a:gd name="T1" fmla="*/ 89 h 109"/>
                  <a:gd name="T2" fmla="*/ 2 w 104"/>
                  <a:gd name="T3" fmla="*/ 108 h 109"/>
                  <a:gd name="T4" fmla="*/ 1 w 104"/>
                  <a:gd name="T5" fmla="*/ 109 h 109"/>
                  <a:gd name="T6" fmla="*/ 3 w 104"/>
                  <a:gd name="T7" fmla="*/ 109 h 109"/>
                  <a:gd name="T8" fmla="*/ 92 w 104"/>
                  <a:gd name="T9" fmla="*/ 25 h 109"/>
                  <a:gd name="T10" fmla="*/ 104 w 104"/>
                  <a:gd name="T11" fmla="*/ 0 h 109"/>
                  <a:gd name="T12" fmla="*/ 1 w 104"/>
                  <a:gd name="T13" fmla="*/ 8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109">
                    <a:moveTo>
                      <a:pt x="1" y="89"/>
                    </a:moveTo>
                    <a:cubicBezTo>
                      <a:pt x="2" y="108"/>
                      <a:pt x="2" y="108"/>
                      <a:pt x="2" y="108"/>
                    </a:cubicBezTo>
                    <a:cubicBezTo>
                      <a:pt x="1" y="107"/>
                      <a:pt x="0" y="108"/>
                      <a:pt x="1" y="109"/>
                    </a:cubicBezTo>
                    <a:cubicBezTo>
                      <a:pt x="2" y="109"/>
                      <a:pt x="3" y="109"/>
                      <a:pt x="3" y="109"/>
                    </a:cubicBezTo>
                    <a:cubicBezTo>
                      <a:pt x="46" y="94"/>
                      <a:pt x="70" y="59"/>
                      <a:pt x="92" y="25"/>
                    </a:cubicBezTo>
                    <a:cubicBezTo>
                      <a:pt x="97" y="17"/>
                      <a:pt x="102" y="9"/>
                      <a:pt x="104" y="0"/>
                    </a:cubicBezTo>
                    <a:cubicBezTo>
                      <a:pt x="83" y="39"/>
                      <a:pt x="35" y="89"/>
                      <a:pt x="1" y="89"/>
                    </a:cubicBezTo>
                    <a:close/>
                  </a:path>
                </a:pathLst>
              </a:custGeom>
              <a:solidFill>
                <a:srgbClr val="5641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53" name="isḷïḍé">
                <a:extLst>
                  <a:ext uri="{FF2B5EF4-FFF2-40B4-BE49-F238E27FC236}">
                    <a16:creationId xmlns:a16="http://schemas.microsoft.com/office/drawing/2014/main" id="{297CD1DF-E934-EE4C-9A6C-6BF7A6D8A623}"/>
                  </a:ext>
                </a:extLst>
              </p:cNvPr>
              <p:cNvSpPr/>
              <p:nvPr/>
            </p:nvSpPr>
            <p:spPr bwMode="auto">
              <a:xfrm>
                <a:off x="7938539" y="2209826"/>
                <a:ext cx="174625" cy="250825"/>
              </a:xfrm>
              <a:custGeom>
                <a:avLst/>
                <a:gdLst>
                  <a:gd name="T0" fmla="*/ 53 w 53"/>
                  <a:gd name="T1" fmla="*/ 60 h 76"/>
                  <a:gd name="T2" fmla="*/ 0 w 53"/>
                  <a:gd name="T3" fmla="*/ 0 h 76"/>
                  <a:gd name="T4" fmla="*/ 53 w 53"/>
                  <a:gd name="T5" fmla="*/ 76 h 76"/>
                  <a:gd name="T6" fmla="*/ 53 w 53"/>
                  <a:gd name="T7" fmla="*/ 6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76">
                    <a:moveTo>
                      <a:pt x="53" y="60"/>
                    </a:moveTo>
                    <a:cubicBezTo>
                      <a:pt x="28" y="49"/>
                      <a:pt x="8" y="23"/>
                      <a:pt x="0" y="0"/>
                    </a:cubicBezTo>
                    <a:cubicBezTo>
                      <a:pt x="3" y="30"/>
                      <a:pt x="23" y="59"/>
                      <a:pt x="53" y="76"/>
                    </a:cubicBezTo>
                    <a:lnTo>
                      <a:pt x="53" y="60"/>
                    </a:lnTo>
                    <a:close/>
                  </a:path>
                </a:pathLst>
              </a:custGeom>
              <a:solidFill>
                <a:srgbClr val="5641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54" name="iṥļîḋé">
                <a:extLst>
                  <a:ext uri="{FF2B5EF4-FFF2-40B4-BE49-F238E27FC236}">
                    <a16:creationId xmlns:a16="http://schemas.microsoft.com/office/drawing/2014/main" id="{5D7CF37E-92A1-B843-935D-DCE80DD8737A}"/>
                  </a:ext>
                </a:extLst>
              </p:cNvPr>
              <p:cNvSpPr/>
              <p:nvPr/>
            </p:nvSpPr>
            <p:spPr bwMode="auto">
              <a:xfrm>
                <a:off x="8113164" y="2097113"/>
                <a:ext cx="79375" cy="152400"/>
              </a:xfrm>
              <a:custGeom>
                <a:avLst/>
                <a:gdLst>
                  <a:gd name="T0" fmla="*/ 24 w 24"/>
                  <a:gd name="T1" fmla="*/ 0 h 46"/>
                  <a:gd name="T2" fmla="*/ 12 w 24"/>
                  <a:gd name="T3" fmla="*/ 28 h 46"/>
                  <a:gd name="T4" fmla="*/ 1 w 24"/>
                  <a:gd name="T5" fmla="*/ 37 h 46"/>
                  <a:gd name="T6" fmla="*/ 0 w 24"/>
                  <a:gd name="T7" fmla="*/ 37 h 46"/>
                  <a:gd name="T8" fmla="*/ 2 w 24"/>
                  <a:gd name="T9" fmla="*/ 46 h 46"/>
                  <a:gd name="T10" fmla="*/ 19 w 24"/>
                  <a:gd name="T11" fmla="*/ 25 h 46"/>
                  <a:gd name="T12" fmla="*/ 24 w 24"/>
                  <a:gd name="T1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46">
                    <a:moveTo>
                      <a:pt x="24" y="0"/>
                    </a:moveTo>
                    <a:cubicBezTo>
                      <a:pt x="22" y="10"/>
                      <a:pt x="18" y="19"/>
                      <a:pt x="12" y="28"/>
                    </a:cubicBezTo>
                    <a:cubicBezTo>
                      <a:pt x="9" y="32"/>
                      <a:pt x="5" y="36"/>
                      <a:pt x="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40"/>
                      <a:pt x="2" y="43"/>
                      <a:pt x="2" y="46"/>
                    </a:cubicBezTo>
                    <a:cubicBezTo>
                      <a:pt x="10" y="41"/>
                      <a:pt x="16" y="32"/>
                      <a:pt x="19" y="25"/>
                    </a:cubicBezTo>
                    <a:cubicBezTo>
                      <a:pt x="22" y="17"/>
                      <a:pt x="23" y="8"/>
                      <a:pt x="24" y="0"/>
                    </a:cubicBezTo>
                    <a:close/>
                  </a:path>
                </a:pathLst>
              </a:custGeom>
              <a:solidFill>
                <a:srgbClr val="5641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32" name="îṩļïdê">
              <a:extLst>
                <a:ext uri="{FF2B5EF4-FFF2-40B4-BE49-F238E27FC236}">
                  <a16:creationId xmlns:a16="http://schemas.microsoft.com/office/drawing/2014/main" id="{A3BD25AA-1D44-D342-8F7E-FD70D3B7DABC}"/>
                </a:ext>
              </a:extLst>
            </p:cNvPr>
            <p:cNvGrpSpPr/>
            <p:nvPr/>
          </p:nvGrpSpPr>
          <p:grpSpPr>
            <a:xfrm>
              <a:off x="5140068" y="2705102"/>
              <a:ext cx="956032" cy="967978"/>
              <a:chOff x="7752800" y="1566889"/>
              <a:chExt cx="381001" cy="385762"/>
            </a:xfrm>
          </p:grpSpPr>
          <p:grpSp>
            <p:nvGrpSpPr>
              <p:cNvPr id="47" name="ïśḷíḍe">
                <a:extLst>
                  <a:ext uri="{FF2B5EF4-FFF2-40B4-BE49-F238E27FC236}">
                    <a16:creationId xmlns:a16="http://schemas.microsoft.com/office/drawing/2014/main" id="{FEE4B30F-FB2D-244B-8A92-2CF44F7D0C08}"/>
                  </a:ext>
                </a:extLst>
              </p:cNvPr>
              <p:cNvGrpSpPr/>
              <p:nvPr/>
            </p:nvGrpSpPr>
            <p:grpSpPr>
              <a:xfrm>
                <a:off x="7752800" y="1566889"/>
                <a:ext cx="381001" cy="382587"/>
                <a:chOff x="7752805" y="1566889"/>
                <a:chExt cx="380997" cy="382587"/>
              </a:xfrm>
            </p:grpSpPr>
            <p:sp>
              <p:nvSpPr>
                <p:cNvPr id="49" name="ísliḑê">
                  <a:extLst>
                    <a:ext uri="{FF2B5EF4-FFF2-40B4-BE49-F238E27FC236}">
                      <a16:creationId xmlns:a16="http://schemas.microsoft.com/office/drawing/2014/main" id="{112F6495-A332-6548-9D07-AA93AE549167}"/>
                    </a:ext>
                  </a:extLst>
                </p:cNvPr>
                <p:cNvSpPr/>
                <p:nvPr/>
              </p:nvSpPr>
              <p:spPr bwMode="auto">
                <a:xfrm>
                  <a:off x="7752805" y="1570064"/>
                  <a:ext cx="280988" cy="379412"/>
                </a:xfrm>
                <a:custGeom>
                  <a:avLst/>
                  <a:gdLst>
                    <a:gd name="T0" fmla="*/ 22 w 85"/>
                    <a:gd name="T1" fmla="*/ 81 h 115"/>
                    <a:gd name="T2" fmla="*/ 85 w 85"/>
                    <a:gd name="T3" fmla="*/ 115 h 115"/>
                    <a:gd name="T4" fmla="*/ 31 w 85"/>
                    <a:gd name="T5" fmla="*/ 0 h 115"/>
                    <a:gd name="T6" fmla="*/ 22 w 85"/>
                    <a:gd name="T7" fmla="*/ 81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5" h="115">
                      <a:moveTo>
                        <a:pt x="22" y="81"/>
                      </a:moveTo>
                      <a:cubicBezTo>
                        <a:pt x="43" y="115"/>
                        <a:pt x="85" y="115"/>
                        <a:pt x="85" y="115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31" y="0"/>
                        <a:pt x="0" y="46"/>
                        <a:pt x="22" y="81"/>
                      </a:cubicBezTo>
                      <a:close/>
                    </a:path>
                  </a:pathLst>
                </a:custGeom>
                <a:solidFill>
                  <a:srgbClr val="68931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0" name="îṡḻiḓè">
                  <a:extLst>
                    <a:ext uri="{FF2B5EF4-FFF2-40B4-BE49-F238E27FC236}">
                      <a16:creationId xmlns:a16="http://schemas.microsoft.com/office/drawing/2014/main" id="{7674D31C-873C-A442-A457-4C7C4A88AFDF}"/>
                    </a:ext>
                  </a:extLst>
                </p:cNvPr>
                <p:cNvSpPr/>
                <p:nvPr/>
              </p:nvSpPr>
              <p:spPr bwMode="auto">
                <a:xfrm>
                  <a:off x="7865514" y="1566889"/>
                  <a:ext cx="268288" cy="379412"/>
                </a:xfrm>
                <a:custGeom>
                  <a:avLst/>
                  <a:gdLst>
                    <a:gd name="T0" fmla="*/ 53 w 81"/>
                    <a:gd name="T1" fmla="*/ 115 h 115"/>
                    <a:gd name="T2" fmla="*/ 0 w 81"/>
                    <a:gd name="T3" fmla="*/ 0 h 115"/>
                    <a:gd name="T4" fmla="*/ 64 w 81"/>
                    <a:gd name="T5" fmla="*/ 37 h 115"/>
                    <a:gd name="T6" fmla="*/ 53 w 81"/>
                    <a:gd name="T7" fmla="*/ 115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1" h="115">
                      <a:moveTo>
                        <a:pt x="53" y="115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48" y="5"/>
                        <a:pt x="64" y="37"/>
                      </a:cubicBezTo>
                      <a:cubicBezTo>
                        <a:pt x="81" y="69"/>
                        <a:pt x="53" y="115"/>
                        <a:pt x="53" y="115"/>
                      </a:cubicBezTo>
                      <a:close/>
                    </a:path>
                  </a:pathLst>
                </a:custGeom>
                <a:solidFill>
                  <a:srgbClr val="68931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48" name="îṡḻîďé">
                <a:extLst>
                  <a:ext uri="{FF2B5EF4-FFF2-40B4-BE49-F238E27FC236}">
                    <a16:creationId xmlns:a16="http://schemas.microsoft.com/office/drawing/2014/main" id="{7EE4DFCC-1F27-904F-AB48-62B55AFFB6DF}"/>
                  </a:ext>
                </a:extLst>
              </p:cNvPr>
              <p:cNvSpPr/>
              <p:nvPr/>
            </p:nvSpPr>
            <p:spPr bwMode="auto">
              <a:xfrm>
                <a:off x="7855989" y="1566889"/>
                <a:ext cx="184150" cy="385762"/>
              </a:xfrm>
              <a:custGeom>
                <a:avLst/>
                <a:gdLst>
                  <a:gd name="T0" fmla="*/ 55 w 56"/>
                  <a:gd name="T1" fmla="*/ 117 h 117"/>
                  <a:gd name="T2" fmla="*/ 54 w 56"/>
                  <a:gd name="T3" fmla="*/ 116 h 117"/>
                  <a:gd name="T4" fmla="*/ 0 w 56"/>
                  <a:gd name="T5" fmla="*/ 1 h 117"/>
                  <a:gd name="T6" fmla="*/ 2 w 56"/>
                  <a:gd name="T7" fmla="*/ 0 h 117"/>
                  <a:gd name="T8" fmla="*/ 3 w 56"/>
                  <a:gd name="T9" fmla="*/ 0 h 117"/>
                  <a:gd name="T10" fmla="*/ 56 w 56"/>
                  <a:gd name="T11" fmla="*/ 115 h 117"/>
                  <a:gd name="T12" fmla="*/ 55 w 56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117">
                    <a:moveTo>
                      <a:pt x="55" y="117"/>
                    </a:moveTo>
                    <a:cubicBezTo>
                      <a:pt x="55" y="117"/>
                      <a:pt x="54" y="116"/>
                      <a:pt x="54" y="11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6" y="115"/>
                      <a:pt x="56" y="116"/>
                      <a:pt x="55" y="117"/>
                    </a:cubicBezTo>
                    <a:close/>
                  </a:path>
                </a:pathLst>
              </a:custGeom>
              <a:solidFill>
                <a:srgbClr val="D1D8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grpSp>
          <p:nvGrpSpPr>
            <p:cNvPr id="33" name="iSḷïdé">
              <a:extLst>
                <a:ext uri="{FF2B5EF4-FFF2-40B4-BE49-F238E27FC236}">
                  <a16:creationId xmlns:a16="http://schemas.microsoft.com/office/drawing/2014/main" id="{2B7484C0-61AE-CB48-880E-AB8F4E01A56F}"/>
                </a:ext>
              </a:extLst>
            </p:cNvPr>
            <p:cNvGrpSpPr/>
            <p:nvPr/>
          </p:nvGrpSpPr>
          <p:grpSpPr>
            <a:xfrm>
              <a:off x="4944683" y="4079386"/>
              <a:ext cx="745402" cy="562342"/>
              <a:chOff x="4944683" y="4079386"/>
              <a:chExt cx="745402" cy="562342"/>
            </a:xfrm>
          </p:grpSpPr>
          <p:grpSp>
            <p:nvGrpSpPr>
              <p:cNvPr id="39" name="ïşļiḋê">
                <a:extLst>
                  <a:ext uri="{FF2B5EF4-FFF2-40B4-BE49-F238E27FC236}">
                    <a16:creationId xmlns:a16="http://schemas.microsoft.com/office/drawing/2014/main" id="{CD88322D-CACC-084C-81AA-3DC2845B9A11}"/>
                  </a:ext>
                </a:extLst>
              </p:cNvPr>
              <p:cNvGrpSpPr/>
              <p:nvPr/>
            </p:nvGrpSpPr>
            <p:grpSpPr>
              <a:xfrm>
                <a:off x="5280574" y="4340225"/>
                <a:ext cx="409511" cy="301503"/>
                <a:chOff x="5124288" y="4155759"/>
                <a:chExt cx="409511" cy="301503"/>
              </a:xfrm>
            </p:grpSpPr>
            <p:sp>
              <p:nvSpPr>
                <p:cNvPr id="44" name="îśḷïḑê">
                  <a:extLst>
                    <a:ext uri="{FF2B5EF4-FFF2-40B4-BE49-F238E27FC236}">
                      <a16:creationId xmlns:a16="http://schemas.microsoft.com/office/drawing/2014/main" id="{78ED3E0D-4BA3-684B-89BF-C4C72621BF63}"/>
                    </a:ext>
                  </a:extLst>
                </p:cNvPr>
                <p:cNvSpPr/>
                <p:nvPr/>
              </p:nvSpPr>
              <p:spPr bwMode="auto">
                <a:xfrm rot="19700345">
                  <a:off x="5124288" y="4155759"/>
                  <a:ext cx="373062" cy="260350"/>
                </a:xfrm>
                <a:custGeom>
                  <a:avLst/>
                  <a:gdLst>
                    <a:gd name="T0" fmla="*/ 34 w 113"/>
                    <a:gd name="T1" fmla="*/ 23 h 79"/>
                    <a:gd name="T2" fmla="*/ 0 w 113"/>
                    <a:gd name="T3" fmla="*/ 79 h 79"/>
                    <a:gd name="T4" fmla="*/ 113 w 113"/>
                    <a:gd name="T5" fmla="*/ 20 h 79"/>
                    <a:gd name="T6" fmla="*/ 34 w 113"/>
                    <a:gd name="T7" fmla="*/ 23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3" h="79">
                      <a:moveTo>
                        <a:pt x="34" y="23"/>
                      </a:moveTo>
                      <a:cubicBezTo>
                        <a:pt x="1" y="46"/>
                        <a:pt x="0" y="79"/>
                        <a:pt x="0" y="79"/>
                      </a:cubicBezTo>
                      <a:cubicBezTo>
                        <a:pt x="113" y="20"/>
                        <a:pt x="113" y="20"/>
                        <a:pt x="113" y="20"/>
                      </a:cubicBezTo>
                      <a:cubicBezTo>
                        <a:pt x="113" y="20"/>
                        <a:pt x="67" y="0"/>
                        <a:pt x="34" y="23"/>
                      </a:cubicBezTo>
                      <a:close/>
                    </a:path>
                  </a:pathLst>
                </a:custGeom>
                <a:solidFill>
                  <a:srgbClr val="689310">
                    <a:alpha val="4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5" name="ïsḷîďè">
                  <a:extLst>
                    <a:ext uri="{FF2B5EF4-FFF2-40B4-BE49-F238E27FC236}">
                      <a16:creationId xmlns:a16="http://schemas.microsoft.com/office/drawing/2014/main" id="{E0800EF8-A3E1-DB48-8340-AC7B6AAAEDEC}"/>
                    </a:ext>
                  </a:extLst>
                </p:cNvPr>
                <p:cNvSpPr/>
                <p:nvPr/>
              </p:nvSpPr>
              <p:spPr bwMode="auto">
                <a:xfrm rot="19700345">
                  <a:off x="5160737" y="4220724"/>
                  <a:ext cx="373062" cy="236538"/>
                </a:xfrm>
                <a:custGeom>
                  <a:avLst/>
                  <a:gdLst>
                    <a:gd name="T0" fmla="*/ 0 w 113"/>
                    <a:gd name="T1" fmla="*/ 58 h 72"/>
                    <a:gd name="T2" fmla="*/ 113 w 113"/>
                    <a:gd name="T3" fmla="*/ 0 h 72"/>
                    <a:gd name="T4" fmla="*/ 73 w 113"/>
                    <a:gd name="T5" fmla="*/ 54 h 72"/>
                    <a:gd name="T6" fmla="*/ 0 w 113"/>
                    <a:gd name="T7" fmla="*/ 58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3" h="72">
                      <a:moveTo>
                        <a:pt x="0" y="58"/>
                      </a:moveTo>
                      <a:cubicBezTo>
                        <a:pt x="113" y="0"/>
                        <a:pt x="113" y="0"/>
                        <a:pt x="113" y="0"/>
                      </a:cubicBezTo>
                      <a:cubicBezTo>
                        <a:pt x="113" y="0"/>
                        <a:pt x="103" y="36"/>
                        <a:pt x="73" y="54"/>
                      </a:cubicBezTo>
                      <a:cubicBezTo>
                        <a:pt x="41" y="72"/>
                        <a:pt x="0" y="58"/>
                        <a:pt x="0" y="58"/>
                      </a:cubicBezTo>
                      <a:close/>
                    </a:path>
                  </a:pathLst>
                </a:custGeom>
                <a:solidFill>
                  <a:srgbClr val="689310">
                    <a:alpha val="4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46" name="îŝ1íḍé">
                  <a:extLst>
                    <a:ext uri="{FF2B5EF4-FFF2-40B4-BE49-F238E27FC236}">
                      <a16:creationId xmlns:a16="http://schemas.microsoft.com/office/drawing/2014/main" id="{37C1711C-3F6A-D748-ABED-A3799377B073}"/>
                    </a:ext>
                  </a:extLst>
                </p:cNvPr>
                <p:cNvSpPr/>
                <p:nvPr/>
              </p:nvSpPr>
              <p:spPr bwMode="auto">
                <a:xfrm rot="19700345">
                  <a:off x="5142980" y="4215333"/>
                  <a:ext cx="379412" cy="200025"/>
                </a:xfrm>
                <a:custGeom>
                  <a:avLst/>
                  <a:gdLst>
                    <a:gd name="T0" fmla="*/ 0 w 115"/>
                    <a:gd name="T1" fmla="*/ 60 h 61"/>
                    <a:gd name="T2" fmla="*/ 0 w 115"/>
                    <a:gd name="T3" fmla="*/ 59 h 61"/>
                    <a:gd name="T4" fmla="*/ 113 w 115"/>
                    <a:gd name="T5" fmla="*/ 0 h 61"/>
                    <a:gd name="T6" fmla="*/ 115 w 115"/>
                    <a:gd name="T7" fmla="*/ 1 h 61"/>
                    <a:gd name="T8" fmla="*/ 114 w 115"/>
                    <a:gd name="T9" fmla="*/ 3 h 61"/>
                    <a:gd name="T10" fmla="*/ 1 w 115"/>
                    <a:gd name="T11" fmla="*/ 61 h 61"/>
                    <a:gd name="T12" fmla="*/ 0 w 115"/>
                    <a:gd name="T13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5" h="61">
                      <a:moveTo>
                        <a:pt x="0" y="60"/>
                      </a:moveTo>
                      <a:cubicBezTo>
                        <a:pt x="0" y="60"/>
                        <a:pt x="0" y="59"/>
                        <a:pt x="0" y="59"/>
                      </a:cubicBezTo>
                      <a:cubicBezTo>
                        <a:pt x="113" y="0"/>
                        <a:pt x="113" y="0"/>
                        <a:pt x="113" y="0"/>
                      </a:cubicBezTo>
                      <a:cubicBezTo>
                        <a:pt x="113" y="0"/>
                        <a:pt x="114" y="1"/>
                        <a:pt x="115" y="1"/>
                      </a:cubicBezTo>
                      <a:cubicBezTo>
                        <a:pt x="115" y="2"/>
                        <a:pt x="114" y="3"/>
                        <a:pt x="114" y="3"/>
                      </a:cubicBezTo>
                      <a:cubicBezTo>
                        <a:pt x="1" y="61"/>
                        <a:pt x="1" y="61"/>
                        <a:pt x="1" y="61"/>
                      </a:cubicBezTo>
                      <a:cubicBezTo>
                        <a:pt x="1" y="61"/>
                        <a:pt x="0" y="61"/>
                        <a:pt x="0" y="60"/>
                      </a:cubicBezTo>
                      <a:close/>
                    </a:path>
                  </a:pathLst>
                </a:custGeom>
                <a:solidFill>
                  <a:srgbClr val="D1D8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40" name="íṥ1íḍè">
                <a:extLst>
                  <a:ext uri="{FF2B5EF4-FFF2-40B4-BE49-F238E27FC236}">
                    <a16:creationId xmlns:a16="http://schemas.microsoft.com/office/drawing/2014/main" id="{5F106F5C-2524-4E49-9E82-DBCE1C3566EB}"/>
                  </a:ext>
                </a:extLst>
              </p:cNvPr>
              <p:cNvGrpSpPr/>
              <p:nvPr/>
            </p:nvGrpSpPr>
            <p:grpSpPr>
              <a:xfrm>
                <a:off x="4944683" y="4079386"/>
                <a:ext cx="603902" cy="475552"/>
                <a:chOff x="4744185" y="3842528"/>
                <a:chExt cx="783694" cy="617125"/>
              </a:xfrm>
            </p:grpSpPr>
            <p:sp>
              <p:nvSpPr>
                <p:cNvPr id="41" name="ïsḷiḍé">
                  <a:extLst>
                    <a:ext uri="{FF2B5EF4-FFF2-40B4-BE49-F238E27FC236}">
                      <a16:creationId xmlns:a16="http://schemas.microsoft.com/office/drawing/2014/main" id="{F518261E-D420-A941-9202-277F933D095F}"/>
                    </a:ext>
                  </a:extLst>
                </p:cNvPr>
                <p:cNvSpPr/>
                <p:nvPr/>
              </p:nvSpPr>
              <p:spPr bwMode="auto">
                <a:xfrm rot="1261157">
                  <a:off x="4784247" y="3842528"/>
                  <a:ext cx="743632" cy="518962"/>
                </a:xfrm>
                <a:custGeom>
                  <a:avLst/>
                  <a:gdLst>
                    <a:gd name="T0" fmla="*/ 34 w 113"/>
                    <a:gd name="T1" fmla="*/ 23 h 79"/>
                    <a:gd name="T2" fmla="*/ 0 w 113"/>
                    <a:gd name="T3" fmla="*/ 79 h 79"/>
                    <a:gd name="T4" fmla="*/ 113 w 113"/>
                    <a:gd name="T5" fmla="*/ 20 h 79"/>
                    <a:gd name="T6" fmla="*/ 34 w 113"/>
                    <a:gd name="T7" fmla="*/ 23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3" h="79">
                      <a:moveTo>
                        <a:pt x="34" y="23"/>
                      </a:moveTo>
                      <a:cubicBezTo>
                        <a:pt x="1" y="46"/>
                        <a:pt x="0" y="79"/>
                        <a:pt x="0" y="79"/>
                      </a:cubicBezTo>
                      <a:cubicBezTo>
                        <a:pt x="113" y="20"/>
                        <a:pt x="113" y="20"/>
                        <a:pt x="113" y="20"/>
                      </a:cubicBezTo>
                      <a:cubicBezTo>
                        <a:pt x="113" y="20"/>
                        <a:pt x="67" y="0"/>
                        <a:pt x="34" y="23"/>
                      </a:cubicBezTo>
                      <a:close/>
                    </a:path>
                  </a:pathLst>
                </a:custGeom>
                <a:solidFill>
                  <a:srgbClr val="689310">
                    <a:alpha val="4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2" name="îslíḍe">
                  <a:extLst>
                    <a:ext uri="{FF2B5EF4-FFF2-40B4-BE49-F238E27FC236}">
                      <a16:creationId xmlns:a16="http://schemas.microsoft.com/office/drawing/2014/main" id="{71860BEB-F3A7-3C40-8C4D-D0E88D608295}"/>
                    </a:ext>
                  </a:extLst>
                </p:cNvPr>
                <p:cNvSpPr/>
                <p:nvPr/>
              </p:nvSpPr>
              <p:spPr bwMode="auto">
                <a:xfrm rot="1261157">
                  <a:off x="4744185" y="3988156"/>
                  <a:ext cx="743632" cy="471497"/>
                </a:xfrm>
                <a:custGeom>
                  <a:avLst/>
                  <a:gdLst>
                    <a:gd name="T0" fmla="*/ 0 w 113"/>
                    <a:gd name="T1" fmla="*/ 58 h 72"/>
                    <a:gd name="T2" fmla="*/ 113 w 113"/>
                    <a:gd name="T3" fmla="*/ 0 h 72"/>
                    <a:gd name="T4" fmla="*/ 73 w 113"/>
                    <a:gd name="T5" fmla="*/ 54 h 72"/>
                    <a:gd name="T6" fmla="*/ 0 w 113"/>
                    <a:gd name="T7" fmla="*/ 58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3" h="72">
                      <a:moveTo>
                        <a:pt x="0" y="58"/>
                      </a:moveTo>
                      <a:cubicBezTo>
                        <a:pt x="113" y="0"/>
                        <a:pt x="113" y="0"/>
                        <a:pt x="113" y="0"/>
                      </a:cubicBezTo>
                      <a:cubicBezTo>
                        <a:pt x="113" y="0"/>
                        <a:pt x="103" y="36"/>
                        <a:pt x="73" y="54"/>
                      </a:cubicBezTo>
                      <a:cubicBezTo>
                        <a:pt x="41" y="72"/>
                        <a:pt x="0" y="58"/>
                        <a:pt x="0" y="58"/>
                      </a:cubicBezTo>
                      <a:close/>
                    </a:path>
                  </a:pathLst>
                </a:custGeom>
                <a:solidFill>
                  <a:srgbClr val="689310">
                    <a:alpha val="4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43" name="îṩļïde">
                  <a:extLst>
                    <a:ext uri="{FF2B5EF4-FFF2-40B4-BE49-F238E27FC236}">
                      <a16:creationId xmlns:a16="http://schemas.microsoft.com/office/drawing/2014/main" id="{E5C138E3-E97C-2743-BDE1-06A6BDC5CDEE}"/>
                    </a:ext>
                  </a:extLst>
                </p:cNvPr>
                <p:cNvSpPr/>
                <p:nvPr/>
              </p:nvSpPr>
              <p:spPr bwMode="auto">
                <a:xfrm rot="1261157">
                  <a:off x="4757723" y="3972855"/>
                  <a:ext cx="756290" cy="398715"/>
                </a:xfrm>
                <a:custGeom>
                  <a:avLst/>
                  <a:gdLst>
                    <a:gd name="T0" fmla="*/ 0 w 115"/>
                    <a:gd name="T1" fmla="*/ 60 h 61"/>
                    <a:gd name="T2" fmla="*/ 0 w 115"/>
                    <a:gd name="T3" fmla="*/ 59 h 61"/>
                    <a:gd name="T4" fmla="*/ 113 w 115"/>
                    <a:gd name="T5" fmla="*/ 0 h 61"/>
                    <a:gd name="T6" fmla="*/ 115 w 115"/>
                    <a:gd name="T7" fmla="*/ 1 h 61"/>
                    <a:gd name="T8" fmla="*/ 114 w 115"/>
                    <a:gd name="T9" fmla="*/ 3 h 61"/>
                    <a:gd name="T10" fmla="*/ 1 w 115"/>
                    <a:gd name="T11" fmla="*/ 61 h 61"/>
                    <a:gd name="T12" fmla="*/ 0 w 115"/>
                    <a:gd name="T13" fmla="*/ 6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5" h="61">
                      <a:moveTo>
                        <a:pt x="0" y="60"/>
                      </a:moveTo>
                      <a:cubicBezTo>
                        <a:pt x="0" y="60"/>
                        <a:pt x="0" y="59"/>
                        <a:pt x="0" y="59"/>
                      </a:cubicBezTo>
                      <a:cubicBezTo>
                        <a:pt x="113" y="0"/>
                        <a:pt x="113" y="0"/>
                        <a:pt x="113" y="0"/>
                      </a:cubicBezTo>
                      <a:cubicBezTo>
                        <a:pt x="113" y="0"/>
                        <a:pt x="114" y="1"/>
                        <a:pt x="115" y="1"/>
                      </a:cubicBezTo>
                      <a:cubicBezTo>
                        <a:pt x="115" y="2"/>
                        <a:pt x="114" y="3"/>
                        <a:pt x="114" y="3"/>
                      </a:cubicBezTo>
                      <a:cubicBezTo>
                        <a:pt x="1" y="61"/>
                        <a:pt x="1" y="61"/>
                        <a:pt x="1" y="61"/>
                      </a:cubicBezTo>
                      <a:cubicBezTo>
                        <a:pt x="1" y="61"/>
                        <a:pt x="0" y="61"/>
                        <a:pt x="0" y="60"/>
                      </a:cubicBezTo>
                      <a:close/>
                    </a:path>
                  </a:pathLst>
                </a:custGeom>
                <a:solidFill>
                  <a:srgbClr val="D1D88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/>
                </a:p>
              </p:txBody>
            </p:sp>
          </p:grpSp>
        </p:grpSp>
        <p:grpSp>
          <p:nvGrpSpPr>
            <p:cNvPr id="34" name="ïslidé">
              <a:extLst>
                <a:ext uri="{FF2B5EF4-FFF2-40B4-BE49-F238E27FC236}">
                  <a16:creationId xmlns:a16="http://schemas.microsoft.com/office/drawing/2014/main" id="{5D4D8312-9F8B-9E41-99F9-39F9AEA542D4}"/>
                </a:ext>
              </a:extLst>
            </p:cNvPr>
            <p:cNvGrpSpPr/>
            <p:nvPr/>
          </p:nvGrpSpPr>
          <p:grpSpPr>
            <a:xfrm rot="900000">
              <a:off x="6864759" y="4197463"/>
              <a:ext cx="473012" cy="403988"/>
              <a:chOff x="6828133" y="4140301"/>
              <a:chExt cx="473012" cy="403988"/>
            </a:xfrm>
          </p:grpSpPr>
          <p:grpSp>
            <p:nvGrpSpPr>
              <p:cNvPr id="35" name="isľïde">
                <a:extLst>
                  <a:ext uri="{FF2B5EF4-FFF2-40B4-BE49-F238E27FC236}">
                    <a16:creationId xmlns:a16="http://schemas.microsoft.com/office/drawing/2014/main" id="{0CF13C89-B5A0-434D-B211-2130C2E887F5}"/>
                  </a:ext>
                </a:extLst>
              </p:cNvPr>
              <p:cNvGrpSpPr/>
              <p:nvPr/>
            </p:nvGrpSpPr>
            <p:grpSpPr>
              <a:xfrm>
                <a:off x="6832194" y="4140301"/>
                <a:ext cx="468951" cy="403988"/>
                <a:chOff x="8225876" y="1844701"/>
                <a:chExt cx="366716" cy="315911"/>
              </a:xfrm>
            </p:grpSpPr>
            <p:sp>
              <p:nvSpPr>
                <p:cNvPr id="37" name="ïṡļíḋè">
                  <a:extLst>
                    <a:ext uri="{FF2B5EF4-FFF2-40B4-BE49-F238E27FC236}">
                      <a16:creationId xmlns:a16="http://schemas.microsoft.com/office/drawing/2014/main" id="{4B552A73-98DC-C544-9693-204AE9CABDE7}"/>
                    </a:ext>
                  </a:extLst>
                </p:cNvPr>
                <p:cNvSpPr/>
                <p:nvPr/>
              </p:nvSpPr>
              <p:spPr bwMode="auto">
                <a:xfrm>
                  <a:off x="8229055" y="1890738"/>
                  <a:ext cx="363537" cy="269874"/>
                </a:xfrm>
                <a:custGeom>
                  <a:avLst/>
                  <a:gdLst>
                    <a:gd name="T0" fmla="*/ 79 w 110"/>
                    <a:gd name="T1" fmla="*/ 57 h 82"/>
                    <a:gd name="T2" fmla="*/ 109 w 110"/>
                    <a:gd name="T3" fmla="*/ 0 h 82"/>
                    <a:gd name="T4" fmla="*/ 0 w 110"/>
                    <a:gd name="T5" fmla="*/ 65 h 82"/>
                    <a:gd name="T6" fmla="*/ 79 w 110"/>
                    <a:gd name="T7" fmla="*/ 57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0" h="82">
                      <a:moveTo>
                        <a:pt x="79" y="57"/>
                      </a:moveTo>
                      <a:cubicBezTo>
                        <a:pt x="110" y="32"/>
                        <a:pt x="109" y="0"/>
                        <a:pt x="109" y="0"/>
                      </a:cubicBezTo>
                      <a:cubicBezTo>
                        <a:pt x="0" y="65"/>
                        <a:pt x="0" y="65"/>
                        <a:pt x="0" y="65"/>
                      </a:cubicBezTo>
                      <a:cubicBezTo>
                        <a:pt x="0" y="65"/>
                        <a:pt x="47" y="82"/>
                        <a:pt x="79" y="57"/>
                      </a:cubicBezTo>
                      <a:close/>
                    </a:path>
                  </a:pathLst>
                </a:custGeom>
                <a:solidFill>
                  <a:srgbClr val="689310">
                    <a:alpha val="2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/>
                </a:p>
              </p:txBody>
            </p:sp>
            <p:sp>
              <p:nvSpPr>
                <p:cNvPr id="38" name="işľîḋe">
                  <a:extLst>
                    <a:ext uri="{FF2B5EF4-FFF2-40B4-BE49-F238E27FC236}">
                      <a16:creationId xmlns:a16="http://schemas.microsoft.com/office/drawing/2014/main" id="{8A0DCA90-2C49-8A4B-BAD6-B6664725919B}"/>
                    </a:ext>
                  </a:extLst>
                </p:cNvPr>
                <p:cNvSpPr/>
                <p:nvPr/>
              </p:nvSpPr>
              <p:spPr bwMode="auto">
                <a:xfrm>
                  <a:off x="8225876" y="1844701"/>
                  <a:ext cx="358774" cy="249238"/>
                </a:xfrm>
                <a:custGeom>
                  <a:avLst/>
                  <a:gdLst>
                    <a:gd name="T0" fmla="*/ 109 w 109"/>
                    <a:gd name="T1" fmla="*/ 11 h 76"/>
                    <a:gd name="T2" fmla="*/ 0 w 109"/>
                    <a:gd name="T3" fmla="*/ 76 h 76"/>
                    <a:gd name="T4" fmla="*/ 37 w 109"/>
                    <a:gd name="T5" fmla="*/ 20 h 76"/>
                    <a:gd name="T6" fmla="*/ 109 w 109"/>
                    <a:gd name="T7" fmla="*/ 11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9" h="76">
                      <a:moveTo>
                        <a:pt x="109" y="11"/>
                      </a:move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0" y="76"/>
                        <a:pt x="8" y="40"/>
                        <a:pt x="37" y="20"/>
                      </a:cubicBezTo>
                      <a:cubicBezTo>
                        <a:pt x="68" y="0"/>
                        <a:pt x="109" y="11"/>
                        <a:pt x="109" y="11"/>
                      </a:cubicBezTo>
                      <a:close/>
                    </a:path>
                  </a:pathLst>
                </a:custGeom>
                <a:solidFill>
                  <a:srgbClr val="649603">
                    <a:alpha val="2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36" name="iśḻíḑé">
                <a:extLst>
                  <a:ext uri="{FF2B5EF4-FFF2-40B4-BE49-F238E27FC236}">
                    <a16:creationId xmlns:a16="http://schemas.microsoft.com/office/drawing/2014/main" id="{D24FD213-CC47-8746-B356-A23B8F0FBC84}"/>
                  </a:ext>
                </a:extLst>
              </p:cNvPr>
              <p:cNvSpPr/>
              <p:nvPr/>
            </p:nvSpPr>
            <p:spPr bwMode="auto">
              <a:xfrm>
                <a:off x="6828133" y="4184964"/>
                <a:ext cx="468951" cy="288274"/>
              </a:xfrm>
              <a:custGeom>
                <a:avLst/>
                <a:gdLst>
                  <a:gd name="T0" fmla="*/ 111 w 111"/>
                  <a:gd name="T1" fmla="*/ 1 h 68"/>
                  <a:gd name="T2" fmla="*/ 111 w 111"/>
                  <a:gd name="T3" fmla="*/ 3 h 68"/>
                  <a:gd name="T4" fmla="*/ 2 w 111"/>
                  <a:gd name="T5" fmla="*/ 68 h 68"/>
                  <a:gd name="T6" fmla="*/ 1 w 111"/>
                  <a:gd name="T7" fmla="*/ 67 h 68"/>
                  <a:gd name="T8" fmla="*/ 1 w 111"/>
                  <a:gd name="T9" fmla="*/ 65 h 68"/>
                  <a:gd name="T10" fmla="*/ 110 w 111"/>
                  <a:gd name="T11" fmla="*/ 0 h 68"/>
                  <a:gd name="T12" fmla="*/ 111 w 111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1" h="68">
                    <a:moveTo>
                      <a:pt x="111" y="1"/>
                    </a:moveTo>
                    <a:cubicBezTo>
                      <a:pt x="111" y="1"/>
                      <a:pt x="111" y="3"/>
                      <a:pt x="111" y="3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2" y="68"/>
                      <a:pt x="1" y="68"/>
                      <a:pt x="1" y="67"/>
                    </a:cubicBezTo>
                    <a:cubicBezTo>
                      <a:pt x="0" y="67"/>
                      <a:pt x="1" y="65"/>
                      <a:pt x="1" y="65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10" y="0"/>
                      <a:pt x="111" y="0"/>
                      <a:pt x="111" y="1"/>
                    </a:cubicBezTo>
                    <a:close/>
                  </a:path>
                </a:pathLst>
              </a:custGeom>
              <a:solidFill>
                <a:srgbClr val="D1D8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 dirty="0"/>
              </a:p>
            </p:txBody>
          </p:sp>
        </p:grpSp>
      </p:grpSp>
      <p:grpSp>
        <p:nvGrpSpPr>
          <p:cNvPr id="12" name="îŝļiḓe">
            <a:extLst>
              <a:ext uri="{FF2B5EF4-FFF2-40B4-BE49-F238E27FC236}">
                <a16:creationId xmlns:a16="http://schemas.microsoft.com/office/drawing/2014/main" id="{80431F11-D9D0-FA4E-BD3B-A75326956D06}"/>
              </a:ext>
            </a:extLst>
          </p:cNvPr>
          <p:cNvGrpSpPr/>
          <p:nvPr/>
        </p:nvGrpSpPr>
        <p:grpSpPr>
          <a:xfrm>
            <a:off x="1001032" y="1130301"/>
            <a:ext cx="3387951" cy="1015664"/>
            <a:chOff x="641122" y="2299255"/>
            <a:chExt cx="3187927" cy="1015664"/>
          </a:xfrm>
        </p:grpSpPr>
        <p:sp>
          <p:nvSpPr>
            <p:cNvPr id="28" name="ïṥḻiḋè">
              <a:extLst>
                <a:ext uri="{FF2B5EF4-FFF2-40B4-BE49-F238E27FC236}">
                  <a16:creationId xmlns:a16="http://schemas.microsoft.com/office/drawing/2014/main" id="{3B805957-CD01-BA4A-A9FD-23F8857F8D38}"/>
                </a:ext>
              </a:extLst>
            </p:cNvPr>
            <p:cNvSpPr/>
            <p:nvPr/>
          </p:nvSpPr>
          <p:spPr>
            <a:xfrm flipH="1">
              <a:off x="641122" y="2299255"/>
              <a:ext cx="3187927" cy="5078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000" b="1" dirty="0"/>
                <a:t>特殊流量分析</a:t>
              </a:r>
            </a:p>
          </p:txBody>
        </p:sp>
        <p:sp>
          <p:nvSpPr>
            <p:cNvPr id="29" name="îṣḷîdé">
              <a:extLst>
                <a:ext uri="{FF2B5EF4-FFF2-40B4-BE49-F238E27FC236}">
                  <a16:creationId xmlns:a16="http://schemas.microsoft.com/office/drawing/2014/main" id="{316410B6-CFB9-6747-940F-4650000F8B65}"/>
                </a:ext>
              </a:extLst>
            </p:cNvPr>
            <p:cNvSpPr txBox="1"/>
            <p:nvPr/>
          </p:nvSpPr>
          <p:spPr>
            <a:xfrm flipH="1">
              <a:off x="641122" y="2807087"/>
              <a:ext cx="3187927" cy="507832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kumimoji="1" lang="en-US" altLang="zh-CN" sz="1100" dirty="0" err="1"/>
                <a:t>correlation.auto_tag_keys</a:t>
              </a:r>
              <a:endParaRPr kumimoji="1"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OAL</a:t>
              </a:r>
              <a:r>
                <a:rPr lang="zh-CN" altLang="en-US" sz="1100" dirty="0"/>
                <a:t> 支持</a:t>
              </a:r>
              <a:r>
                <a:rPr lang="en-US" altLang="zh-CN" sz="1100" dirty="0"/>
                <a:t>tags</a:t>
              </a:r>
              <a:r>
                <a:rPr lang="zh-CN" altLang="en-US" sz="1100" dirty="0"/>
                <a:t>分析</a:t>
              </a:r>
              <a:endParaRPr lang="en-US" altLang="zh-CN" sz="1100" dirty="0"/>
            </a:p>
          </p:txBody>
        </p:sp>
      </p:grpSp>
      <p:sp>
        <p:nvSpPr>
          <p:cNvPr id="25" name="îṧļiḍe">
            <a:extLst>
              <a:ext uri="{FF2B5EF4-FFF2-40B4-BE49-F238E27FC236}">
                <a16:creationId xmlns:a16="http://schemas.microsoft.com/office/drawing/2014/main" id="{273CF15C-99EA-4444-98C6-73471FB68DC2}"/>
              </a:ext>
            </a:extLst>
          </p:cNvPr>
          <p:cNvSpPr/>
          <p:nvPr/>
        </p:nvSpPr>
        <p:spPr>
          <a:xfrm flipH="1">
            <a:off x="1001032" y="4127998"/>
            <a:ext cx="3387951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2000" b="1" dirty="0" err="1"/>
              <a:t>TraceId</a:t>
            </a:r>
            <a:r>
              <a:rPr lang="zh-CN" altLang="en-US" sz="2000" b="1" dirty="0"/>
              <a:t>唯一性</a:t>
            </a:r>
          </a:p>
        </p:txBody>
      </p:sp>
      <p:grpSp>
        <p:nvGrpSpPr>
          <p:cNvPr id="14" name="iṩlïḑé">
            <a:extLst>
              <a:ext uri="{FF2B5EF4-FFF2-40B4-BE49-F238E27FC236}">
                <a16:creationId xmlns:a16="http://schemas.microsoft.com/office/drawing/2014/main" id="{FF2200B7-4A63-E94C-A946-60372D92EC70}"/>
              </a:ext>
            </a:extLst>
          </p:cNvPr>
          <p:cNvGrpSpPr/>
          <p:nvPr/>
        </p:nvGrpSpPr>
        <p:grpSpPr>
          <a:xfrm>
            <a:off x="8130949" y="2099833"/>
            <a:ext cx="3387951" cy="1015664"/>
            <a:chOff x="8130946" y="2741013"/>
            <a:chExt cx="3387951" cy="1015664"/>
          </a:xfrm>
        </p:grpSpPr>
        <p:sp>
          <p:nvSpPr>
            <p:cNvPr id="23" name="i$ḷïdé">
              <a:extLst>
                <a:ext uri="{FF2B5EF4-FFF2-40B4-BE49-F238E27FC236}">
                  <a16:creationId xmlns:a16="http://schemas.microsoft.com/office/drawing/2014/main" id="{0EF1BA28-ADE1-3A47-9E37-26B9E9AC9D56}"/>
                </a:ext>
              </a:extLst>
            </p:cNvPr>
            <p:cNvSpPr/>
            <p:nvPr/>
          </p:nvSpPr>
          <p:spPr>
            <a:xfrm flipH="1">
              <a:off x="8130946" y="2741013"/>
              <a:ext cx="3387951" cy="5078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000" b="1" dirty="0"/>
                <a:t>特殊流量搜索</a:t>
              </a:r>
            </a:p>
          </p:txBody>
        </p:sp>
        <p:sp>
          <p:nvSpPr>
            <p:cNvPr id="24" name="iŝ1iďé">
              <a:extLst>
                <a:ext uri="{FF2B5EF4-FFF2-40B4-BE49-F238E27FC236}">
                  <a16:creationId xmlns:a16="http://schemas.microsoft.com/office/drawing/2014/main" id="{F5AC8072-BC65-F44A-8D7F-BC28E825E9CC}"/>
                </a:ext>
              </a:extLst>
            </p:cNvPr>
            <p:cNvSpPr txBox="1"/>
            <p:nvPr/>
          </p:nvSpPr>
          <p:spPr>
            <a:xfrm flipH="1">
              <a:off x="8130946" y="3248845"/>
              <a:ext cx="3387951" cy="507832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 err="1"/>
                <a:t>SearchTag</a:t>
              </a:r>
              <a:endParaRPr lang="en-US" altLang="zh-CN" sz="1100" dirty="0"/>
            </a:p>
          </p:txBody>
        </p:sp>
      </p:grpSp>
      <p:sp>
        <p:nvSpPr>
          <p:cNvPr id="15" name="îṥḻïḓé">
            <a:extLst>
              <a:ext uri="{FF2B5EF4-FFF2-40B4-BE49-F238E27FC236}">
                <a16:creationId xmlns:a16="http://schemas.microsoft.com/office/drawing/2014/main" id="{EF789A59-C48D-6640-A7EF-3AB45DF8DBBE}"/>
              </a:ext>
            </a:extLst>
          </p:cNvPr>
          <p:cNvSpPr/>
          <p:nvPr/>
        </p:nvSpPr>
        <p:spPr bwMode="auto">
          <a:xfrm>
            <a:off x="669925" y="4263686"/>
            <a:ext cx="274356" cy="236453"/>
          </a:xfrm>
          <a:custGeom>
            <a:avLst/>
            <a:gdLst>
              <a:gd name="T0" fmla="*/ 2937 w 2937"/>
              <a:gd name="T1" fmla="*/ 1232 h 2535"/>
              <a:gd name="T2" fmla="*/ 2870 w 2937"/>
              <a:gd name="T3" fmla="*/ 1298 h 2535"/>
              <a:gd name="T4" fmla="*/ 2651 w 2937"/>
              <a:gd name="T5" fmla="*/ 1298 h 2535"/>
              <a:gd name="T6" fmla="*/ 2651 w 2937"/>
              <a:gd name="T7" fmla="*/ 2454 h 2535"/>
              <a:gd name="T8" fmla="*/ 2584 w 2937"/>
              <a:gd name="T9" fmla="*/ 2521 h 2535"/>
              <a:gd name="T10" fmla="*/ 1809 w 2937"/>
              <a:gd name="T11" fmla="*/ 2521 h 2535"/>
              <a:gd name="T12" fmla="*/ 1742 w 2937"/>
              <a:gd name="T13" fmla="*/ 2454 h 2535"/>
              <a:gd name="T14" fmla="*/ 1742 w 2937"/>
              <a:gd name="T15" fmla="*/ 1298 h 2535"/>
              <a:gd name="T16" fmla="*/ 1261 w 2937"/>
              <a:gd name="T17" fmla="*/ 1298 h 2535"/>
              <a:gd name="T18" fmla="*/ 1194 w 2937"/>
              <a:gd name="T19" fmla="*/ 1232 h 2535"/>
              <a:gd name="T20" fmla="*/ 1209 w 2937"/>
              <a:gd name="T21" fmla="*/ 1191 h 2535"/>
              <a:gd name="T22" fmla="*/ 1002 w 2937"/>
              <a:gd name="T23" fmla="*/ 1018 h 2535"/>
              <a:gd name="T24" fmla="*/ 996 w 2937"/>
              <a:gd name="T25" fmla="*/ 1012 h 2535"/>
              <a:gd name="T26" fmla="*/ 983 w 2937"/>
              <a:gd name="T27" fmla="*/ 1007 h 2535"/>
              <a:gd name="T28" fmla="*/ 967 w 2937"/>
              <a:gd name="T29" fmla="*/ 1019 h 2535"/>
              <a:gd name="T30" fmla="*/ 966 w 2937"/>
              <a:gd name="T31" fmla="*/ 1020 h 2535"/>
              <a:gd name="T32" fmla="*/ 800 w 2937"/>
              <a:gd name="T33" fmla="*/ 1458 h 2535"/>
              <a:gd name="T34" fmla="*/ 808 w 2937"/>
              <a:gd name="T35" fmla="*/ 1510 h 2535"/>
              <a:gd name="T36" fmla="*/ 855 w 2937"/>
              <a:gd name="T37" fmla="*/ 1534 h 2535"/>
              <a:gd name="T38" fmla="*/ 1156 w 2937"/>
              <a:gd name="T39" fmla="*/ 1534 h 2535"/>
              <a:gd name="T40" fmla="*/ 1354 w 2937"/>
              <a:gd name="T41" fmla="*/ 1704 h 2535"/>
              <a:gd name="T42" fmla="*/ 1463 w 2937"/>
              <a:gd name="T43" fmla="*/ 2364 h 2535"/>
              <a:gd name="T44" fmla="*/ 1429 w 2937"/>
              <a:gd name="T45" fmla="*/ 2483 h 2535"/>
              <a:gd name="T46" fmla="*/ 1317 w 2937"/>
              <a:gd name="T47" fmla="*/ 2535 h 2535"/>
              <a:gd name="T48" fmla="*/ 1170 w 2937"/>
              <a:gd name="T49" fmla="*/ 2411 h 2535"/>
              <a:gd name="T50" fmla="*/ 1076 w 2937"/>
              <a:gd name="T51" fmla="*/ 1914 h 2535"/>
              <a:gd name="T52" fmla="*/ 1011 w 2937"/>
              <a:gd name="T53" fmla="*/ 1858 h 2535"/>
              <a:gd name="T54" fmla="*/ 813 w 2937"/>
              <a:gd name="T55" fmla="*/ 1858 h 2535"/>
              <a:gd name="T56" fmla="*/ 813 w 2937"/>
              <a:gd name="T57" fmla="*/ 2454 h 2535"/>
              <a:gd name="T58" fmla="*/ 747 w 2937"/>
              <a:gd name="T59" fmla="*/ 2521 h 2535"/>
              <a:gd name="T60" fmla="*/ 176 w 2937"/>
              <a:gd name="T61" fmla="*/ 2521 h 2535"/>
              <a:gd name="T62" fmla="*/ 109 w 2937"/>
              <a:gd name="T63" fmla="*/ 2454 h 2535"/>
              <a:gd name="T64" fmla="*/ 109 w 2937"/>
              <a:gd name="T65" fmla="*/ 1842 h 2535"/>
              <a:gd name="T66" fmla="*/ 5 w 2937"/>
              <a:gd name="T67" fmla="*/ 1045 h 2535"/>
              <a:gd name="T68" fmla="*/ 62 w 2937"/>
              <a:gd name="T69" fmla="*/ 970 h 2535"/>
              <a:gd name="T70" fmla="*/ 137 w 2937"/>
              <a:gd name="T71" fmla="*/ 1028 h 2535"/>
              <a:gd name="T72" fmla="*/ 230 w 2937"/>
              <a:gd name="T73" fmla="*/ 1739 h 2535"/>
              <a:gd name="T74" fmla="*/ 345 w 2937"/>
              <a:gd name="T75" fmla="*/ 1739 h 2535"/>
              <a:gd name="T76" fmla="*/ 330 w 2937"/>
              <a:gd name="T77" fmla="*/ 1663 h 2535"/>
              <a:gd name="T78" fmla="*/ 340 w 2937"/>
              <a:gd name="T79" fmla="*/ 1601 h 2535"/>
              <a:gd name="T80" fmla="*/ 621 w 2937"/>
              <a:gd name="T81" fmla="*/ 805 h 2535"/>
              <a:gd name="T82" fmla="*/ 785 w 2937"/>
              <a:gd name="T83" fmla="*/ 636 h 2535"/>
              <a:gd name="T84" fmla="*/ 655 w 2937"/>
              <a:gd name="T85" fmla="*/ 360 h 2535"/>
              <a:gd name="T86" fmla="*/ 1015 w 2937"/>
              <a:gd name="T87" fmla="*/ 0 h 2535"/>
              <a:gd name="T88" fmla="*/ 1375 w 2937"/>
              <a:gd name="T89" fmla="*/ 360 h 2535"/>
              <a:gd name="T90" fmla="*/ 1141 w 2937"/>
              <a:gd name="T91" fmla="*/ 697 h 2535"/>
              <a:gd name="T92" fmla="*/ 1395 w 2937"/>
              <a:gd name="T93" fmla="*/ 919 h 2535"/>
              <a:gd name="T94" fmla="*/ 1748 w 2937"/>
              <a:gd name="T95" fmla="*/ 946 h 2535"/>
              <a:gd name="T96" fmla="*/ 1767 w 2937"/>
              <a:gd name="T97" fmla="*/ 950 h 2535"/>
              <a:gd name="T98" fmla="*/ 1858 w 2937"/>
              <a:gd name="T99" fmla="*/ 1083 h 2535"/>
              <a:gd name="T100" fmla="*/ 1832 w 2937"/>
              <a:gd name="T101" fmla="*/ 1165 h 2535"/>
              <a:gd name="T102" fmla="*/ 2022 w 2937"/>
              <a:gd name="T103" fmla="*/ 1165 h 2535"/>
              <a:gd name="T104" fmla="*/ 1978 w 2937"/>
              <a:gd name="T105" fmla="*/ 1103 h 2535"/>
              <a:gd name="T106" fmla="*/ 2045 w 2937"/>
              <a:gd name="T107" fmla="*/ 1036 h 2535"/>
              <a:gd name="T108" fmla="*/ 2522 w 2937"/>
              <a:gd name="T109" fmla="*/ 1036 h 2535"/>
              <a:gd name="T110" fmla="*/ 2650 w 2937"/>
              <a:gd name="T111" fmla="*/ 571 h 2535"/>
              <a:gd name="T112" fmla="*/ 2732 w 2937"/>
              <a:gd name="T113" fmla="*/ 525 h 2535"/>
              <a:gd name="T114" fmla="*/ 2779 w 2937"/>
              <a:gd name="T115" fmla="*/ 607 h 2535"/>
              <a:gd name="T116" fmla="*/ 2637 w 2937"/>
              <a:gd name="T117" fmla="*/ 1120 h 2535"/>
              <a:gd name="T118" fmla="*/ 2596 w 2937"/>
              <a:gd name="T119" fmla="*/ 1165 h 2535"/>
              <a:gd name="T120" fmla="*/ 2870 w 2937"/>
              <a:gd name="T121" fmla="*/ 1165 h 2535"/>
              <a:gd name="T122" fmla="*/ 2937 w 2937"/>
              <a:gd name="T123" fmla="*/ 1232 h 2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37" h="2535">
                <a:moveTo>
                  <a:pt x="2937" y="1232"/>
                </a:moveTo>
                <a:cubicBezTo>
                  <a:pt x="2937" y="1268"/>
                  <a:pt x="2907" y="1298"/>
                  <a:pt x="2870" y="1298"/>
                </a:cubicBezTo>
                <a:lnTo>
                  <a:pt x="2651" y="1298"/>
                </a:lnTo>
                <a:lnTo>
                  <a:pt x="2651" y="2454"/>
                </a:lnTo>
                <a:cubicBezTo>
                  <a:pt x="2651" y="2491"/>
                  <a:pt x="2621" y="2521"/>
                  <a:pt x="2584" y="2521"/>
                </a:cubicBezTo>
                <a:lnTo>
                  <a:pt x="1809" y="2521"/>
                </a:lnTo>
                <a:cubicBezTo>
                  <a:pt x="1772" y="2521"/>
                  <a:pt x="1742" y="2491"/>
                  <a:pt x="1742" y="2454"/>
                </a:cubicBezTo>
                <a:lnTo>
                  <a:pt x="1742" y="1298"/>
                </a:lnTo>
                <a:lnTo>
                  <a:pt x="1261" y="1298"/>
                </a:lnTo>
                <a:cubicBezTo>
                  <a:pt x="1224" y="1298"/>
                  <a:pt x="1194" y="1268"/>
                  <a:pt x="1194" y="1232"/>
                </a:cubicBezTo>
                <a:cubicBezTo>
                  <a:pt x="1194" y="1216"/>
                  <a:pt x="1200" y="1202"/>
                  <a:pt x="1209" y="1191"/>
                </a:cubicBezTo>
                <a:lnTo>
                  <a:pt x="1002" y="1018"/>
                </a:lnTo>
                <a:cubicBezTo>
                  <a:pt x="1000" y="1016"/>
                  <a:pt x="998" y="1014"/>
                  <a:pt x="996" y="1012"/>
                </a:cubicBezTo>
                <a:cubicBezTo>
                  <a:pt x="992" y="1009"/>
                  <a:pt x="988" y="1007"/>
                  <a:pt x="983" y="1007"/>
                </a:cubicBezTo>
                <a:cubicBezTo>
                  <a:pt x="981" y="1007"/>
                  <a:pt x="970" y="1007"/>
                  <a:pt x="967" y="1019"/>
                </a:cubicBezTo>
                <a:cubicBezTo>
                  <a:pt x="966" y="1019"/>
                  <a:pt x="966" y="1020"/>
                  <a:pt x="966" y="1020"/>
                </a:cubicBezTo>
                <a:lnTo>
                  <a:pt x="800" y="1458"/>
                </a:lnTo>
                <a:cubicBezTo>
                  <a:pt x="794" y="1476"/>
                  <a:pt x="797" y="1495"/>
                  <a:pt x="808" y="1510"/>
                </a:cubicBezTo>
                <a:cubicBezTo>
                  <a:pt x="819" y="1525"/>
                  <a:pt x="836" y="1534"/>
                  <a:pt x="855" y="1534"/>
                </a:cubicBezTo>
                <a:lnTo>
                  <a:pt x="1156" y="1534"/>
                </a:lnTo>
                <a:cubicBezTo>
                  <a:pt x="1255" y="1534"/>
                  <a:pt x="1339" y="1607"/>
                  <a:pt x="1354" y="1704"/>
                </a:cubicBezTo>
                <a:lnTo>
                  <a:pt x="1463" y="2364"/>
                </a:lnTo>
                <a:cubicBezTo>
                  <a:pt x="1470" y="2408"/>
                  <a:pt x="1457" y="2451"/>
                  <a:pt x="1429" y="2483"/>
                </a:cubicBezTo>
                <a:cubicBezTo>
                  <a:pt x="1401" y="2516"/>
                  <a:pt x="1360" y="2535"/>
                  <a:pt x="1317" y="2535"/>
                </a:cubicBezTo>
                <a:cubicBezTo>
                  <a:pt x="1244" y="2535"/>
                  <a:pt x="1183" y="2483"/>
                  <a:pt x="1170" y="2411"/>
                </a:cubicBezTo>
                <a:lnTo>
                  <a:pt x="1076" y="1914"/>
                </a:lnTo>
                <a:cubicBezTo>
                  <a:pt x="1071" y="1881"/>
                  <a:pt x="1043" y="1858"/>
                  <a:pt x="1011" y="1858"/>
                </a:cubicBezTo>
                <a:lnTo>
                  <a:pt x="813" y="1858"/>
                </a:lnTo>
                <a:lnTo>
                  <a:pt x="813" y="2454"/>
                </a:lnTo>
                <a:cubicBezTo>
                  <a:pt x="813" y="2491"/>
                  <a:pt x="784" y="2521"/>
                  <a:pt x="747" y="2521"/>
                </a:cubicBezTo>
                <a:lnTo>
                  <a:pt x="176" y="2521"/>
                </a:lnTo>
                <a:cubicBezTo>
                  <a:pt x="139" y="2521"/>
                  <a:pt x="109" y="2491"/>
                  <a:pt x="109" y="2454"/>
                </a:cubicBezTo>
                <a:lnTo>
                  <a:pt x="109" y="1842"/>
                </a:lnTo>
                <a:lnTo>
                  <a:pt x="5" y="1045"/>
                </a:lnTo>
                <a:cubicBezTo>
                  <a:pt x="0" y="1008"/>
                  <a:pt x="26" y="975"/>
                  <a:pt x="62" y="970"/>
                </a:cubicBezTo>
                <a:cubicBezTo>
                  <a:pt x="99" y="965"/>
                  <a:pt x="132" y="991"/>
                  <a:pt x="137" y="1028"/>
                </a:cubicBezTo>
                <a:lnTo>
                  <a:pt x="230" y="1739"/>
                </a:lnTo>
                <a:lnTo>
                  <a:pt x="345" y="1739"/>
                </a:lnTo>
                <a:cubicBezTo>
                  <a:pt x="335" y="1716"/>
                  <a:pt x="330" y="1690"/>
                  <a:pt x="330" y="1663"/>
                </a:cubicBezTo>
                <a:cubicBezTo>
                  <a:pt x="330" y="1642"/>
                  <a:pt x="333" y="1621"/>
                  <a:pt x="340" y="1601"/>
                </a:cubicBezTo>
                <a:lnTo>
                  <a:pt x="621" y="805"/>
                </a:lnTo>
                <a:cubicBezTo>
                  <a:pt x="648" y="725"/>
                  <a:pt x="709" y="664"/>
                  <a:pt x="785" y="636"/>
                </a:cubicBezTo>
                <a:cubicBezTo>
                  <a:pt x="706" y="570"/>
                  <a:pt x="655" y="471"/>
                  <a:pt x="655" y="360"/>
                </a:cubicBezTo>
                <a:cubicBezTo>
                  <a:pt x="655" y="161"/>
                  <a:pt x="817" y="0"/>
                  <a:pt x="1015" y="0"/>
                </a:cubicBezTo>
                <a:cubicBezTo>
                  <a:pt x="1213" y="0"/>
                  <a:pt x="1375" y="161"/>
                  <a:pt x="1375" y="360"/>
                </a:cubicBezTo>
                <a:cubicBezTo>
                  <a:pt x="1375" y="514"/>
                  <a:pt x="1277" y="646"/>
                  <a:pt x="1141" y="697"/>
                </a:cubicBezTo>
                <a:lnTo>
                  <a:pt x="1395" y="919"/>
                </a:lnTo>
                <a:lnTo>
                  <a:pt x="1748" y="946"/>
                </a:lnTo>
                <a:cubicBezTo>
                  <a:pt x="1755" y="946"/>
                  <a:pt x="1761" y="948"/>
                  <a:pt x="1767" y="950"/>
                </a:cubicBezTo>
                <a:cubicBezTo>
                  <a:pt x="1822" y="971"/>
                  <a:pt x="1858" y="1024"/>
                  <a:pt x="1858" y="1083"/>
                </a:cubicBezTo>
                <a:cubicBezTo>
                  <a:pt x="1858" y="1113"/>
                  <a:pt x="1849" y="1142"/>
                  <a:pt x="1832" y="1165"/>
                </a:cubicBezTo>
                <a:lnTo>
                  <a:pt x="2022" y="1165"/>
                </a:lnTo>
                <a:cubicBezTo>
                  <a:pt x="1996" y="1155"/>
                  <a:pt x="1978" y="1131"/>
                  <a:pt x="1978" y="1103"/>
                </a:cubicBezTo>
                <a:cubicBezTo>
                  <a:pt x="1978" y="1066"/>
                  <a:pt x="2008" y="1036"/>
                  <a:pt x="2045" y="1036"/>
                </a:cubicBezTo>
                <a:lnTo>
                  <a:pt x="2522" y="1036"/>
                </a:lnTo>
                <a:lnTo>
                  <a:pt x="2650" y="571"/>
                </a:lnTo>
                <a:cubicBezTo>
                  <a:pt x="2660" y="536"/>
                  <a:pt x="2697" y="515"/>
                  <a:pt x="2732" y="525"/>
                </a:cubicBezTo>
                <a:cubicBezTo>
                  <a:pt x="2768" y="534"/>
                  <a:pt x="2789" y="571"/>
                  <a:pt x="2779" y="607"/>
                </a:cubicBezTo>
                <a:lnTo>
                  <a:pt x="2637" y="1120"/>
                </a:lnTo>
                <a:cubicBezTo>
                  <a:pt x="2631" y="1141"/>
                  <a:pt x="2616" y="1158"/>
                  <a:pt x="2596" y="1165"/>
                </a:cubicBezTo>
                <a:lnTo>
                  <a:pt x="2870" y="1165"/>
                </a:lnTo>
                <a:cubicBezTo>
                  <a:pt x="2907" y="1165"/>
                  <a:pt x="2937" y="1195"/>
                  <a:pt x="2937" y="12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16" name="ísḻïḍe">
            <a:extLst>
              <a:ext uri="{FF2B5EF4-FFF2-40B4-BE49-F238E27FC236}">
                <a16:creationId xmlns:a16="http://schemas.microsoft.com/office/drawing/2014/main" id="{CCF9A363-9CE8-D04B-9B5E-0772AE778CDF}"/>
              </a:ext>
            </a:extLst>
          </p:cNvPr>
          <p:cNvSpPr/>
          <p:nvPr/>
        </p:nvSpPr>
        <p:spPr bwMode="auto">
          <a:xfrm>
            <a:off x="669925" y="1259744"/>
            <a:ext cx="274356" cy="248943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grpSp>
        <p:nvGrpSpPr>
          <p:cNvPr id="17" name="ïṣḻíḍè">
            <a:extLst>
              <a:ext uri="{FF2B5EF4-FFF2-40B4-BE49-F238E27FC236}">
                <a16:creationId xmlns:a16="http://schemas.microsoft.com/office/drawing/2014/main" id="{072D1943-A524-A34B-A313-ED3F4EED2555}"/>
              </a:ext>
            </a:extLst>
          </p:cNvPr>
          <p:cNvGrpSpPr/>
          <p:nvPr/>
        </p:nvGrpSpPr>
        <p:grpSpPr>
          <a:xfrm>
            <a:off x="8130949" y="3985123"/>
            <a:ext cx="3387951" cy="1015664"/>
            <a:chOff x="673100" y="4127997"/>
            <a:chExt cx="3387951" cy="1015664"/>
          </a:xfrm>
        </p:grpSpPr>
        <p:sp>
          <p:nvSpPr>
            <p:cNvPr id="20" name="ïṡľîde">
              <a:extLst>
                <a:ext uri="{FF2B5EF4-FFF2-40B4-BE49-F238E27FC236}">
                  <a16:creationId xmlns:a16="http://schemas.microsoft.com/office/drawing/2014/main" id="{C0808605-7923-C143-B290-505B7CDCEB7D}"/>
                </a:ext>
              </a:extLst>
            </p:cNvPr>
            <p:cNvSpPr/>
            <p:nvPr/>
          </p:nvSpPr>
          <p:spPr>
            <a:xfrm flipH="1">
              <a:off x="673100" y="4127997"/>
              <a:ext cx="3387951" cy="5078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000" b="1" dirty="0"/>
                <a:t>业务信息传递</a:t>
              </a:r>
            </a:p>
          </p:txBody>
        </p:sp>
        <p:sp>
          <p:nvSpPr>
            <p:cNvPr id="21" name="îṩľîḍê">
              <a:extLst>
                <a:ext uri="{FF2B5EF4-FFF2-40B4-BE49-F238E27FC236}">
                  <a16:creationId xmlns:a16="http://schemas.microsoft.com/office/drawing/2014/main" id="{7EB674B7-80CC-DD4E-B283-29E384243D49}"/>
                </a:ext>
              </a:extLst>
            </p:cNvPr>
            <p:cNvSpPr txBox="1"/>
            <p:nvPr/>
          </p:nvSpPr>
          <p:spPr>
            <a:xfrm flipH="1">
              <a:off x="673100" y="4635829"/>
              <a:ext cx="3387951" cy="507832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 err="1"/>
                <a:t>CorrelationContext</a:t>
              </a:r>
              <a:endParaRPr lang="en-US" altLang="zh-CN" sz="1100" dirty="0"/>
            </a:p>
          </p:txBody>
        </p:sp>
      </p:grpSp>
      <p:sp>
        <p:nvSpPr>
          <p:cNvPr id="18" name="ïşļíḓé">
            <a:extLst>
              <a:ext uri="{FF2B5EF4-FFF2-40B4-BE49-F238E27FC236}">
                <a16:creationId xmlns:a16="http://schemas.microsoft.com/office/drawing/2014/main" id="{2B6A1CC2-B445-5048-84E5-03DB35FE4B64}"/>
              </a:ext>
            </a:extLst>
          </p:cNvPr>
          <p:cNvSpPr/>
          <p:nvPr/>
        </p:nvSpPr>
        <p:spPr bwMode="auto">
          <a:xfrm>
            <a:off x="7799842" y="4115335"/>
            <a:ext cx="274356" cy="247404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19" name="î$líḑe">
            <a:extLst>
              <a:ext uri="{FF2B5EF4-FFF2-40B4-BE49-F238E27FC236}">
                <a16:creationId xmlns:a16="http://schemas.microsoft.com/office/drawing/2014/main" id="{2B08ADBC-01E1-9B4C-AFB1-5C87A79C3F8E}"/>
              </a:ext>
            </a:extLst>
          </p:cNvPr>
          <p:cNvSpPr/>
          <p:nvPr/>
        </p:nvSpPr>
        <p:spPr bwMode="auto">
          <a:xfrm>
            <a:off x="7799842" y="2246188"/>
            <a:ext cx="274356" cy="199182"/>
          </a:xfrm>
          <a:custGeom>
            <a:avLst/>
            <a:gdLst>
              <a:gd name="connsiteX0" fmla="*/ 467299 w 608627"/>
              <a:gd name="connsiteY0" fmla="*/ 61262 h 441863"/>
              <a:gd name="connsiteX1" fmla="*/ 467299 w 608627"/>
              <a:gd name="connsiteY1" fmla="*/ 88065 h 441863"/>
              <a:gd name="connsiteX2" fmla="*/ 440549 w 608627"/>
              <a:gd name="connsiteY2" fmla="*/ 88065 h 441863"/>
              <a:gd name="connsiteX3" fmla="*/ 440549 w 608627"/>
              <a:gd name="connsiteY3" fmla="*/ 108704 h 441863"/>
              <a:gd name="connsiteX4" fmla="*/ 467299 w 608627"/>
              <a:gd name="connsiteY4" fmla="*/ 108704 h 441863"/>
              <a:gd name="connsiteX5" fmla="*/ 467299 w 608627"/>
              <a:gd name="connsiteY5" fmla="*/ 135508 h 441863"/>
              <a:gd name="connsiteX6" fmla="*/ 488064 w 608627"/>
              <a:gd name="connsiteY6" fmla="*/ 135508 h 441863"/>
              <a:gd name="connsiteX7" fmla="*/ 488064 w 608627"/>
              <a:gd name="connsiteY7" fmla="*/ 108704 h 441863"/>
              <a:gd name="connsiteX8" fmla="*/ 514814 w 608627"/>
              <a:gd name="connsiteY8" fmla="*/ 108704 h 441863"/>
              <a:gd name="connsiteX9" fmla="*/ 514814 w 608627"/>
              <a:gd name="connsiteY9" fmla="*/ 88065 h 441863"/>
              <a:gd name="connsiteX10" fmla="*/ 488064 w 608627"/>
              <a:gd name="connsiteY10" fmla="*/ 88065 h 441863"/>
              <a:gd name="connsiteX11" fmla="*/ 488064 w 608627"/>
              <a:gd name="connsiteY11" fmla="*/ 61262 h 441863"/>
              <a:gd name="connsiteX12" fmla="*/ 436901 w 608627"/>
              <a:gd name="connsiteY12" fmla="*/ 8309 h 441863"/>
              <a:gd name="connsiteX13" fmla="*/ 518555 w 608627"/>
              <a:gd name="connsiteY13" fmla="*/ 8309 h 441863"/>
              <a:gd name="connsiteX14" fmla="*/ 608627 w 608627"/>
              <a:gd name="connsiteY14" fmla="*/ 98245 h 441863"/>
              <a:gd name="connsiteX15" fmla="*/ 518555 w 608627"/>
              <a:gd name="connsiteY15" fmla="*/ 188180 h 441863"/>
              <a:gd name="connsiteX16" fmla="*/ 457478 w 608627"/>
              <a:gd name="connsiteY16" fmla="*/ 188180 h 441863"/>
              <a:gd name="connsiteX17" fmla="*/ 416043 w 608627"/>
              <a:gd name="connsiteY17" fmla="*/ 229459 h 441863"/>
              <a:gd name="connsiteX18" fmla="*/ 408467 w 608627"/>
              <a:gd name="connsiteY18" fmla="*/ 226377 h 441863"/>
              <a:gd name="connsiteX19" fmla="*/ 408467 w 608627"/>
              <a:gd name="connsiteY19" fmla="*/ 183511 h 441863"/>
              <a:gd name="connsiteX20" fmla="*/ 346829 w 608627"/>
              <a:gd name="connsiteY20" fmla="*/ 98245 h 441863"/>
              <a:gd name="connsiteX21" fmla="*/ 436901 w 608627"/>
              <a:gd name="connsiteY21" fmla="*/ 8309 h 441863"/>
              <a:gd name="connsiteX22" fmla="*/ 206408 w 608627"/>
              <a:gd name="connsiteY22" fmla="*/ 368 h 441863"/>
              <a:gd name="connsiteX23" fmla="*/ 256349 w 608627"/>
              <a:gd name="connsiteY23" fmla="*/ 10919 h 441863"/>
              <a:gd name="connsiteX24" fmla="*/ 280666 w 608627"/>
              <a:gd name="connsiteY24" fmla="*/ 33611 h 441863"/>
              <a:gd name="connsiteX25" fmla="*/ 307507 w 608627"/>
              <a:gd name="connsiteY25" fmla="*/ 118492 h 441863"/>
              <a:gd name="connsiteX26" fmla="*/ 305730 w 608627"/>
              <a:gd name="connsiteY26" fmla="*/ 126149 h 441863"/>
              <a:gd name="connsiteX27" fmla="*/ 312838 w 608627"/>
              <a:gd name="connsiteY27" fmla="*/ 161820 h 441863"/>
              <a:gd name="connsiteX28" fmla="*/ 295536 w 608627"/>
              <a:gd name="connsiteY28" fmla="*/ 191888 h 441863"/>
              <a:gd name="connsiteX29" fmla="*/ 283471 w 608627"/>
              <a:gd name="connsiteY29" fmla="*/ 224944 h 441863"/>
              <a:gd name="connsiteX30" fmla="*/ 283471 w 608627"/>
              <a:gd name="connsiteY30" fmla="*/ 266311 h 441863"/>
              <a:gd name="connsiteX31" fmla="*/ 285529 w 608627"/>
              <a:gd name="connsiteY31" fmla="*/ 269766 h 441863"/>
              <a:gd name="connsiteX32" fmla="*/ 410383 w 608627"/>
              <a:gd name="connsiteY32" fmla="*/ 349698 h 441863"/>
              <a:gd name="connsiteX33" fmla="*/ 425721 w 608627"/>
              <a:gd name="connsiteY33" fmla="*/ 382007 h 441863"/>
              <a:gd name="connsiteX34" fmla="*/ 425721 w 608627"/>
              <a:gd name="connsiteY34" fmla="*/ 441863 h 441863"/>
              <a:gd name="connsiteX35" fmla="*/ 240824 w 608627"/>
              <a:gd name="connsiteY35" fmla="*/ 441863 h 441863"/>
              <a:gd name="connsiteX36" fmla="*/ 222587 w 608627"/>
              <a:gd name="connsiteY36" fmla="*/ 358569 h 441863"/>
              <a:gd name="connsiteX37" fmla="*/ 212861 w 608627"/>
              <a:gd name="connsiteY37" fmla="*/ 304689 h 441863"/>
              <a:gd name="connsiteX38" fmla="*/ 203134 w 608627"/>
              <a:gd name="connsiteY38" fmla="*/ 358569 h 441863"/>
              <a:gd name="connsiteX39" fmla="*/ 184897 w 608627"/>
              <a:gd name="connsiteY39" fmla="*/ 441863 h 441863"/>
              <a:gd name="connsiteX40" fmla="*/ 0 w 608627"/>
              <a:gd name="connsiteY40" fmla="*/ 441863 h 441863"/>
              <a:gd name="connsiteX41" fmla="*/ 0 w 608627"/>
              <a:gd name="connsiteY41" fmla="*/ 382007 h 441863"/>
              <a:gd name="connsiteX42" fmla="*/ 15245 w 608627"/>
              <a:gd name="connsiteY42" fmla="*/ 349325 h 441863"/>
              <a:gd name="connsiteX43" fmla="*/ 140006 w 608627"/>
              <a:gd name="connsiteY43" fmla="*/ 269392 h 441863"/>
              <a:gd name="connsiteX44" fmla="*/ 142157 w 608627"/>
              <a:gd name="connsiteY44" fmla="*/ 265937 h 441863"/>
              <a:gd name="connsiteX45" fmla="*/ 142157 w 608627"/>
              <a:gd name="connsiteY45" fmla="*/ 224757 h 441863"/>
              <a:gd name="connsiteX46" fmla="*/ 130092 w 608627"/>
              <a:gd name="connsiteY46" fmla="*/ 191608 h 441863"/>
              <a:gd name="connsiteX47" fmla="*/ 112697 w 608627"/>
              <a:gd name="connsiteY47" fmla="*/ 161633 h 441863"/>
              <a:gd name="connsiteX48" fmla="*/ 119430 w 608627"/>
              <a:gd name="connsiteY48" fmla="*/ 125962 h 441863"/>
              <a:gd name="connsiteX49" fmla="*/ 117747 w 608627"/>
              <a:gd name="connsiteY49" fmla="*/ 118399 h 441863"/>
              <a:gd name="connsiteX50" fmla="*/ 117466 w 608627"/>
              <a:gd name="connsiteY50" fmla="*/ 76658 h 441863"/>
              <a:gd name="connsiteX51" fmla="*/ 141876 w 608627"/>
              <a:gd name="connsiteY51" fmla="*/ 33984 h 441863"/>
              <a:gd name="connsiteX52" fmla="*/ 164509 w 608627"/>
              <a:gd name="connsiteY52" fmla="*/ 15308 h 441863"/>
              <a:gd name="connsiteX53" fmla="*/ 186393 w 608627"/>
              <a:gd name="connsiteY53" fmla="*/ 4103 h 441863"/>
              <a:gd name="connsiteX54" fmla="*/ 206408 w 608627"/>
              <a:gd name="connsiteY54" fmla="*/ 368 h 44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08627" h="441863">
                <a:moveTo>
                  <a:pt x="467299" y="61262"/>
                </a:moveTo>
                <a:lnTo>
                  <a:pt x="467299" y="88065"/>
                </a:lnTo>
                <a:lnTo>
                  <a:pt x="440549" y="88065"/>
                </a:lnTo>
                <a:lnTo>
                  <a:pt x="440549" y="108704"/>
                </a:lnTo>
                <a:lnTo>
                  <a:pt x="467299" y="108704"/>
                </a:lnTo>
                <a:lnTo>
                  <a:pt x="467299" y="135508"/>
                </a:lnTo>
                <a:lnTo>
                  <a:pt x="488064" y="135508"/>
                </a:lnTo>
                <a:lnTo>
                  <a:pt x="488064" y="108704"/>
                </a:lnTo>
                <a:lnTo>
                  <a:pt x="514814" y="108704"/>
                </a:lnTo>
                <a:lnTo>
                  <a:pt x="514814" y="88065"/>
                </a:lnTo>
                <a:lnTo>
                  <a:pt x="488064" y="88065"/>
                </a:lnTo>
                <a:lnTo>
                  <a:pt x="488064" y="61262"/>
                </a:lnTo>
                <a:close/>
                <a:moveTo>
                  <a:pt x="436901" y="8309"/>
                </a:moveTo>
                <a:lnTo>
                  <a:pt x="518555" y="8309"/>
                </a:lnTo>
                <a:cubicBezTo>
                  <a:pt x="568315" y="8309"/>
                  <a:pt x="608627" y="48654"/>
                  <a:pt x="608627" y="98245"/>
                </a:cubicBezTo>
                <a:cubicBezTo>
                  <a:pt x="608627" y="147929"/>
                  <a:pt x="568315" y="188180"/>
                  <a:pt x="518555" y="188180"/>
                </a:cubicBezTo>
                <a:lnTo>
                  <a:pt x="457478" y="188180"/>
                </a:lnTo>
                <a:lnTo>
                  <a:pt x="416043" y="229459"/>
                </a:lnTo>
                <a:cubicBezTo>
                  <a:pt x="413331" y="232354"/>
                  <a:pt x="408467" y="230393"/>
                  <a:pt x="408467" y="226377"/>
                </a:cubicBezTo>
                <a:lnTo>
                  <a:pt x="408467" y="183511"/>
                </a:lnTo>
                <a:cubicBezTo>
                  <a:pt x="372644" y="171557"/>
                  <a:pt x="346829" y="137936"/>
                  <a:pt x="346829" y="98245"/>
                </a:cubicBezTo>
                <a:cubicBezTo>
                  <a:pt x="346829" y="48561"/>
                  <a:pt x="387142" y="8309"/>
                  <a:pt x="436901" y="8309"/>
                </a:cubicBezTo>
                <a:close/>
                <a:moveTo>
                  <a:pt x="206408" y="368"/>
                </a:moveTo>
                <a:cubicBezTo>
                  <a:pt x="228105" y="-1500"/>
                  <a:pt x="244565" y="4009"/>
                  <a:pt x="256349" y="10919"/>
                </a:cubicBezTo>
                <a:cubicBezTo>
                  <a:pt x="273932" y="20818"/>
                  <a:pt x="280666" y="33611"/>
                  <a:pt x="280666" y="33611"/>
                </a:cubicBezTo>
                <a:cubicBezTo>
                  <a:pt x="280666" y="33611"/>
                  <a:pt x="321255" y="36505"/>
                  <a:pt x="307507" y="118492"/>
                </a:cubicBezTo>
                <a:cubicBezTo>
                  <a:pt x="307133" y="121013"/>
                  <a:pt x="306478" y="123628"/>
                  <a:pt x="305730" y="126149"/>
                </a:cubicBezTo>
                <a:cubicBezTo>
                  <a:pt x="313399" y="126149"/>
                  <a:pt x="321349" y="132125"/>
                  <a:pt x="312838" y="161820"/>
                </a:cubicBezTo>
                <a:cubicBezTo>
                  <a:pt x="306291" y="184978"/>
                  <a:pt x="300119" y="191514"/>
                  <a:pt x="295536" y="191888"/>
                </a:cubicBezTo>
                <a:cubicBezTo>
                  <a:pt x="293946" y="202440"/>
                  <a:pt x="289831" y="214019"/>
                  <a:pt x="283471" y="224944"/>
                </a:cubicBezTo>
                <a:lnTo>
                  <a:pt x="283471" y="266311"/>
                </a:lnTo>
                <a:cubicBezTo>
                  <a:pt x="283471" y="267805"/>
                  <a:pt x="284220" y="269205"/>
                  <a:pt x="285529" y="269766"/>
                </a:cubicBezTo>
                <a:cubicBezTo>
                  <a:pt x="297500" y="275555"/>
                  <a:pt x="356139" y="305156"/>
                  <a:pt x="410383" y="349698"/>
                </a:cubicBezTo>
                <a:cubicBezTo>
                  <a:pt x="420110" y="357729"/>
                  <a:pt x="425628" y="369775"/>
                  <a:pt x="425721" y="382007"/>
                </a:cubicBezTo>
                <a:lnTo>
                  <a:pt x="425721" y="441863"/>
                </a:lnTo>
                <a:lnTo>
                  <a:pt x="240824" y="441863"/>
                </a:lnTo>
                <a:lnTo>
                  <a:pt x="222587" y="358569"/>
                </a:lnTo>
                <a:cubicBezTo>
                  <a:pt x="259342" y="307117"/>
                  <a:pt x="219688" y="304689"/>
                  <a:pt x="212861" y="304689"/>
                </a:cubicBezTo>
                <a:cubicBezTo>
                  <a:pt x="205846" y="304689"/>
                  <a:pt x="166192" y="307117"/>
                  <a:pt x="203134" y="358569"/>
                </a:cubicBezTo>
                <a:lnTo>
                  <a:pt x="184897" y="441863"/>
                </a:lnTo>
                <a:lnTo>
                  <a:pt x="0" y="441863"/>
                </a:lnTo>
                <a:lnTo>
                  <a:pt x="0" y="382007"/>
                </a:lnTo>
                <a:cubicBezTo>
                  <a:pt x="0" y="369401"/>
                  <a:pt x="5518" y="357355"/>
                  <a:pt x="15245" y="349325"/>
                </a:cubicBezTo>
                <a:cubicBezTo>
                  <a:pt x="69582" y="304783"/>
                  <a:pt x="128222" y="275275"/>
                  <a:pt x="140006" y="269392"/>
                </a:cubicBezTo>
                <a:cubicBezTo>
                  <a:pt x="141315" y="268832"/>
                  <a:pt x="142157" y="267431"/>
                  <a:pt x="142157" y="265937"/>
                </a:cubicBezTo>
                <a:lnTo>
                  <a:pt x="142157" y="224757"/>
                </a:lnTo>
                <a:cubicBezTo>
                  <a:pt x="135797" y="213645"/>
                  <a:pt x="131682" y="202066"/>
                  <a:pt x="130092" y="191608"/>
                </a:cubicBezTo>
                <a:cubicBezTo>
                  <a:pt x="125416" y="191234"/>
                  <a:pt x="119337" y="184791"/>
                  <a:pt x="112697" y="161633"/>
                </a:cubicBezTo>
                <a:cubicBezTo>
                  <a:pt x="104373" y="132312"/>
                  <a:pt x="111855" y="126149"/>
                  <a:pt x="119430" y="125962"/>
                </a:cubicBezTo>
                <a:cubicBezTo>
                  <a:pt x="118869" y="123534"/>
                  <a:pt x="118215" y="120920"/>
                  <a:pt x="117747" y="118399"/>
                </a:cubicBezTo>
                <a:cubicBezTo>
                  <a:pt x="114754" y="103551"/>
                  <a:pt x="114006" y="89918"/>
                  <a:pt x="117466" y="76658"/>
                </a:cubicBezTo>
                <a:cubicBezTo>
                  <a:pt x="121675" y="59010"/>
                  <a:pt x="131214" y="44909"/>
                  <a:pt x="141876" y="33984"/>
                </a:cubicBezTo>
                <a:cubicBezTo>
                  <a:pt x="148610" y="26794"/>
                  <a:pt x="156372" y="20444"/>
                  <a:pt x="164509" y="15308"/>
                </a:cubicBezTo>
                <a:cubicBezTo>
                  <a:pt x="171056" y="10733"/>
                  <a:pt x="178444" y="6811"/>
                  <a:pt x="186393" y="4103"/>
                </a:cubicBezTo>
                <a:cubicBezTo>
                  <a:pt x="192660" y="2142"/>
                  <a:pt x="199393" y="741"/>
                  <a:pt x="206408" y="36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59" name="îşḻîḍe">
            <a:extLst>
              <a:ext uri="{FF2B5EF4-FFF2-40B4-BE49-F238E27FC236}">
                <a16:creationId xmlns:a16="http://schemas.microsoft.com/office/drawing/2014/main" id="{BC798A1B-9397-0E4B-A6F5-2C4FEB1F0C37}"/>
              </a:ext>
            </a:extLst>
          </p:cNvPr>
          <p:cNvSpPr txBox="1"/>
          <p:nvPr/>
        </p:nvSpPr>
        <p:spPr bwMode="auto">
          <a:xfrm>
            <a:off x="6362327" y="5559514"/>
            <a:ext cx="4777537" cy="37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链路追踪</a:t>
            </a:r>
            <a:endParaRPr lang="en-US" altLang="zh-CN" sz="1800" b="1" dirty="0"/>
          </a:p>
        </p:txBody>
      </p:sp>
      <p:sp>
        <p:nvSpPr>
          <p:cNvPr id="60" name="页脚占位符 2">
            <a:extLst>
              <a:ext uri="{FF2B5EF4-FFF2-40B4-BE49-F238E27FC236}">
                <a16:creationId xmlns:a16="http://schemas.microsoft.com/office/drawing/2014/main" id="{841E267D-2827-1643-B11A-43BF1023E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92066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792A37F-3933-5444-BA21-A938C56D3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自我介绍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E30F82C-83C8-CC42-AAA9-108A82BD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A952FB31-2304-2E44-A83E-30786090625B}"/>
              </a:ext>
            </a:extLst>
          </p:cNvPr>
          <p:cNvGrpSpPr>
            <a:grpSpLocks noChangeAspect="1"/>
          </p:cNvGrpSpPr>
          <p:nvPr/>
        </p:nvGrpSpPr>
        <p:grpSpPr>
          <a:xfrm>
            <a:off x="1792143" y="2797868"/>
            <a:ext cx="5588857" cy="1781415"/>
            <a:chOff x="1792143" y="2797868"/>
            <a:chExt cx="5588857" cy="1781415"/>
          </a:xfrm>
        </p:grpSpPr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77D99316-0590-8042-8D49-516A587AB831}"/>
                </a:ext>
              </a:extLst>
            </p:cNvPr>
            <p:cNvSpPr txBox="1"/>
            <p:nvPr/>
          </p:nvSpPr>
          <p:spPr>
            <a:xfrm>
              <a:off x="2652194" y="2797868"/>
              <a:ext cx="2568735" cy="1524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刘嘉鹏</a:t>
              </a:r>
              <a:endPara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爱番番基础技术团队</a:t>
              </a:r>
              <a:endPara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负责监控体系建设</a:t>
              </a:r>
              <a:endPara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kywalking</a:t>
              </a:r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altLang="zh-CN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mmitter</a:t>
              </a:r>
              <a:endParaRPr lang="en-US" altLang="zh-CN" sz="16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cxnSp>
          <p:nvCxnSpPr>
            <p:cNvPr id="8" name="直接连接符 9">
              <a:extLst>
                <a:ext uri="{FF2B5EF4-FFF2-40B4-BE49-F238E27FC236}">
                  <a16:creationId xmlns:a16="http://schemas.microsoft.com/office/drawing/2014/main" id="{28BA9102-0552-BF45-A1B1-6409253FC20A}"/>
                </a:ext>
              </a:extLst>
            </p:cNvPr>
            <p:cNvCxnSpPr>
              <a:cxnSpLocks/>
            </p:cNvCxnSpPr>
            <p:nvPr/>
          </p:nvCxnSpPr>
          <p:spPr>
            <a:xfrm>
              <a:off x="2409995" y="2797868"/>
              <a:ext cx="0" cy="1781415"/>
            </a:xfrm>
            <a:prstGeom prst="line">
              <a:avLst/>
            </a:prstGeom>
            <a:ln w="12700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任意多边形 20">
              <a:extLst>
                <a:ext uri="{FF2B5EF4-FFF2-40B4-BE49-F238E27FC236}">
                  <a16:creationId xmlns:a16="http://schemas.microsoft.com/office/drawing/2014/main" id="{25F263F0-CFCD-8842-B659-C347DA514DE4}"/>
                </a:ext>
              </a:extLst>
            </p:cNvPr>
            <p:cNvSpPr/>
            <p:nvPr/>
          </p:nvSpPr>
          <p:spPr bwMode="auto">
            <a:xfrm>
              <a:off x="1792143" y="2934412"/>
              <a:ext cx="205561" cy="171132"/>
            </a:xfrm>
            <a:custGeom>
              <a:avLst/>
              <a:gdLst>
                <a:gd name="connsiteX0" fmla="*/ 483573 w 526297"/>
                <a:gd name="connsiteY0" fmla="*/ 133971 h 438150"/>
                <a:gd name="connsiteX1" fmla="*/ 527674 w 526297"/>
                <a:gd name="connsiteY1" fmla="*/ 178072 h 438150"/>
                <a:gd name="connsiteX2" fmla="*/ 527579 w 526297"/>
                <a:gd name="connsiteY2" fmla="*/ 181501 h 438150"/>
                <a:gd name="connsiteX3" fmla="*/ 514244 w 526297"/>
                <a:gd name="connsiteY3" fmla="*/ 355237 h 438150"/>
                <a:gd name="connsiteX4" fmla="*/ 485764 w 526297"/>
                <a:gd name="connsiteY4" fmla="*/ 381621 h 438150"/>
                <a:gd name="connsiteX5" fmla="*/ 454998 w 526297"/>
                <a:gd name="connsiteY5" fmla="*/ 381621 h 438150"/>
                <a:gd name="connsiteX6" fmla="*/ 454998 w 526297"/>
                <a:gd name="connsiteY6" fmla="*/ 438771 h 438150"/>
                <a:gd name="connsiteX7" fmla="*/ 435948 w 526297"/>
                <a:gd name="connsiteY7" fmla="*/ 438771 h 438150"/>
                <a:gd name="connsiteX8" fmla="*/ 435948 w 526297"/>
                <a:gd name="connsiteY8" fmla="*/ 381621 h 438150"/>
                <a:gd name="connsiteX9" fmla="*/ 93048 w 526297"/>
                <a:gd name="connsiteY9" fmla="*/ 381621 h 438150"/>
                <a:gd name="connsiteX10" fmla="*/ 93048 w 526297"/>
                <a:gd name="connsiteY10" fmla="*/ 438771 h 438150"/>
                <a:gd name="connsiteX11" fmla="*/ 73998 w 526297"/>
                <a:gd name="connsiteY11" fmla="*/ 438771 h 438150"/>
                <a:gd name="connsiteX12" fmla="*/ 73998 w 526297"/>
                <a:gd name="connsiteY12" fmla="*/ 381621 h 438150"/>
                <a:gd name="connsiteX13" fmla="*/ 43328 w 526297"/>
                <a:gd name="connsiteY13" fmla="*/ 381621 h 438150"/>
                <a:gd name="connsiteX14" fmla="*/ 14848 w 526297"/>
                <a:gd name="connsiteY14" fmla="*/ 355237 h 438150"/>
                <a:gd name="connsiteX15" fmla="*/ 1513 w 526297"/>
                <a:gd name="connsiteY15" fmla="*/ 181501 h 438150"/>
                <a:gd name="connsiteX16" fmla="*/ 42089 w 526297"/>
                <a:gd name="connsiteY16" fmla="*/ 134162 h 438150"/>
                <a:gd name="connsiteX17" fmla="*/ 45518 w 526297"/>
                <a:gd name="connsiteY17" fmla="*/ 134066 h 438150"/>
                <a:gd name="connsiteX18" fmla="*/ 101906 w 526297"/>
                <a:gd name="connsiteY18" fmla="*/ 180834 h 438150"/>
                <a:gd name="connsiteX19" fmla="*/ 121623 w 526297"/>
                <a:gd name="connsiteY19" fmla="*/ 286371 h 438150"/>
                <a:gd name="connsiteX20" fmla="*/ 407373 w 526297"/>
                <a:gd name="connsiteY20" fmla="*/ 286371 h 438150"/>
                <a:gd name="connsiteX21" fmla="*/ 427185 w 526297"/>
                <a:gd name="connsiteY21" fmla="*/ 180739 h 438150"/>
                <a:gd name="connsiteX22" fmla="*/ 483573 w 526297"/>
                <a:gd name="connsiteY22" fmla="*/ 133971 h 438150"/>
                <a:gd name="connsiteX23" fmla="*/ 416898 w 526297"/>
                <a:gd name="connsiteY23" fmla="*/ 621 h 438150"/>
                <a:gd name="connsiteX24" fmla="*/ 483573 w 526297"/>
                <a:gd name="connsiteY24" fmla="*/ 67296 h 438150"/>
                <a:gd name="connsiteX25" fmla="*/ 483573 w 526297"/>
                <a:gd name="connsiteY25" fmla="*/ 115397 h 438150"/>
                <a:gd name="connsiteX26" fmla="*/ 476429 w 526297"/>
                <a:gd name="connsiteY26" fmla="*/ 114921 h 438150"/>
                <a:gd name="connsiteX27" fmla="*/ 412040 w 526297"/>
                <a:gd name="connsiteY27" fmla="*/ 166451 h 438150"/>
                <a:gd name="connsiteX28" fmla="*/ 411564 w 526297"/>
                <a:gd name="connsiteY28" fmla="*/ 168737 h 438150"/>
                <a:gd name="connsiteX29" fmla="*/ 393086 w 526297"/>
                <a:gd name="connsiteY29" fmla="*/ 267321 h 438150"/>
                <a:gd name="connsiteX30" fmla="*/ 135911 w 526297"/>
                <a:gd name="connsiteY30" fmla="*/ 267321 h 438150"/>
                <a:gd name="connsiteX31" fmla="*/ 117432 w 526297"/>
                <a:gd name="connsiteY31" fmla="*/ 168737 h 438150"/>
                <a:gd name="connsiteX32" fmla="*/ 52567 w 526297"/>
                <a:gd name="connsiteY32" fmla="*/ 114921 h 438150"/>
                <a:gd name="connsiteX33" fmla="*/ 54948 w 526297"/>
                <a:gd name="connsiteY33" fmla="*/ 67296 h 438150"/>
                <a:gd name="connsiteX34" fmla="*/ 121623 w 526297"/>
                <a:gd name="connsiteY34" fmla="*/ 621 h 438150"/>
                <a:gd name="connsiteX35" fmla="*/ 416898 w 526297"/>
                <a:gd name="connsiteY35" fmla="*/ 62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3573" y="133971"/>
                  </a:moveTo>
                  <a:cubicBezTo>
                    <a:pt x="507957" y="133971"/>
                    <a:pt x="527674" y="153688"/>
                    <a:pt x="527674" y="178072"/>
                  </a:cubicBezTo>
                  <a:cubicBezTo>
                    <a:pt x="527674" y="179215"/>
                    <a:pt x="527674" y="180358"/>
                    <a:pt x="527579" y="181501"/>
                  </a:cubicBezTo>
                  <a:lnTo>
                    <a:pt x="514244" y="355237"/>
                  </a:lnTo>
                  <a:cubicBezTo>
                    <a:pt x="513101" y="370096"/>
                    <a:pt x="500718" y="381621"/>
                    <a:pt x="485764" y="381621"/>
                  </a:cubicBezTo>
                  <a:lnTo>
                    <a:pt x="454998" y="381621"/>
                  </a:lnTo>
                  <a:lnTo>
                    <a:pt x="454998" y="438771"/>
                  </a:lnTo>
                  <a:lnTo>
                    <a:pt x="435948" y="438771"/>
                  </a:lnTo>
                  <a:lnTo>
                    <a:pt x="435948" y="381621"/>
                  </a:lnTo>
                  <a:lnTo>
                    <a:pt x="93048" y="381621"/>
                  </a:lnTo>
                  <a:lnTo>
                    <a:pt x="93048" y="438771"/>
                  </a:lnTo>
                  <a:lnTo>
                    <a:pt x="73998" y="438771"/>
                  </a:lnTo>
                  <a:lnTo>
                    <a:pt x="73998" y="381621"/>
                  </a:lnTo>
                  <a:lnTo>
                    <a:pt x="43328" y="381621"/>
                  </a:lnTo>
                  <a:cubicBezTo>
                    <a:pt x="28373" y="381621"/>
                    <a:pt x="15991" y="370096"/>
                    <a:pt x="14848" y="355237"/>
                  </a:cubicBezTo>
                  <a:lnTo>
                    <a:pt x="1513" y="181501"/>
                  </a:lnTo>
                  <a:cubicBezTo>
                    <a:pt x="-392" y="157212"/>
                    <a:pt x="17801" y="135971"/>
                    <a:pt x="42089" y="134162"/>
                  </a:cubicBezTo>
                  <a:cubicBezTo>
                    <a:pt x="43232" y="134066"/>
                    <a:pt x="44375" y="134066"/>
                    <a:pt x="45518" y="134066"/>
                  </a:cubicBezTo>
                  <a:cubicBezTo>
                    <a:pt x="73141" y="134066"/>
                    <a:pt x="96858" y="153688"/>
                    <a:pt x="101906" y="180834"/>
                  </a:cubicBezTo>
                  <a:lnTo>
                    <a:pt x="121623" y="286371"/>
                  </a:lnTo>
                  <a:lnTo>
                    <a:pt x="407373" y="286371"/>
                  </a:lnTo>
                  <a:lnTo>
                    <a:pt x="427185" y="180739"/>
                  </a:lnTo>
                  <a:cubicBezTo>
                    <a:pt x="432233" y="153592"/>
                    <a:pt x="455951" y="133971"/>
                    <a:pt x="483573" y="133971"/>
                  </a:cubicBezTo>
                  <a:close/>
                  <a:moveTo>
                    <a:pt x="416898" y="621"/>
                  </a:moveTo>
                  <a:cubicBezTo>
                    <a:pt x="453760" y="621"/>
                    <a:pt x="483573" y="30434"/>
                    <a:pt x="483573" y="67296"/>
                  </a:cubicBezTo>
                  <a:lnTo>
                    <a:pt x="483573" y="115397"/>
                  </a:lnTo>
                  <a:cubicBezTo>
                    <a:pt x="481192" y="115112"/>
                    <a:pt x="478811" y="114921"/>
                    <a:pt x="476429" y="114921"/>
                  </a:cubicBezTo>
                  <a:cubicBezTo>
                    <a:pt x="445473" y="114921"/>
                    <a:pt x="418803" y="136448"/>
                    <a:pt x="412040" y="166451"/>
                  </a:cubicBezTo>
                  <a:lnTo>
                    <a:pt x="411564" y="168737"/>
                  </a:lnTo>
                  <a:lnTo>
                    <a:pt x="393086" y="267321"/>
                  </a:lnTo>
                  <a:lnTo>
                    <a:pt x="135911" y="267321"/>
                  </a:lnTo>
                  <a:lnTo>
                    <a:pt x="117432" y="168737"/>
                  </a:lnTo>
                  <a:cubicBezTo>
                    <a:pt x="111622" y="137495"/>
                    <a:pt x="84285" y="114921"/>
                    <a:pt x="52567" y="114921"/>
                  </a:cubicBezTo>
                  <a:lnTo>
                    <a:pt x="54948" y="67296"/>
                  </a:lnTo>
                  <a:cubicBezTo>
                    <a:pt x="54948" y="30434"/>
                    <a:pt x="84761" y="621"/>
                    <a:pt x="121623" y="621"/>
                  </a:cubicBezTo>
                  <a:lnTo>
                    <a:pt x="416898" y="6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dirty="0"/>
            </a:p>
          </p:txBody>
        </p:sp>
        <p:sp>
          <p:nvSpPr>
            <p:cNvPr id="16" name="任意多边形 23">
              <a:extLst>
                <a:ext uri="{FF2B5EF4-FFF2-40B4-BE49-F238E27FC236}">
                  <a16:creationId xmlns:a16="http://schemas.microsoft.com/office/drawing/2014/main" id="{B81507CD-07BA-3B4F-BABD-9D7ED37811AC}"/>
                </a:ext>
              </a:extLst>
            </p:cNvPr>
            <p:cNvSpPr/>
            <p:nvPr/>
          </p:nvSpPr>
          <p:spPr bwMode="auto">
            <a:xfrm>
              <a:off x="7175439" y="2926375"/>
              <a:ext cx="205561" cy="187207"/>
            </a:xfrm>
            <a:custGeom>
              <a:avLst/>
              <a:gdLst>
                <a:gd name="connsiteX0" fmla="*/ 125329 w 533400"/>
                <a:gd name="connsiteY0" fmla="*/ 229221 h 485775"/>
                <a:gd name="connsiteX1" fmla="*/ 125329 w 533400"/>
                <a:gd name="connsiteY1" fmla="*/ 276846 h 485775"/>
                <a:gd name="connsiteX2" fmla="*/ 144379 w 533400"/>
                <a:gd name="connsiteY2" fmla="*/ 276846 h 485775"/>
                <a:gd name="connsiteX3" fmla="*/ 144379 w 533400"/>
                <a:gd name="connsiteY3" fmla="*/ 229221 h 485775"/>
                <a:gd name="connsiteX4" fmla="*/ 392029 w 533400"/>
                <a:gd name="connsiteY4" fmla="*/ 229221 h 485775"/>
                <a:gd name="connsiteX5" fmla="*/ 392029 w 533400"/>
                <a:gd name="connsiteY5" fmla="*/ 276846 h 485775"/>
                <a:gd name="connsiteX6" fmla="*/ 411079 w 533400"/>
                <a:gd name="connsiteY6" fmla="*/ 276846 h 485775"/>
                <a:gd name="connsiteX7" fmla="*/ 411079 w 533400"/>
                <a:gd name="connsiteY7" fmla="*/ 229221 h 485775"/>
                <a:gd name="connsiteX8" fmla="*/ 534904 w 533400"/>
                <a:gd name="connsiteY8" fmla="*/ 229221 h 485775"/>
                <a:gd name="connsiteX9" fmla="*/ 534904 w 533400"/>
                <a:gd name="connsiteY9" fmla="*/ 457821 h 485775"/>
                <a:gd name="connsiteX10" fmla="*/ 506329 w 533400"/>
                <a:gd name="connsiteY10" fmla="*/ 486396 h 485775"/>
                <a:gd name="connsiteX11" fmla="*/ 30079 w 533400"/>
                <a:gd name="connsiteY11" fmla="*/ 486396 h 485775"/>
                <a:gd name="connsiteX12" fmla="*/ 1504 w 533400"/>
                <a:gd name="connsiteY12" fmla="*/ 457821 h 485775"/>
                <a:gd name="connsiteX13" fmla="*/ 1504 w 533400"/>
                <a:gd name="connsiteY13" fmla="*/ 229221 h 485775"/>
                <a:gd name="connsiteX14" fmla="*/ 125329 w 533400"/>
                <a:gd name="connsiteY14" fmla="*/ 229221 h 485775"/>
                <a:gd name="connsiteX15" fmla="*/ 372979 w 533400"/>
                <a:gd name="connsiteY15" fmla="*/ 621 h 485775"/>
                <a:gd name="connsiteX16" fmla="*/ 411079 w 533400"/>
                <a:gd name="connsiteY16" fmla="*/ 36816 h 485775"/>
                <a:gd name="connsiteX17" fmla="*/ 411079 w 533400"/>
                <a:gd name="connsiteY17" fmla="*/ 38721 h 485775"/>
                <a:gd name="connsiteX18" fmla="*/ 411079 w 533400"/>
                <a:gd name="connsiteY18" fmla="*/ 114921 h 485775"/>
                <a:gd name="connsiteX19" fmla="*/ 506329 w 533400"/>
                <a:gd name="connsiteY19" fmla="*/ 114921 h 485775"/>
                <a:gd name="connsiteX20" fmla="*/ 534904 w 533400"/>
                <a:gd name="connsiteY20" fmla="*/ 143496 h 485775"/>
                <a:gd name="connsiteX21" fmla="*/ 534904 w 533400"/>
                <a:gd name="connsiteY21" fmla="*/ 210171 h 485775"/>
                <a:gd name="connsiteX22" fmla="*/ 1504 w 533400"/>
                <a:gd name="connsiteY22" fmla="*/ 210171 h 485775"/>
                <a:gd name="connsiteX23" fmla="*/ 1504 w 533400"/>
                <a:gd name="connsiteY23" fmla="*/ 143496 h 485775"/>
                <a:gd name="connsiteX24" fmla="*/ 30079 w 533400"/>
                <a:gd name="connsiteY24" fmla="*/ 114921 h 485775"/>
                <a:gd name="connsiteX25" fmla="*/ 125329 w 533400"/>
                <a:gd name="connsiteY25" fmla="*/ 114921 h 485775"/>
                <a:gd name="connsiteX26" fmla="*/ 125329 w 533400"/>
                <a:gd name="connsiteY26" fmla="*/ 38721 h 485775"/>
                <a:gd name="connsiteX27" fmla="*/ 161524 w 533400"/>
                <a:gd name="connsiteY27" fmla="*/ 621 h 485775"/>
                <a:gd name="connsiteX28" fmla="*/ 163429 w 533400"/>
                <a:gd name="connsiteY28" fmla="*/ 621 h 485775"/>
                <a:gd name="connsiteX29" fmla="*/ 372979 w 533400"/>
                <a:gd name="connsiteY29" fmla="*/ 621 h 485775"/>
                <a:gd name="connsiteX30" fmla="*/ 372979 w 533400"/>
                <a:gd name="connsiteY30" fmla="*/ 19671 h 485775"/>
                <a:gd name="connsiteX31" fmla="*/ 163429 w 533400"/>
                <a:gd name="connsiteY31" fmla="*/ 19671 h 485775"/>
                <a:gd name="connsiteX32" fmla="*/ 144474 w 533400"/>
                <a:gd name="connsiteY32" fmla="*/ 37292 h 485775"/>
                <a:gd name="connsiteX33" fmla="*/ 144379 w 533400"/>
                <a:gd name="connsiteY33" fmla="*/ 38721 h 485775"/>
                <a:gd name="connsiteX34" fmla="*/ 144379 w 533400"/>
                <a:gd name="connsiteY34" fmla="*/ 114921 h 485775"/>
                <a:gd name="connsiteX35" fmla="*/ 392029 w 533400"/>
                <a:gd name="connsiteY35" fmla="*/ 114921 h 485775"/>
                <a:gd name="connsiteX36" fmla="*/ 392029 w 533400"/>
                <a:gd name="connsiteY36" fmla="*/ 38721 h 485775"/>
                <a:gd name="connsiteX37" fmla="*/ 375836 w 533400"/>
                <a:gd name="connsiteY37" fmla="*/ 19862 h 485775"/>
                <a:gd name="connsiteX38" fmla="*/ 374408 w 533400"/>
                <a:gd name="connsiteY38" fmla="*/ 19671 h 485775"/>
                <a:gd name="connsiteX39" fmla="*/ 372979 w 533400"/>
                <a:gd name="connsiteY39" fmla="*/ 19671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5329" y="229221"/>
                  </a:moveTo>
                  <a:lnTo>
                    <a:pt x="125329" y="276846"/>
                  </a:lnTo>
                  <a:lnTo>
                    <a:pt x="144379" y="276846"/>
                  </a:lnTo>
                  <a:lnTo>
                    <a:pt x="144379" y="229221"/>
                  </a:lnTo>
                  <a:lnTo>
                    <a:pt x="392029" y="229221"/>
                  </a:lnTo>
                  <a:lnTo>
                    <a:pt x="392029" y="276846"/>
                  </a:lnTo>
                  <a:lnTo>
                    <a:pt x="411079" y="276846"/>
                  </a:lnTo>
                  <a:lnTo>
                    <a:pt x="411079" y="229221"/>
                  </a:lnTo>
                  <a:lnTo>
                    <a:pt x="534904" y="229221"/>
                  </a:lnTo>
                  <a:lnTo>
                    <a:pt x="534904" y="457821"/>
                  </a:lnTo>
                  <a:cubicBezTo>
                    <a:pt x="534904" y="473632"/>
                    <a:pt x="522141" y="486396"/>
                    <a:pt x="506329" y="486396"/>
                  </a:cubicBezTo>
                  <a:lnTo>
                    <a:pt x="30079" y="486396"/>
                  </a:lnTo>
                  <a:cubicBezTo>
                    <a:pt x="14267" y="486396"/>
                    <a:pt x="1504" y="473632"/>
                    <a:pt x="1504" y="457821"/>
                  </a:cubicBezTo>
                  <a:lnTo>
                    <a:pt x="1504" y="229221"/>
                  </a:lnTo>
                  <a:lnTo>
                    <a:pt x="125329" y="229221"/>
                  </a:lnTo>
                  <a:close/>
                  <a:moveTo>
                    <a:pt x="372979" y="621"/>
                  </a:moveTo>
                  <a:cubicBezTo>
                    <a:pt x="393363" y="621"/>
                    <a:pt x="410031" y="16623"/>
                    <a:pt x="411079" y="36816"/>
                  </a:cubicBezTo>
                  <a:lnTo>
                    <a:pt x="411079" y="38721"/>
                  </a:lnTo>
                  <a:lnTo>
                    <a:pt x="411079" y="114921"/>
                  </a:lnTo>
                  <a:lnTo>
                    <a:pt x="506329" y="114921"/>
                  </a:lnTo>
                  <a:cubicBezTo>
                    <a:pt x="522141" y="114921"/>
                    <a:pt x="534904" y="127685"/>
                    <a:pt x="534904" y="143496"/>
                  </a:cubicBezTo>
                  <a:lnTo>
                    <a:pt x="534904" y="210171"/>
                  </a:lnTo>
                  <a:lnTo>
                    <a:pt x="1504" y="210171"/>
                  </a:lnTo>
                  <a:lnTo>
                    <a:pt x="1504" y="143496"/>
                  </a:lnTo>
                  <a:cubicBezTo>
                    <a:pt x="1504" y="127685"/>
                    <a:pt x="14267" y="114921"/>
                    <a:pt x="30079" y="114921"/>
                  </a:cubicBezTo>
                  <a:lnTo>
                    <a:pt x="125329" y="114921"/>
                  </a:lnTo>
                  <a:lnTo>
                    <a:pt x="125329" y="38721"/>
                  </a:lnTo>
                  <a:cubicBezTo>
                    <a:pt x="125329" y="18337"/>
                    <a:pt x="141331" y="1669"/>
                    <a:pt x="161524" y="621"/>
                  </a:cubicBezTo>
                  <a:lnTo>
                    <a:pt x="163429" y="621"/>
                  </a:lnTo>
                  <a:lnTo>
                    <a:pt x="372979" y="621"/>
                  </a:lnTo>
                  <a:close/>
                  <a:moveTo>
                    <a:pt x="372979" y="19671"/>
                  </a:moveTo>
                  <a:lnTo>
                    <a:pt x="163429" y="19671"/>
                  </a:lnTo>
                  <a:cubicBezTo>
                    <a:pt x="153428" y="19671"/>
                    <a:pt x="145141" y="27482"/>
                    <a:pt x="144474" y="37292"/>
                  </a:cubicBezTo>
                  <a:lnTo>
                    <a:pt x="144379" y="38721"/>
                  </a:lnTo>
                  <a:lnTo>
                    <a:pt x="144379" y="114921"/>
                  </a:lnTo>
                  <a:lnTo>
                    <a:pt x="392029" y="114921"/>
                  </a:lnTo>
                  <a:lnTo>
                    <a:pt x="392029" y="38721"/>
                  </a:lnTo>
                  <a:cubicBezTo>
                    <a:pt x="392029" y="29196"/>
                    <a:pt x="384981" y="21290"/>
                    <a:pt x="375836" y="19862"/>
                  </a:cubicBezTo>
                  <a:lnTo>
                    <a:pt x="374408" y="19671"/>
                  </a:lnTo>
                  <a:lnTo>
                    <a:pt x="372979" y="196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19" name="curriculum_285699">
            <a:extLst>
              <a:ext uri="{FF2B5EF4-FFF2-40B4-BE49-F238E27FC236}">
                <a16:creationId xmlns:a16="http://schemas.microsoft.com/office/drawing/2014/main" id="{F0192691-3D66-9E45-9727-892EF0019FA8}"/>
              </a:ext>
            </a:extLst>
          </p:cNvPr>
          <p:cNvSpPr>
            <a:spLocks noChangeAspect="1"/>
          </p:cNvSpPr>
          <p:nvPr/>
        </p:nvSpPr>
        <p:spPr>
          <a:xfrm>
            <a:off x="1734805" y="2797867"/>
            <a:ext cx="525797" cy="609685"/>
          </a:xfrm>
          <a:custGeom>
            <a:avLst/>
            <a:gdLst>
              <a:gd name="connsiteX0" fmla="*/ 126541 w 523242"/>
              <a:gd name="connsiteY0" fmla="*/ 455006 h 606722"/>
              <a:gd name="connsiteX1" fmla="*/ 396611 w 523242"/>
              <a:gd name="connsiteY1" fmla="*/ 455006 h 606722"/>
              <a:gd name="connsiteX2" fmla="*/ 421980 w 523242"/>
              <a:gd name="connsiteY2" fmla="*/ 480259 h 606722"/>
              <a:gd name="connsiteX3" fmla="*/ 396611 w 523242"/>
              <a:gd name="connsiteY3" fmla="*/ 505601 h 606722"/>
              <a:gd name="connsiteX4" fmla="*/ 126541 w 523242"/>
              <a:gd name="connsiteY4" fmla="*/ 505601 h 606722"/>
              <a:gd name="connsiteX5" fmla="*/ 101261 w 523242"/>
              <a:gd name="connsiteY5" fmla="*/ 480259 h 606722"/>
              <a:gd name="connsiteX6" fmla="*/ 126541 w 523242"/>
              <a:gd name="connsiteY6" fmla="*/ 455006 h 606722"/>
              <a:gd name="connsiteX7" fmla="*/ 126541 w 523242"/>
              <a:gd name="connsiteY7" fmla="*/ 353886 h 606722"/>
              <a:gd name="connsiteX8" fmla="*/ 396611 w 523242"/>
              <a:gd name="connsiteY8" fmla="*/ 353886 h 606722"/>
              <a:gd name="connsiteX9" fmla="*/ 421980 w 523242"/>
              <a:gd name="connsiteY9" fmla="*/ 379228 h 606722"/>
              <a:gd name="connsiteX10" fmla="*/ 396611 w 523242"/>
              <a:gd name="connsiteY10" fmla="*/ 404481 h 606722"/>
              <a:gd name="connsiteX11" fmla="*/ 126541 w 523242"/>
              <a:gd name="connsiteY11" fmla="*/ 404481 h 606722"/>
              <a:gd name="connsiteX12" fmla="*/ 101261 w 523242"/>
              <a:gd name="connsiteY12" fmla="*/ 379228 h 606722"/>
              <a:gd name="connsiteX13" fmla="*/ 126541 w 523242"/>
              <a:gd name="connsiteY13" fmla="*/ 353886 h 606722"/>
              <a:gd name="connsiteX14" fmla="*/ 352003 w 523242"/>
              <a:gd name="connsiteY14" fmla="*/ 235971 h 606722"/>
              <a:gd name="connsiteX15" fmla="*/ 396607 w 523242"/>
              <a:gd name="connsiteY15" fmla="*/ 235971 h 606722"/>
              <a:gd name="connsiteX16" fmla="*/ 421981 w 523242"/>
              <a:gd name="connsiteY16" fmla="*/ 261189 h 606722"/>
              <a:gd name="connsiteX17" fmla="*/ 396607 w 523242"/>
              <a:gd name="connsiteY17" fmla="*/ 286496 h 606722"/>
              <a:gd name="connsiteX18" fmla="*/ 352003 w 523242"/>
              <a:gd name="connsiteY18" fmla="*/ 286496 h 606722"/>
              <a:gd name="connsiteX19" fmla="*/ 326718 w 523242"/>
              <a:gd name="connsiteY19" fmla="*/ 261189 h 606722"/>
              <a:gd name="connsiteX20" fmla="*/ 352003 w 523242"/>
              <a:gd name="connsiteY20" fmla="*/ 235971 h 606722"/>
              <a:gd name="connsiteX21" fmla="*/ 188938 w 523242"/>
              <a:gd name="connsiteY21" fmla="*/ 215789 h 606722"/>
              <a:gd name="connsiteX22" fmla="*/ 285084 w 523242"/>
              <a:gd name="connsiteY22" fmla="*/ 311758 h 606722"/>
              <a:gd name="connsiteX23" fmla="*/ 92793 w 523242"/>
              <a:gd name="connsiteY23" fmla="*/ 311758 h 606722"/>
              <a:gd name="connsiteX24" fmla="*/ 188938 w 523242"/>
              <a:gd name="connsiteY24" fmla="*/ 215789 h 606722"/>
              <a:gd name="connsiteX25" fmla="*/ 352003 w 523242"/>
              <a:gd name="connsiteY25" fmla="*/ 117915 h 606722"/>
              <a:gd name="connsiteX26" fmla="*/ 396607 w 523242"/>
              <a:gd name="connsiteY26" fmla="*/ 117915 h 606722"/>
              <a:gd name="connsiteX27" fmla="*/ 421981 w 523242"/>
              <a:gd name="connsiteY27" fmla="*/ 143257 h 606722"/>
              <a:gd name="connsiteX28" fmla="*/ 396607 w 523242"/>
              <a:gd name="connsiteY28" fmla="*/ 168510 h 606722"/>
              <a:gd name="connsiteX29" fmla="*/ 352003 w 523242"/>
              <a:gd name="connsiteY29" fmla="*/ 168510 h 606722"/>
              <a:gd name="connsiteX30" fmla="*/ 326718 w 523242"/>
              <a:gd name="connsiteY30" fmla="*/ 143257 h 606722"/>
              <a:gd name="connsiteX31" fmla="*/ 352003 w 523242"/>
              <a:gd name="connsiteY31" fmla="*/ 117915 h 606722"/>
              <a:gd name="connsiteX32" fmla="*/ 188974 w 523242"/>
              <a:gd name="connsiteY32" fmla="*/ 92370 h 606722"/>
              <a:gd name="connsiteX33" fmla="*/ 250789 w 523242"/>
              <a:gd name="connsiteY33" fmla="*/ 154080 h 606722"/>
              <a:gd name="connsiteX34" fmla="*/ 188974 w 523242"/>
              <a:gd name="connsiteY34" fmla="*/ 215790 h 606722"/>
              <a:gd name="connsiteX35" fmla="*/ 127159 w 523242"/>
              <a:gd name="connsiteY35" fmla="*/ 154080 h 606722"/>
              <a:gd name="connsiteX36" fmla="*/ 188974 w 523242"/>
              <a:gd name="connsiteY36" fmla="*/ 92370 h 606722"/>
              <a:gd name="connsiteX37" fmla="*/ 50642 w 523242"/>
              <a:gd name="connsiteY37" fmla="*/ 50567 h 606722"/>
              <a:gd name="connsiteX38" fmla="*/ 50642 w 523242"/>
              <a:gd name="connsiteY38" fmla="*/ 556155 h 606722"/>
              <a:gd name="connsiteX39" fmla="*/ 472600 w 523242"/>
              <a:gd name="connsiteY39" fmla="*/ 556155 h 606722"/>
              <a:gd name="connsiteX40" fmla="*/ 472600 w 523242"/>
              <a:gd name="connsiteY40" fmla="*/ 50567 h 606722"/>
              <a:gd name="connsiteX41" fmla="*/ 25366 w 523242"/>
              <a:gd name="connsiteY41" fmla="*/ 0 h 606722"/>
              <a:gd name="connsiteX42" fmla="*/ 497876 w 523242"/>
              <a:gd name="connsiteY42" fmla="*/ 0 h 606722"/>
              <a:gd name="connsiteX43" fmla="*/ 523242 w 523242"/>
              <a:gd name="connsiteY43" fmla="*/ 25239 h 606722"/>
              <a:gd name="connsiteX44" fmla="*/ 523242 w 523242"/>
              <a:gd name="connsiteY44" fmla="*/ 581394 h 606722"/>
              <a:gd name="connsiteX45" fmla="*/ 497876 w 523242"/>
              <a:gd name="connsiteY45" fmla="*/ 606722 h 606722"/>
              <a:gd name="connsiteX46" fmla="*/ 25366 w 523242"/>
              <a:gd name="connsiteY46" fmla="*/ 606722 h 606722"/>
              <a:gd name="connsiteX47" fmla="*/ 0 w 523242"/>
              <a:gd name="connsiteY47" fmla="*/ 581394 h 606722"/>
              <a:gd name="connsiteX48" fmla="*/ 0 w 523242"/>
              <a:gd name="connsiteY48" fmla="*/ 25239 h 606722"/>
              <a:gd name="connsiteX49" fmla="*/ 25366 w 523242"/>
              <a:gd name="connsiteY4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523242" h="606722">
                <a:moveTo>
                  <a:pt x="126541" y="455006"/>
                </a:moveTo>
                <a:lnTo>
                  <a:pt x="396611" y="455006"/>
                </a:lnTo>
                <a:cubicBezTo>
                  <a:pt x="410586" y="455006"/>
                  <a:pt x="421980" y="466299"/>
                  <a:pt x="421980" y="480259"/>
                </a:cubicBezTo>
                <a:cubicBezTo>
                  <a:pt x="421980" y="494308"/>
                  <a:pt x="410586" y="505601"/>
                  <a:pt x="396611" y="505601"/>
                </a:cubicBezTo>
                <a:lnTo>
                  <a:pt x="126541" y="505601"/>
                </a:lnTo>
                <a:cubicBezTo>
                  <a:pt x="112566" y="505601"/>
                  <a:pt x="101261" y="494308"/>
                  <a:pt x="101261" y="480259"/>
                </a:cubicBezTo>
                <a:cubicBezTo>
                  <a:pt x="101261" y="466299"/>
                  <a:pt x="112566" y="455006"/>
                  <a:pt x="126541" y="455006"/>
                </a:cubicBezTo>
                <a:close/>
                <a:moveTo>
                  <a:pt x="126541" y="353886"/>
                </a:moveTo>
                <a:lnTo>
                  <a:pt x="396611" y="353886"/>
                </a:lnTo>
                <a:cubicBezTo>
                  <a:pt x="410586" y="353886"/>
                  <a:pt x="421980" y="365268"/>
                  <a:pt x="421980" y="379228"/>
                </a:cubicBezTo>
                <a:cubicBezTo>
                  <a:pt x="421980" y="393188"/>
                  <a:pt x="410586" y="404481"/>
                  <a:pt x="396611" y="404481"/>
                </a:cubicBezTo>
                <a:lnTo>
                  <a:pt x="126541" y="404481"/>
                </a:lnTo>
                <a:cubicBezTo>
                  <a:pt x="112566" y="404481"/>
                  <a:pt x="101261" y="393188"/>
                  <a:pt x="101261" y="379228"/>
                </a:cubicBezTo>
                <a:cubicBezTo>
                  <a:pt x="101261" y="365268"/>
                  <a:pt x="112566" y="353886"/>
                  <a:pt x="126541" y="353886"/>
                </a:cubicBezTo>
                <a:close/>
                <a:moveTo>
                  <a:pt x="352003" y="235971"/>
                </a:moveTo>
                <a:lnTo>
                  <a:pt x="396607" y="235971"/>
                </a:lnTo>
                <a:cubicBezTo>
                  <a:pt x="410585" y="235971"/>
                  <a:pt x="421981" y="247248"/>
                  <a:pt x="421981" y="261189"/>
                </a:cubicBezTo>
                <a:cubicBezTo>
                  <a:pt x="421981" y="275130"/>
                  <a:pt x="410585" y="286496"/>
                  <a:pt x="396607" y="286496"/>
                </a:cubicBezTo>
                <a:lnTo>
                  <a:pt x="352003" y="286496"/>
                </a:lnTo>
                <a:cubicBezTo>
                  <a:pt x="338025" y="286496"/>
                  <a:pt x="326718" y="275130"/>
                  <a:pt x="326718" y="261189"/>
                </a:cubicBezTo>
                <a:cubicBezTo>
                  <a:pt x="326718" y="247248"/>
                  <a:pt x="338025" y="235971"/>
                  <a:pt x="352003" y="235971"/>
                </a:cubicBezTo>
                <a:close/>
                <a:moveTo>
                  <a:pt x="188938" y="215789"/>
                </a:moveTo>
                <a:cubicBezTo>
                  <a:pt x="242086" y="215789"/>
                  <a:pt x="285084" y="258797"/>
                  <a:pt x="285084" y="311758"/>
                </a:cubicBezTo>
                <a:lnTo>
                  <a:pt x="92793" y="311758"/>
                </a:lnTo>
                <a:cubicBezTo>
                  <a:pt x="92793" y="258797"/>
                  <a:pt x="135880" y="215789"/>
                  <a:pt x="188938" y="215789"/>
                </a:cubicBezTo>
                <a:close/>
                <a:moveTo>
                  <a:pt x="352003" y="117915"/>
                </a:moveTo>
                <a:lnTo>
                  <a:pt x="396607" y="117915"/>
                </a:lnTo>
                <a:cubicBezTo>
                  <a:pt x="410585" y="117915"/>
                  <a:pt x="421981" y="129297"/>
                  <a:pt x="421981" y="143257"/>
                </a:cubicBezTo>
                <a:cubicBezTo>
                  <a:pt x="421981" y="157217"/>
                  <a:pt x="410585" y="168510"/>
                  <a:pt x="396607" y="168510"/>
                </a:cubicBezTo>
                <a:lnTo>
                  <a:pt x="352003" y="168510"/>
                </a:lnTo>
                <a:cubicBezTo>
                  <a:pt x="338025" y="168510"/>
                  <a:pt x="326718" y="157217"/>
                  <a:pt x="326718" y="143257"/>
                </a:cubicBezTo>
                <a:cubicBezTo>
                  <a:pt x="326718" y="129297"/>
                  <a:pt x="338025" y="117915"/>
                  <a:pt x="352003" y="117915"/>
                </a:cubicBezTo>
                <a:close/>
                <a:moveTo>
                  <a:pt x="188974" y="92370"/>
                </a:moveTo>
                <a:cubicBezTo>
                  <a:pt x="223113" y="92370"/>
                  <a:pt x="250789" y="119999"/>
                  <a:pt x="250789" y="154080"/>
                </a:cubicBezTo>
                <a:cubicBezTo>
                  <a:pt x="250789" y="188161"/>
                  <a:pt x="223113" y="215790"/>
                  <a:pt x="188974" y="215790"/>
                </a:cubicBezTo>
                <a:cubicBezTo>
                  <a:pt x="154835" y="215790"/>
                  <a:pt x="127159" y="188161"/>
                  <a:pt x="127159" y="154080"/>
                </a:cubicBezTo>
                <a:cubicBezTo>
                  <a:pt x="127159" y="119999"/>
                  <a:pt x="154835" y="92370"/>
                  <a:pt x="188974" y="92370"/>
                </a:cubicBezTo>
                <a:close/>
                <a:moveTo>
                  <a:pt x="50642" y="50567"/>
                </a:moveTo>
                <a:lnTo>
                  <a:pt x="50642" y="556155"/>
                </a:lnTo>
                <a:lnTo>
                  <a:pt x="472600" y="556155"/>
                </a:lnTo>
                <a:lnTo>
                  <a:pt x="472600" y="50567"/>
                </a:lnTo>
                <a:close/>
                <a:moveTo>
                  <a:pt x="25366" y="0"/>
                </a:moveTo>
                <a:lnTo>
                  <a:pt x="497876" y="0"/>
                </a:lnTo>
                <a:cubicBezTo>
                  <a:pt x="511850" y="0"/>
                  <a:pt x="523242" y="11286"/>
                  <a:pt x="523242" y="25239"/>
                </a:cubicBezTo>
                <a:lnTo>
                  <a:pt x="523242" y="581394"/>
                </a:lnTo>
                <a:cubicBezTo>
                  <a:pt x="523242" y="595347"/>
                  <a:pt x="511850" y="606722"/>
                  <a:pt x="497876" y="606722"/>
                </a:cubicBezTo>
                <a:lnTo>
                  <a:pt x="25366" y="606722"/>
                </a:lnTo>
                <a:cubicBezTo>
                  <a:pt x="11303" y="606722"/>
                  <a:pt x="0" y="595347"/>
                  <a:pt x="0" y="581394"/>
                </a:cubicBezTo>
                <a:lnTo>
                  <a:pt x="0" y="25239"/>
                </a:lnTo>
                <a:cubicBezTo>
                  <a:pt x="0" y="11286"/>
                  <a:pt x="11303" y="0"/>
                  <a:pt x="2536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C1DE46D7-47F2-4349-8878-A78EC98C2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5" y="624744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196557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51D034DF-DBF2-2C40-8DC7-CD3481313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使用场景延展</a:t>
            </a:r>
            <a:r>
              <a:rPr kumimoji="1" lang="en-US" altLang="zh-CN" dirty="0"/>
              <a:t>-</a:t>
            </a:r>
            <a:r>
              <a:rPr kumimoji="1" lang="zh-CN" altLang="en-US" dirty="0"/>
              <a:t>流量染色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BCAB958-B809-BB42-833F-263B35647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6" name="页脚占位符 2">
            <a:extLst>
              <a:ext uri="{FF2B5EF4-FFF2-40B4-BE49-F238E27FC236}">
                <a16:creationId xmlns:a16="http://schemas.microsoft.com/office/drawing/2014/main" id="{C43A76BA-B241-2D4E-9484-C0B8AA256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  <p:pic>
        <p:nvPicPr>
          <p:cNvPr id="3" name="图片 2" descr="图示&#10;&#10;描述已自动生成">
            <a:extLst>
              <a:ext uri="{FF2B5EF4-FFF2-40B4-BE49-F238E27FC236}">
                <a16:creationId xmlns:a16="http://schemas.microsoft.com/office/drawing/2014/main" id="{FCFF0585-88D4-6745-805B-BB88FF110C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155" y="3368409"/>
            <a:ext cx="10452100" cy="2717800"/>
          </a:xfrm>
          <a:prstGeom prst="rect">
            <a:avLst/>
          </a:prstGeom>
        </p:spPr>
      </p:pic>
      <p:pic>
        <p:nvPicPr>
          <p:cNvPr id="8" name="图片 7" descr="应用程序&#10;&#10;描述已自动生成">
            <a:extLst>
              <a:ext uri="{FF2B5EF4-FFF2-40B4-BE49-F238E27FC236}">
                <a16:creationId xmlns:a16="http://schemas.microsoft.com/office/drawing/2014/main" id="{0A5D82CB-F6B6-2F4B-9F34-5D69F1972C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155" y="1562100"/>
            <a:ext cx="10452100" cy="18669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1A1CF2B6-C212-0E49-9131-A2C59DB6A3FE}"/>
              </a:ext>
            </a:extLst>
          </p:cNvPr>
          <p:cNvSpPr txBox="1"/>
          <p:nvPr/>
        </p:nvSpPr>
        <p:spPr>
          <a:xfrm>
            <a:off x="7056935" y="3593068"/>
            <a:ext cx="684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Tag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F8FFD15-00F2-D34E-AEC5-D6F10647ABE8}"/>
              </a:ext>
            </a:extLst>
          </p:cNvPr>
          <p:cNvSpPr txBox="1"/>
          <p:nvPr/>
        </p:nvSpPr>
        <p:spPr>
          <a:xfrm>
            <a:off x="9854812" y="3593068"/>
            <a:ext cx="684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Tag</a:t>
            </a:r>
          </a:p>
        </p:txBody>
      </p:sp>
    </p:spTree>
    <p:extLst>
      <p:ext uri="{BB962C8B-B14F-4D97-AF65-F5344CB8AC3E}">
        <p14:creationId xmlns:p14="http://schemas.microsoft.com/office/powerpoint/2010/main" val="2179544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使用场景延展</a:t>
            </a:r>
            <a:r>
              <a:rPr kumimoji="1" lang="en-US" altLang="zh-CN" dirty="0"/>
              <a:t>-</a:t>
            </a:r>
            <a:r>
              <a:rPr kumimoji="1" lang="zh-CN" altLang="en-US" dirty="0"/>
              <a:t>标记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A427E42-D22D-594B-A809-BB7E59B5BCBA}"/>
              </a:ext>
            </a:extLst>
          </p:cNvPr>
          <p:cNvSpPr txBox="1"/>
          <p:nvPr/>
        </p:nvSpPr>
        <p:spPr>
          <a:xfrm>
            <a:off x="1235946" y="1304778"/>
            <a:ext cx="3788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Tag</a:t>
            </a:r>
            <a:r>
              <a:rPr kumimoji="1" lang="zh-CN" altLang="en-US" dirty="0"/>
              <a:t>标签</a:t>
            </a:r>
            <a:r>
              <a:rPr kumimoji="1" lang="en-US" altLang="zh-CN" dirty="0"/>
              <a:t>: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correlation.auto_tag_keys</a:t>
            </a:r>
            <a:endParaRPr kumimoji="1" lang="en-US" altLang="zh-CN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9A4BF64-86A8-9C4D-885F-62286090EA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6079" y="1674110"/>
            <a:ext cx="8279842" cy="4183135"/>
          </a:xfrm>
          <a:prstGeom prst="rect">
            <a:avLst/>
          </a:prstGeom>
        </p:spPr>
      </p:pic>
      <p:sp>
        <p:nvSpPr>
          <p:cNvPr id="8" name="页脚占位符 2">
            <a:extLst>
              <a:ext uri="{FF2B5EF4-FFF2-40B4-BE49-F238E27FC236}">
                <a16:creationId xmlns:a16="http://schemas.microsoft.com/office/drawing/2014/main" id="{04C76A9E-7D55-3341-B847-C2B0827EA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742876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使用场景延展</a:t>
            </a:r>
            <a:r>
              <a:rPr kumimoji="1" lang="en-US" altLang="zh-CN" dirty="0"/>
              <a:t>-OAL</a:t>
            </a:r>
            <a:r>
              <a:rPr kumimoji="1" lang="zh-CN" altLang="en-US" dirty="0"/>
              <a:t>分析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9F52964-780D-1748-9AA2-3D1AF44070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75" t="10439" r="23130" b="36744"/>
          <a:stretch/>
        </p:blipFill>
        <p:spPr>
          <a:xfrm>
            <a:off x="1733970" y="3874673"/>
            <a:ext cx="4006607" cy="165429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B41DE5E-AC8E-A445-AD01-F35F2CF3D4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952" t="8864" r="24861" b="35174"/>
          <a:stretch/>
        </p:blipFill>
        <p:spPr>
          <a:xfrm>
            <a:off x="6260002" y="3874673"/>
            <a:ext cx="4425417" cy="1968404"/>
          </a:xfrm>
          <a:prstGeom prst="rect">
            <a:avLst/>
          </a:prstGeom>
        </p:spPr>
      </p:pic>
      <p:sp>
        <p:nvSpPr>
          <p:cNvPr id="9" name="页脚占位符 2">
            <a:extLst>
              <a:ext uri="{FF2B5EF4-FFF2-40B4-BE49-F238E27FC236}">
                <a16:creationId xmlns:a16="http://schemas.microsoft.com/office/drawing/2014/main" id="{E9FD0F95-333D-9C4E-BBE5-6B7B50DE5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DAB993F-1853-3B46-B7F1-196E45FC45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33970" y="1359591"/>
            <a:ext cx="8951449" cy="2184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812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发展历程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Kubernetes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下的实践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使用场景的延展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solidFill>
                      <a:schemeClr val="accent1"/>
                    </a:solidFill>
                    <a:latin typeface="+mn-lt"/>
                    <a:ea typeface="+mn-ea"/>
                    <a:sym typeface="+mn-lt"/>
                  </a:rPr>
                  <a:t>未来规划</a:t>
                </a:r>
                <a:endParaRPr lang="en-US" altLang="zh-CN" b="0" dirty="0">
                  <a:solidFill>
                    <a:schemeClr val="accent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36329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未来规划</a:t>
            </a:r>
            <a:r>
              <a:rPr kumimoji="1" lang="en-US" altLang="zh-CN" dirty="0"/>
              <a:t>-Satellite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pic>
        <p:nvPicPr>
          <p:cNvPr id="6" name="图片 5" descr="图示&#10;&#10;描述已自动生成">
            <a:extLst>
              <a:ext uri="{FF2B5EF4-FFF2-40B4-BE49-F238E27FC236}">
                <a16:creationId xmlns:a16="http://schemas.microsoft.com/office/drawing/2014/main" id="{477AA825-AABB-5547-9600-38D3BEA656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57" y="1739900"/>
            <a:ext cx="7747000" cy="3378200"/>
          </a:xfrm>
          <a:prstGeom prst="rect">
            <a:avLst/>
          </a:prstGeom>
        </p:spPr>
      </p:pic>
      <p:sp>
        <p:nvSpPr>
          <p:cNvPr id="7" name="页脚占位符 2">
            <a:extLst>
              <a:ext uri="{FF2B5EF4-FFF2-40B4-BE49-F238E27FC236}">
                <a16:creationId xmlns:a16="http://schemas.microsoft.com/office/drawing/2014/main" id="{0C6DDD21-9DDE-1846-9DCB-4D284CAED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456029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A55B368-8BB1-6E4A-9C3C-22C7D9316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未来规划</a:t>
            </a:r>
            <a:r>
              <a:rPr kumimoji="1" lang="en-US" altLang="zh-CN" dirty="0"/>
              <a:t>-Satellite</a:t>
            </a:r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EC0390-C1F3-244E-82C3-B407FD088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pic>
        <p:nvPicPr>
          <p:cNvPr id="7" name="图片 6" descr="图示&#10;&#10;描述已自动生成">
            <a:extLst>
              <a:ext uri="{FF2B5EF4-FFF2-40B4-BE49-F238E27FC236}">
                <a16:creationId xmlns:a16="http://schemas.microsoft.com/office/drawing/2014/main" id="{BB09B24C-CD42-3047-AB3B-5E1400E72E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086" y="2626111"/>
            <a:ext cx="8391598" cy="1999480"/>
          </a:xfrm>
          <a:prstGeom prst="rect">
            <a:avLst/>
          </a:prstGeom>
        </p:spPr>
      </p:pic>
      <p:sp>
        <p:nvSpPr>
          <p:cNvPr id="8" name="页脚占位符 2">
            <a:extLst>
              <a:ext uri="{FF2B5EF4-FFF2-40B4-BE49-F238E27FC236}">
                <a16:creationId xmlns:a16="http://schemas.microsoft.com/office/drawing/2014/main" id="{8568815C-0FA0-5E4B-ACDB-BC4C1402F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65175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10000" dirty="0">
                <a:solidFill>
                  <a:schemeClr val="accent3"/>
                </a:solidFill>
              </a:rPr>
              <a:t>Thanks</a:t>
            </a:r>
            <a:br>
              <a:rPr lang="en-US" altLang="zh-CN" sz="10000" dirty="0">
                <a:solidFill>
                  <a:schemeClr val="accent3"/>
                </a:solidFill>
              </a:rPr>
            </a:br>
            <a:endParaRPr lang="zh-CN" altLang="en-US" dirty="0">
              <a:solidFill>
                <a:schemeClr val="accent3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bg1"/>
                </a:solidFill>
              </a:rPr>
              <a:t>Skywalking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DevCon</a:t>
            </a:r>
            <a:r>
              <a:rPr lang="zh-CN" altLang="en-US" dirty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chemeClr val="bg1"/>
                </a:solidFill>
              </a:rPr>
              <a:t>2020</a:t>
            </a:r>
          </a:p>
        </p:txBody>
      </p:sp>
      <p:pic>
        <p:nvPicPr>
          <p:cNvPr id="8" name="Picture 18">
            <a:extLst>
              <a:ext uri="{FF2B5EF4-FFF2-40B4-BE49-F238E27FC236}">
                <a16:creationId xmlns:a16="http://schemas.microsoft.com/office/drawing/2014/main" id="{3A0A6CA1-EE11-6C44-A446-BF0CF01B39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877" y="1598884"/>
            <a:ext cx="2327166" cy="526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solidFill>
                      <a:schemeClr val="accent1"/>
                    </a:solidFill>
                    <a:latin typeface="+mn-lt"/>
                    <a:ea typeface="+mn-ea"/>
                    <a:sym typeface="+mn-lt"/>
                  </a:rPr>
                  <a:t>发展历程</a:t>
                </a:r>
                <a:r>
                  <a:rPr lang="en-US" altLang="zh-CN" b="0" dirty="0">
                    <a:solidFill>
                      <a:schemeClr val="accent1"/>
                    </a:solidFill>
                    <a:latin typeface="+mn-lt"/>
                    <a:ea typeface="+mn-ea"/>
                    <a:sym typeface="+mn-lt"/>
                  </a:rPr>
                  <a:t>&amp;</a:t>
                </a:r>
                <a:r>
                  <a:rPr lang="zh-CN" altLang="en-US" b="0" dirty="0">
                    <a:solidFill>
                      <a:schemeClr val="accent1"/>
                    </a:solidFill>
                    <a:latin typeface="+mn-lt"/>
                    <a:ea typeface="+mn-ea"/>
                    <a:sym typeface="+mn-lt"/>
                  </a:rPr>
                  <a:t>现状</a:t>
                </a:r>
                <a:endParaRPr lang="en-US" altLang="zh-CN" b="0" dirty="0">
                  <a:solidFill>
                    <a:schemeClr val="accent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实践经验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使用场景的延展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未来规划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792A37F-3933-5444-BA21-A938C56D3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爱番番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E30F82C-83C8-CC42-AAA9-108A82BD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3" name="图片 2" descr="图标&#10;&#10;描述已自动生成">
            <a:extLst>
              <a:ext uri="{FF2B5EF4-FFF2-40B4-BE49-F238E27FC236}">
                <a16:creationId xmlns:a16="http://schemas.microsoft.com/office/drawing/2014/main" id="{6B2B72B6-EF5E-0044-A8B0-8737243796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438" y="577364"/>
            <a:ext cx="457200" cy="381000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0EDFFB70-C525-0C40-B996-1E89A4788E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826" y="1628672"/>
            <a:ext cx="9814758" cy="4360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CCB96AA-EDE7-4142-A69F-8798D4ECC555}"/>
              </a:ext>
            </a:extLst>
          </p:cNvPr>
          <p:cNvSpPr txBox="1"/>
          <p:nvPr/>
        </p:nvSpPr>
        <p:spPr>
          <a:xfrm>
            <a:off x="1187826" y="1217305"/>
            <a:ext cx="39594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产品定位</a:t>
            </a:r>
            <a:r>
              <a:rPr kumimoji="1" lang="en-US" altLang="zh-CN" dirty="0"/>
              <a:t>:</a:t>
            </a:r>
            <a:r>
              <a:rPr kumimoji="1" lang="zh-CN" altLang="en-US" dirty="0"/>
              <a:t> </a:t>
            </a:r>
            <a:r>
              <a:rPr kumimoji="1" lang="en-US" altLang="zh-CN" dirty="0"/>
              <a:t>TOB</a:t>
            </a:r>
            <a:r>
              <a:rPr kumimoji="1" lang="zh-CN" altLang="en-US" dirty="0"/>
              <a:t> 营销</a:t>
            </a:r>
            <a:r>
              <a:rPr kumimoji="1" lang="en-US" altLang="zh-CN" dirty="0"/>
              <a:t>CRM</a:t>
            </a:r>
            <a:r>
              <a:rPr kumimoji="1" lang="zh-CN" altLang="en-US" dirty="0"/>
              <a:t> </a:t>
            </a:r>
            <a:r>
              <a:rPr kumimoji="1" lang="en-US" altLang="zh-CN" dirty="0"/>
              <a:t>SAAS</a:t>
            </a:r>
            <a:r>
              <a:rPr kumimoji="1" lang="zh-CN" altLang="en-US" dirty="0"/>
              <a:t> 产品</a:t>
            </a:r>
          </a:p>
        </p:txBody>
      </p:sp>
      <p:sp>
        <p:nvSpPr>
          <p:cNvPr id="7" name="页脚占位符 2">
            <a:extLst>
              <a:ext uri="{FF2B5EF4-FFF2-40B4-BE49-F238E27FC236}">
                <a16:creationId xmlns:a16="http://schemas.microsoft.com/office/drawing/2014/main" id="{A09D4DBE-FF7C-F748-BFEE-3347E0868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5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205283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51D034DF-DBF2-2C40-8DC7-CD3481313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发展历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BCAB958-B809-BB42-833F-263B35647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EC1C519C-0145-1D44-927F-642672576AFE}"/>
              </a:ext>
            </a:extLst>
          </p:cNvPr>
          <p:cNvGrpSpPr>
            <a:grpSpLocks noChangeAspect="1"/>
          </p:cNvGrpSpPr>
          <p:nvPr/>
        </p:nvGrpSpPr>
        <p:grpSpPr>
          <a:xfrm>
            <a:off x="1429538" y="2550023"/>
            <a:ext cx="9331333" cy="2171296"/>
            <a:chOff x="1507083" y="2471009"/>
            <a:chExt cx="9331333" cy="2171296"/>
          </a:xfrm>
        </p:grpSpPr>
        <p:cxnSp>
          <p:nvCxnSpPr>
            <p:cNvPr id="7" name="直接连接符 2">
              <a:extLst>
                <a:ext uri="{FF2B5EF4-FFF2-40B4-BE49-F238E27FC236}">
                  <a16:creationId xmlns:a16="http://schemas.microsoft.com/office/drawing/2014/main" id="{09CC2D79-61E0-0E46-A0E5-015AF27EF10D}"/>
                </a:ext>
              </a:extLst>
            </p:cNvPr>
            <p:cNvCxnSpPr>
              <a:cxnSpLocks/>
              <a:stCxn id="8" idx="3"/>
              <a:endCxn id="9" idx="1"/>
            </p:cNvCxnSpPr>
            <p:nvPr/>
          </p:nvCxnSpPr>
          <p:spPr>
            <a:xfrm>
              <a:off x="2542953" y="3401323"/>
              <a:ext cx="913229" cy="0"/>
            </a:xfrm>
            <a:prstGeom prst="line">
              <a:avLst/>
            </a:prstGeom>
            <a:ln w="317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6842871F-F501-284F-9D3C-82F8916BAA77}"/>
                </a:ext>
              </a:extLst>
            </p:cNvPr>
            <p:cNvSpPr txBox="1"/>
            <p:nvPr/>
          </p:nvSpPr>
          <p:spPr>
            <a:xfrm>
              <a:off x="1591977" y="3232046"/>
              <a:ext cx="95097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b="1" dirty="0"/>
                <a:t>2019.12</a:t>
              </a: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853B4704-A05A-7A42-86BE-ACAE97EB8E0B}"/>
                </a:ext>
              </a:extLst>
            </p:cNvPr>
            <p:cNvSpPr txBox="1"/>
            <p:nvPr/>
          </p:nvSpPr>
          <p:spPr>
            <a:xfrm>
              <a:off x="3456182" y="3232046"/>
              <a:ext cx="93857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b="1" dirty="0"/>
                <a:t>2020.02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7CF4188D-AB2B-E046-B8AA-33E1C9473458}"/>
                </a:ext>
              </a:extLst>
            </p:cNvPr>
            <p:cNvSpPr txBox="1"/>
            <p:nvPr/>
          </p:nvSpPr>
          <p:spPr>
            <a:xfrm>
              <a:off x="5310374" y="3228533"/>
              <a:ext cx="93857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b="1" dirty="0"/>
                <a:t>2020.05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1A647FA-53CD-9E45-B622-53B9AF5E300E}"/>
                </a:ext>
              </a:extLst>
            </p:cNvPr>
            <p:cNvSpPr txBox="1"/>
            <p:nvPr/>
          </p:nvSpPr>
          <p:spPr>
            <a:xfrm>
              <a:off x="7176223" y="3232046"/>
              <a:ext cx="97644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600" b="1" dirty="0"/>
                <a:t>2020.08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56CF801B-5151-8945-B900-FC95E7F155ED}"/>
                </a:ext>
              </a:extLst>
            </p:cNvPr>
            <p:cNvSpPr txBox="1"/>
            <p:nvPr/>
          </p:nvSpPr>
          <p:spPr>
            <a:xfrm>
              <a:off x="1507083" y="4115751"/>
              <a:ext cx="2649554" cy="526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  <a:alpha val="50000"/>
                    </a:schemeClr>
                  </a:solidFill>
                </a:rPr>
                <a:t>与</a:t>
              </a:r>
              <a:r>
                <a:rPr lang="en-US" altLang="zh-CN" sz="1000" dirty="0">
                  <a:solidFill>
                    <a:schemeClr val="tx1">
                      <a:lumMod val="75000"/>
                      <a:lumOff val="25000"/>
                      <a:alpha val="50000"/>
                    </a:schemeClr>
                  </a:solidFill>
                </a:rPr>
                <a:t>Baidu</a:t>
              </a: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  <a:alpha val="50000"/>
                    </a:schemeClr>
                  </a:solidFill>
                </a:rPr>
                <a:t>基础架构部达成</a:t>
              </a:r>
              <a:r>
                <a:rPr lang="en-US" altLang="zh-CN" sz="1000" dirty="0">
                  <a:solidFill>
                    <a:schemeClr val="tx1">
                      <a:lumMod val="75000"/>
                      <a:lumOff val="25000"/>
                      <a:alpha val="50000"/>
                    </a:schemeClr>
                  </a:solidFill>
                </a:rPr>
                <a:t>Kubernetes</a:t>
              </a: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  <a:alpha val="50000"/>
                    </a:schemeClr>
                  </a:solidFill>
                </a:rPr>
                <a:t>合作意向</a:t>
              </a:r>
              <a:endPara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FCB02797-6B12-0647-B997-79E1F919D88D}"/>
                </a:ext>
              </a:extLst>
            </p:cNvPr>
            <p:cNvSpPr txBox="1"/>
            <p:nvPr/>
          </p:nvSpPr>
          <p:spPr>
            <a:xfrm>
              <a:off x="2889532" y="2802681"/>
              <a:ext cx="2649554" cy="295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 err="1">
                  <a:solidFill>
                    <a:schemeClr val="tx1">
                      <a:lumMod val="75000"/>
                      <a:lumOff val="25000"/>
                      <a:alpha val="50000"/>
                    </a:schemeClr>
                  </a:solidFill>
                </a:rPr>
                <a:t>Skywalking</a:t>
              </a: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  <a:alpha val="50000"/>
                    </a:schemeClr>
                  </a:solidFill>
                </a:rPr>
                <a:t>的低侵入性成为选型要素</a:t>
              </a:r>
              <a:endPara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1D620333-2C24-6646-937F-F8E4F295D535}"/>
                </a:ext>
              </a:extLst>
            </p:cNvPr>
            <p:cNvSpPr txBox="1"/>
            <p:nvPr/>
          </p:nvSpPr>
          <p:spPr>
            <a:xfrm>
              <a:off x="8289300" y="2953368"/>
              <a:ext cx="2549116" cy="294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endPara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endParaRPr>
            </a:p>
          </p:txBody>
        </p:sp>
        <p:sp>
          <p:nvSpPr>
            <p:cNvPr id="18" name="圆角矩形 17">
              <a:extLst>
                <a:ext uri="{FF2B5EF4-FFF2-40B4-BE49-F238E27FC236}">
                  <a16:creationId xmlns:a16="http://schemas.microsoft.com/office/drawing/2014/main" id="{7BE76233-95C4-E840-96E3-366A2A373A2C}"/>
                </a:ext>
              </a:extLst>
            </p:cNvPr>
            <p:cNvSpPr/>
            <p:nvPr/>
          </p:nvSpPr>
          <p:spPr>
            <a:xfrm>
              <a:off x="1577380" y="3722833"/>
              <a:ext cx="1422187" cy="338554"/>
            </a:xfrm>
            <a:prstGeom prst="roundRect">
              <a:avLst>
                <a:gd name="adj" fmla="val 24842"/>
              </a:avLst>
            </a:prstGeom>
            <a:solidFill>
              <a:schemeClr val="accent1"/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/>
              <a:r>
                <a:rPr lang="en-US" altLang="zh-CN" sz="1400" b="1" dirty="0">
                  <a:solidFill>
                    <a:schemeClr val="bg1"/>
                  </a:solidFill>
                </a:rPr>
                <a:t>K8s</a:t>
              </a:r>
              <a:r>
                <a:rPr lang="zh-CN" altLang="en-US" sz="1400" b="1" dirty="0">
                  <a:solidFill>
                    <a:schemeClr val="bg1"/>
                  </a:solidFill>
                </a:rPr>
                <a:t>试点</a:t>
              </a:r>
            </a:p>
          </p:txBody>
        </p:sp>
        <p:sp>
          <p:nvSpPr>
            <p:cNvPr id="19" name="圆角矩形 18">
              <a:extLst>
                <a:ext uri="{FF2B5EF4-FFF2-40B4-BE49-F238E27FC236}">
                  <a16:creationId xmlns:a16="http://schemas.microsoft.com/office/drawing/2014/main" id="{49AB1193-9C22-9541-A67D-BFAEA38A8693}"/>
                </a:ext>
              </a:extLst>
            </p:cNvPr>
            <p:cNvSpPr/>
            <p:nvPr/>
          </p:nvSpPr>
          <p:spPr>
            <a:xfrm>
              <a:off x="6794430" y="2471009"/>
              <a:ext cx="1740033" cy="338554"/>
            </a:xfrm>
            <a:prstGeom prst="roundRect">
              <a:avLst>
                <a:gd name="adj" fmla="val 24842"/>
              </a:avLst>
            </a:prstGeom>
            <a:solidFill>
              <a:schemeClr val="accent1"/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/>
              <a:r>
                <a:rPr lang="en-US" altLang="zh-CN" sz="1400" b="1" dirty="0">
                  <a:solidFill>
                    <a:schemeClr val="bg1"/>
                  </a:solidFill>
                </a:rPr>
                <a:t>Service</a:t>
              </a:r>
              <a:r>
                <a:rPr lang="zh-CN" altLang="en-US" sz="1400" b="1" dirty="0">
                  <a:solidFill>
                    <a:schemeClr val="bg1"/>
                  </a:solidFill>
                </a:rPr>
                <a:t> </a:t>
              </a:r>
              <a:r>
                <a:rPr lang="en-US" altLang="zh-CN" sz="1400" b="1" dirty="0">
                  <a:solidFill>
                    <a:schemeClr val="bg1"/>
                  </a:solidFill>
                </a:rPr>
                <a:t>Mesh</a:t>
              </a:r>
              <a:r>
                <a:rPr lang="zh-CN" altLang="en-US" sz="1400" b="1" dirty="0">
                  <a:solidFill>
                    <a:schemeClr val="bg1"/>
                  </a:solidFill>
                </a:rPr>
                <a:t>试点</a:t>
              </a:r>
            </a:p>
          </p:txBody>
        </p:sp>
        <p:sp>
          <p:nvSpPr>
            <p:cNvPr id="20" name="圆角矩形 19">
              <a:extLst>
                <a:ext uri="{FF2B5EF4-FFF2-40B4-BE49-F238E27FC236}">
                  <a16:creationId xmlns:a16="http://schemas.microsoft.com/office/drawing/2014/main" id="{3A0DAA23-C835-A44D-AC46-6459448C2C92}"/>
                </a:ext>
              </a:extLst>
            </p:cNvPr>
            <p:cNvSpPr/>
            <p:nvPr/>
          </p:nvSpPr>
          <p:spPr>
            <a:xfrm>
              <a:off x="3059676" y="2474168"/>
              <a:ext cx="1899541" cy="338554"/>
            </a:xfrm>
            <a:prstGeom prst="roundRect">
              <a:avLst>
                <a:gd name="adj" fmla="val 24842"/>
              </a:avLst>
            </a:prstGeom>
            <a:solidFill>
              <a:schemeClr val="accent1"/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/>
              <a:r>
                <a:rPr lang="zh-CN" altLang="en-US" sz="1400" b="1" dirty="0">
                  <a:solidFill>
                    <a:schemeClr val="bg1"/>
                  </a:solidFill>
                </a:rPr>
                <a:t>云原生</a:t>
              </a:r>
              <a:r>
                <a:rPr lang="en-US" altLang="zh-CN" sz="1400" b="1" dirty="0">
                  <a:solidFill>
                    <a:schemeClr val="bg1"/>
                  </a:solidFill>
                </a:rPr>
                <a:t>APM</a:t>
              </a:r>
              <a:r>
                <a:rPr lang="zh-CN" altLang="en-US" sz="1400" b="1" dirty="0">
                  <a:solidFill>
                    <a:schemeClr val="bg1"/>
                  </a:solidFill>
                </a:rPr>
                <a:t>调研</a:t>
              </a:r>
            </a:p>
          </p:txBody>
        </p:sp>
        <p:sp>
          <p:nvSpPr>
            <p:cNvPr id="21" name="圆角矩形 20">
              <a:extLst>
                <a:ext uri="{FF2B5EF4-FFF2-40B4-BE49-F238E27FC236}">
                  <a16:creationId xmlns:a16="http://schemas.microsoft.com/office/drawing/2014/main" id="{857BB2F4-52C7-A548-85CC-1027CBADF8C8}"/>
                </a:ext>
              </a:extLst>
            </p:cNvPr>
            <p:cNvSpPr/>
            <p:nvPr/>
          </p:nvSpPr>
          <p:spPr>
            <a:xfrm>
              <a:off x="8563341" y="3710383"/>
              <a:ext cx="2134513" cy="338554"/>
            </a:xfrm>
            <a:prstGeom prst="roundRect">
              <a:avLst>
                <a:gd name="adj" fmla="val 24842"/>
              </a:avLst>
            </a:prstGeom>
            <a:solidFill>
              <a:schemeClr val="accent1"/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/>
              <a:r>
                <a:rPr lang="zh-CN" altLang="en-US" sz="1400" b="1" dirty="0">
                  <a:solidFill>
                    <a:schemeClr val="bg1"/>
                  </a:solidFill>
                </a:rPr>
                <a:t>达成</a:t>
              </a:r>
              <a:r>
                <a:rPr lang="en-US" altLang="zh-CN" sz="1400" b="1" dirty="0">
                  <a:solidFill>
                    <a:schemeClr val="bg1"/>
                  </a:solidFill>
                </a:rPr>
                <a:t>Satellite</a:t>
              </a:r>
              <a:r>
                <a:rPr lang="zh-CN" altLang="en-US" sz="1400" b="1" dirty="0">
                  <a:solidFill>
                    <a:schemeClr val="bg1"/>
                  </a:solidFill>
                </a:rPr>
                <a:t>合作</a:t>
              </a:r>
            </a:p>
          </p:txBody>
        </p:sp>
      </p:grpSp>
      <p:cxnSp>
        <p:nvCxnSpPr>
          <p:cNvPr id="40" name="直接连接符 2">
            <a:extLst>
              <a:ext uri="{FF2B5EF4-FFF2-40B4-BE49-F238E27FC236}">
                <a16:creationId xmlns:a16="http://schemas.microsoft.com/office/drawing/2014/main" id="{9A880CA4-BF6B-FB44-92A5-945B7C4FF66A}"/>
              </a:ext>
            </a:extLst>
          </p:cNvPr>
          <p:cNvCxnSpPr>
            <a:cxnSpLocks/>
            <a:stCxn id="9" idx="3"/>
            <a:endCxn id="11" idx="1"/>
          </p:cNvCxnSpPr>
          <p:nvPr/>
        </p:nvCxnSpPr>
        <p:spPr>
          <a:xfrm flipV="1">
            <a:off x="4317208" y="3476824"/>
            <a:ext cx="915621" cy="3513"/>
          </a:xfrm>
          <a:prstGeom prst="line">
            <a:avLst/>
          </a:prstGeom>
          <a:ln w="317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2">
            <a:extLst>
              <a:ext uri="{FF2B5EF4-FFF2-40B4-BE49-F238E27FC236}">
                <a16:creationId xmlns:a16="http://schemas.microsoft.com/office/drawing/2014/main" id="{9C2F61D2-2BD3-8441-ADE7-9B162117088E}"/>
              </a:ext>
            </a:extLst>
          </p:cNvPr>
          <p:cNvCxnSpPr>
            <a:cxnSpLocks/>
            <a:stCxn id="11" idx="3"/>
            <a:endCxn id="13" idx="1"/>
          </p:cNvCxnSpPr>
          <p:nvPr/>
        </p:nvCxnSpPr>
        <p:spPr>
          <a:xfrm>
            <a:off x="6171400" y="3476824"/>
            <a:ext cx="927278" cy="3513"/>
          </a:xfrm>
          <a:prstGeom prst="line">
            <a:avLst/>
          </a:prstGeom>
          <a:ln w="317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2">
            <a:extLst>
              <a:ext uri="{FF2B5EF4-FFF2-40B4-BE49-F238E27FC236}">
                <a16:creationId xmlns:a16="http://schemas.microsoft.com/office/drawing/2014/main" id="{3E3D1F46-CB29-7147-97C9-13582221BBF0}"/>
              </a:ext>
            </a:extLst>
          </p:cNvPr>
          <p:cNvCxnSpPr>
            <a:cxnSpLocks/>
            <a:stCxn id="13" idx="3"/>
            <a:endCxn id="46" idx="1"/>
          </p:cNvCxnSpPr>
          <p:nvPr/>
        </p:nvCxnSpPr>
        <p:spPr>
          <a:xfrm flipV="1">
            <a:off x="8075127" y="3476824"/>
            <a:ext cx="927278" cy="3513"/>
          </a:xfrm>
          <a:prstGeom prst="line">
            <a:avLst/>
          </a:prstGeom>
          <a:ln w="3175"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文本框 45">
            <a:extLst>
              <a:ext uri="{FF2B5EF4-FFF2-40B4-BE49-F238E27FC236}">
                <a16:creationId xmlns:a16="http://schemas.microsoft.com/office/drawing/2014/main" id="{7341641A-D175-9842-B6BC-6637F0B3CB09}"/>
              </a:ext>
            </a:extLst>
          </p:cNvPr>
          <p:cNvSpPr txBox="1"/>
          <p:nvPr/>
        </p:nvSpPr>
        <p:spPr>
          <a:xfrm>
            <a:off x="9002405" y="3307547"/>
            <a:ext cx="97644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600" b="1" dirty="0"/>
              <a:t>2020.10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9AB86F1D-7A6D-4645-9BA5-1230968D2990}"/>
              </a:ext>
            </a:extLst>
          </p:cNvPr>
          <p:cNvSpPr txBox="1"/>
          <p:nvPr/>
        </p:nvSpPr>
        <p:spPr>
          <a:xfrm>
            <a:off x="6635039" y="2893008"/>
            <a:ext cx="2549116" cy="526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与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Baidu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基础架构部达成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Service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 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Mesh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合作意向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,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技术选型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Istio</a:t>
            </a:r>
          </a:p>
        </p:txBody>
      </p:sp>
      <p:sp>
        <p:nvSpPr>
          <p:cNvPr id="52" name="圆角矩形 51">
            <a:extLst>
              <a:ext uri="{FF2B5EF4-FFF2-40B4-BE49-F238E27FC236}">
                <a16:creationId xmlns:a16="http://schemas.microsoft.com/office/drawing/2014/main" id="{B321FA57-4374-8C40-AD43-38BE4AC6753E}"/>
              </a:ext>
            </a:extLst>
          </p:cNvPr>
          <p:cNvSpPr/>
          <p:nvPr/>
        </p:nvSpPr>
        <p:spPr>
          <a:xfrm>
            <a:off x="4881672" y="3776231"/>
            <a:ext cx="1899541" cy="338554"/>
          </a:xfrm>
          <a:prstGeom prst="roundRect">
            <a:avLst>
              <a:gd name="adj" fmla="val 24842"/>
            </a:avLst>
          </a:prstGeom>
          <a:solidFill>
            <a:schemeClr val="accent1"/>
          </a:solidFill>
          <a:ln w="190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r>
              <a:rPr lang="en-US" altLang="zh-CN" sz="1400" b="1" dirty="0">
                <a:solidFill>
                  <a:schemeClr val="bg1"/>
                </a:solidFill>
              </a:rPr>
              <a:t>90%</a:t>
            </a:r>
            <a:r>
              <a:rPr lang="zh-CN" altLang="en-US" sz="1400" b="1" dirty="0">
                <a:solidFill>
                  <a:schemeClr val="bg1"/>
                </a:solidFill>
              </a:rPr>
              <a:t>服务托管于</a:t>
            </a:r>
            <a:r>
              <a:rPr lang="en-US" altLang="zh-CN" sz="1400" b="1" dirty="0">
                <a:solidFill>
                  <a:schemeClr val="bg1"/>
                </a:solidFill>
              </a:rPr>
              <a:t>K8s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B81A8ADF-F3C7-494D-9317-25FB4D043B7A}"/>
              </a:ext>
            </a:extLst>
          </p:cNvPr>
          <p:cNvSpPr txBox="1"/>
          <p:nvPr/>
        </p:nvSpPr>
        <p:spPr>
          <a:xfrm>
            <a:off x="4449124" y="4193675"/>
            <a:ext cx="2649554" cy="756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服务类型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: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 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80%Java,10%Node,10%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 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Golang,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服务数目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120+</a:t>
            </a:r>
          </a:p>
          <a:p>
            <a:pPr>
              <a:lnSpc>
                <a:spcPct val="150000"/>
              </a:lnSpc>
            </a:pPr>
            <a:r>
              <a:rPr lang="en-US" altLang="zh-CN" sz="1000" dirty="0" err="1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Skywalking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生产应用</a:t>
            </a:r>
            <a:endParaRPr lang="en-US" altLang="zh-CN" sz="1000" dirty="0">
              <a:solidFill>
                <a:schemeClr val="tx1">
                  <a:lumMod val="75000"/>
                  <a:lumOff val="25000"/>
                  <a:alpha val="50000"/>
                </a:schemeClr>
              </a:solidFill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BE77ECE0-14DB-DF42-8BA7-F49C904A8291}"/>
              </a:ext>
            </a:extLst>
          </p:cNvPr>
          <p:cNvSpPr txBox="1"/>
          <p:nvPr/>
        </p:nvSpPr>
        <p:spPr>
          <a:xfrm>
            <a:off x="8228275" y="4193675"/>
            <a:ext cx="2649554" cy="525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与</a:t>
            </a:r>
            <a:r>
              <a:rPr lang="en-US" altLang="zh-CN" sz="1000" dirty="0" err="1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Skywalking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社区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,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 </a:t>
            </a:r>
            <a:r>
              <a:rPr lang="en-US" altLang="zh-CN" sz="1000" dirty="0" err="1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ApiSix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社区达成建立云原生下统一</a:t>
            </a:r>
            <a:r>
              <a:rPr lang="en-US" altLang="zh-CN" sz="1000" dirty="0" err="1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Apm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数据器</a:t>
            </a:r>
            <a:r>
              <a:rPr lang="en-US" altLang="zh-CN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Satellite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  <a:alpha val="50000"/>
                  </a:schemeClr>
                </a:solidFill>
              </a:rPr>
              <a:t>的合作</a:t>
            </a:r>
            <a:endParaRPr lang="en-US" altLang="zh-CN" sz="1000" dirty="0">
              <a:solidFill>
                <a:schemeClr val="tx1">
                  <a:lumMod val="75000"/>
                  <a:lumOff val="25000"/>
                  <a:alpha val="50000"/>
                </a:schemeClr>
              </a:solidFill>
            </a:endParaRPr>
          </a:p>
        </p:txBody>
      </p:sp>
      <p:sp>
        <p:nvSpPr>
          <p:cNvPr id="26" name="页脚占位符 2">
            <a:extLst>
              <a:ext uri="{FF2B5EF4-FFF2-40B4-BE49-F238E27FC236}">
                <a16:creationId xmlns:a16="http://schemas.microsoft.com/office/drawing/2014/main" id="{E925C599-970B-2E4A-9D9B-8C8B3A5B6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5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75134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7180DEFB-D9E8-5B47-BE16-B87AE9E66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服务规模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204621D-563A-FD48-9B3E-2B441CDD0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2CD2F91-6187-324B-9E36-B8F94995EA31}"/>
              </a:ext>
            </a:extLst>
          </p:cNvPr>
          <p:cNvGrpSpPr>
            <a:grpSpLocks noChangeAspect="1"/>
          </p:cNvGrpSpPr>
          <p:nvPr/>
        </p:nvGrpSpPr>
        <p:grpSpPr>
          <a:xfrm>
            <a:off x="726653" y="1175123"/>
            <a:ext cx="9620171" cy="4810456"/>
            <a:chOff x="726653" y="1175123"/>
            <a:chExt cx="9620171" cy="4810456"/>
          </a:xfrm>
        </p:grpSpPr>
        <p:cxnSp>
          <p:nvCxnSpPr>
            <p:cNvPr id="7" name="直接连接符 4">
              <a:extLst>
                <a:ext uri="{FF2B5EF4-FFF2-40B4-BE49-F238E27FC236}">
                  <a16:creationId xmlns:a16="http://schemas.microsoft.com/office/drawing/2014/main" id="{8CB70BA7-74DD-DC4F-8E7A-0251E236BDD4}"/>
                </a:ext>
              </a:extLst>
            </p:cNvPr>
            <p:cNvCxnSpPr>
              <a:cxnSpLocks/>
            </p:cNvCxnSpPr>
            <p:nvPr/>
          </p:nvCxnSpPr>
          <p:spPr>
            <a:xfrm>
              <a:off x="1855176" y="4791509"/>
              <a:ext cx="3921680" cy="232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îš1íḓê">
              <a:extLst>
                <a:ext uri="{FF2B5EF4-FFF2-40B4-BE49-F238E27FC236}">
                  <a16:creationId xmlns:a16="http://schemas.microsoft.com/office/drawing/2014/main" id="{913BEF9C-E524-2143-BA82-09E4546331EE}"/>
                </a:ext>
              </a:extLst>
            </p:cNvPr>
            <p:cNvGrpSpPr/>
            <p:nvPr/>
          </p:nvGrpSpPr>
          <p:grpSpPr>
            <a:xfrm>
              <a:off x="8527486" y="3799117"/>
              <a:ext cx="1185038" cy="808775"/>
              <a:chOff x="3203214" y="2619000"/>
              <a:chExt cx="1611223" cy="1099641"/>
            </a:xfrm>
          </p:grpSpPr>
          <p:sp>
            <p:nvSpPr>
              <p:cNvPr id="61" name="iṣḻidè">
                <a:extLst>
                  <a:ext uri="{FF2B5EF4-FFF2-40B4-BE49-F238E27FC236}">
                    <a16:creationId xmlns:a16="http://schemas.microsoft.com/office/drawing/2014/main" id="{5B58A5E5-7E79-2C4C-A551-97732879C98E}"/>
                  </a:ext>
                </a:extLst>
              </p:cNvPr>
              <p:cNvSpPr/>
              <p:nvPr/>
            </p:nvSpPr>
            <p:spPr bwMode="auto">
              <a:xfrm>
                <a:off x="3203214" y="3221662"/>
                <a:ext cx="201535" cy="204700"/>
              </a:xfrm>
              <a:custGeom>
                <a:avLst/>
                <a:gdLst>
                  <a:gd name="T0" fmla="*/ 80 w 81"/>
                  <a:gd name="T1" fmla="*/ 38 h 82"/>
                  <a:gd name="T2" fmla="*/ 43 w 81"/>
                  <a:gd name="T3" fmla="*/ 80 h 82"/>
                  <a:gd name="T4" fmla="*/ 1 w 81"/>
                  <a:gd name="T5" fmla="*/ 44 h 82"/>
                  <a:gd name="T6" fmla="*/ 38 w 81"/>
                  <a:gd name="T7" fmla="*/ 2 h 82"/>
                  <a:gd name="T8" fmla="*/ 80 w 81"/>
                  <a:gd name="T9" fmla="*/ 3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82">
                    <a:moveTo>
                      <a:pt x="80" y="38"/>
                    </a:moveTo>
                    <a:cubicBezTo>
                      <a:pt x="81" y="60"/>
                      <a:pt x="65" y="79"/>
                      <a:pt x="43" y="80"/>
                    </a:cubicBezTo>
                    <a:cubicBezTo>
                      <a:pt x="21" y="82"/>
                      <a:pt x="3" y="65"/>
                      <a:pt x="1" y="44"/>
                    </a:cubicBezTo>
                    <a:cubicBezTo>
                      <a:pt x="0" y="22"/>
                      <a:pt x="16" y="3"/>
                      <a:pt x="38" y="2"/>
                    </a:cubicBezTo>
                    <a:cubicBezTo>
                      <a:pt x="59" y="0"/>
                      <a:pt x="78" y="17"/>
                      <a:pt x="80" y="38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íşḻïḓê">
                <a:extLst>
                  <a:ext uri="{FF2B5EF4-FFF2-40B4-BE49-F238E27FC236}">
                    <a16:creationId xmlns:a16="http://schemas.microsoft.com/office/drawing/2014/main" id="{B6700B59-28A6-5448-AE50-F02AB653E85E}"/>
                  </a:ext>
                </a:extLst>
              </p:cNvPr>
              <p:cNvSpPr/>
              <p:nvPr/>
            </p:nvSpPr>
            <p:spPr bwMode="auto">
              <a:xfrm>
                <a:off x="3607339" y="3516051"/>
                <a:ext cx="201535" cy="202590"/>
              </a:xfrm>
              <a:custGeom>
                <a:avLst/>
                <a:gdLst>
                  <a:gd name="T0" fmla="*/ 80 w 81"/>
                  <a:gd name="T1" fmla="*/ 38 h 81"/>
                  <a:gd name="T2" fmla="*/ 43 w 81"/>
                  <a:gd name="T3" fmla="*/ 80 h 81"/>
                  <a:gd name="T4" fmla="*/ 1 w 81"/>
                  <a:gd name="T5" fmla="*/ 43 h 81"/>
                  <a:gd name="T6" fmla="*/ 38 w 81"/>
                  <a:gd name="T7" fmla="*/ 1 h 81"/>
                  <a:gd name="T8" fmla="*/ 80 w 81"/>
                  <a:gd name="T9" fmla="*/ 3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" h="81">
                    <a:moveTo>
                      <a:pt x="80" y="38"/>
                    </a:moveTo>
                    <a:cubicBezTo>
                      <a:pt x="81" y="59"/>
                      <a:pt x="65" y="78"/>
                      <a:pt x="43" y="80"/>
                    </a:cubicBezTo>
                    <a:cubicBezTo>
                      <a:pt x="21" y="81"/>
                      <a:pt x="3" y="65"/>
                      <a:pt x="1" y="43"/>
                    </a:cubicBezTo>
                    <a:cubicBezTo>
                      <a:pt x="0" y="21"/>
                      <a:pt x="16" y="3"/>
                      <a:pt x="38" y="1"/>
                    </a:cubicBezTo>
                    <a:cubicBezTo>
                      <a:pt x="59" y="0"/>
                      <a:pt x="78" y="16"/>
                      <a:pt x="80" y="38"/>
                    </a:cubicBezTo>
                    <a:close/>
                  </a:path>
                </a:pathLst>
              </a:custGeom>
              <a:solidFill>
                <a:srgbClr val="C7C8CA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işḻîďe">
                <a:extLst>
                  <a:ext uri="{FF2B5EF4-FFF2-40B4-BE49-F238E27FC236}">
                    <a16:creationId xmlns:a16="http://schemas.microsoft.com/office/drawing/2014/main" id="{9ED0A7D4-4D1D-1C4E-B4DC-6BCCF34B078B}"/>
                  </a:ext>
                </a:extLst>
              </p:cNvPr>
              <p:cNvSpPr/>
              <p:nvPr/>
            </p:nvSpPr>
            <p:spPr bwMode="auto">
              <a:xfrm>
                <a:off x="4609737" y="2619000"/>
                <a:ext cx="204700" cy="202590"/>
              </a:xfrm>
              <a:custGeom>
                <a:avLst/>
                <a:gdLst>
                  <a:gd name="T0" fmla="*/ 80 w 82"/>
                  <a:gd name="T1" fmla="*/ 38 h 81"/>
                  <a:gd name="T2" fmla="*/ 44 w 82"/>
                  <a:gd name="T3" fmla="*/ 80 h 81"/>
                  <a:gd name="T4" fmla="*/ 2 w 82"/>
                  <a:gd name="T5" fmla="*/ 43 h 81"/>
                  <a:gd name="T6" fmla="*/ 38 w 82"/>
                  <a:gd name="T7" fmla="*/ 1 h 81"/>
                  <a:gd name="T8" fmla="*/ 80 w 82"/>
                  <a:gd name="T9" fmla="*/ 3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81">
                    <a:moveTo>
                      <a:pt x="80" y="38"/>
                    </a:moveTo>
                    <a:cubicBezTo>
                      <a:pt x="82" y="60"/>
                      <a:pt x="65" y="78"/>
                      <a:pt x="44" y="80"/>
                    </a:cubicBezTo>
                    <a:cubicBezTo>
                      <a:pt x="22" y="81"/>
                      <a:pt x="3" y="65"/>
                      <a:pt x="2" y="43"/>
                    </a:cubicBezTo>
                    <a:cubicBezTo>
                      <a:pt x="0" y="21"/>
                      <a:pt x="17" y="3"/>
                      <a:pt x="38" y="1"/>
                    </a:cubicBezTo>
                    <a:cubicBezTo>
                      <a:pt x="60" y="0"/>
                      <a:pt x="79" y="16"/>
                      <a:pt x="80" y="38"/>
                    </a:cubicBezTo>
                    <a:close/>
                  </a:path>
                </a:pathLst>
              </a:custGeom>
              <a:solidFill>
                <a:srgbClr val="C7C8CA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7" name="islíďè">
              <a:extLst>
                <a:ext uri="{FF2B5EF4-FFF2-40B4-BE49-F238E27FC236}">
                  <a16:creationId xmlns:a16="http://schemas.microsoft.com/office/drawing/2014/main" id="{9ABE78D3-FBB3-C146-BD8C-9D4C11D87B26}"/>
                </a:ext>
              </a:extLst>
            </p:cNvPr>
            <p:cNvGrpSpPr/>
            <p:nvPr/>
          </p:nvGrpSpPr>
          <p:grpSpPr>
            <a:xfrm>
              <a:off x="8113248" y="1271128"/>
              <a:ext cx="2233576" cy="4714451"/>
              <a:chOff x="4944083" y="932430"/>
              <a:chExt cx="2303835" cy="4862756"/>
            </a:xfrm>
          </p:grpSpPr>
          <p:grpSp>
            <p:nvGrpSpPr>
              <p:cNvPr id="49" name="î$ľïḑê">
                <a:extLst>
                  <a:ext uri="{FF2B5EF4-FFF2-40B4-BE49-F238E27FC236}">
                    <a16:creationId xmlns:a16="http://schemas.microsoft.com/office/drawing/2014/main" id="{25D1CE5C-9538-B847-9A6D-27E0B157F98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00964" y="932430"/>
                <a:ext cx="570098" cy="4862756"/>
                <a:chOff x="9925050" y="4167188"/>
                <a:chExt cx="695325" cy="5930900"/>
              </a:xfrm>
              <a:effectLst/>
            </p:grpSpPr>
            <p:sp>
              <p:nvSpPr>
                <p:cNvPr id="53" name="î$ḻïďe">
                  <a:extLst>
                    <a:ext uri="{FF2B5EF4-FFF2-40B4-BE49-F238E27FC236}">
                      <a16:creationId xmlns:a16="http://schemas.microsoft.com/office/drawing/2014/main" id="{3A0FC276-8775-1F48-9D1E-6A6A4FE95D71}"/>
                    </a:ext>
                  </a:extLst>
                </p:cNvPr>
                <p:cNvSpPr/>
                <p:nvPr/>
              </p:nvSpPr>
              <p:spPr bwMode="auto">
                <a:xfrm>
                  <a:off x="9925050" y="4337050"/>
                  <a:ext cx="93662" cy="93663"/>
                </a:xfrm>
                <a:custGeom>
                  <a:avLst/>
                  <a:gdLst>
                    <a:gd name="T0" fmla="*/ 130 w 260"/>
                    <a:gd name="T1" fmla="*/ 260 h 261"/>
                    <a:gd name="T2" fmla="*/ 0 w 260"/>
                    <a:gd name="T3" fmla="*/ 130 h 261"/>
                    <a:gd name="T4" fmla="*/ 130 w 260"/>
                    <a:gd name="T5" fmla="*/ 0 h 261"/>
                    <a:gd name="T6" fmla="*/ 259 w 260"/>
                    <a:gd name="T7" fmla="*/ 130 h 261"/>
                    <a:gd name="T8" fmla="*/ 130 w 260"/>
                    <a:gd name="T9" fmla="*/ 260 h 2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0"/>
                    <a:gd name="T16" fmla="*/ 0 h 261"/>
                    <a:gd name="T17" fmla="*/ 260 w 260"/>
                    <a:gd name="T18" fmla="*/ 261 h 2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0" h="261">
                      <a:moveTo>
                        <a:pt x="130" y="260"/>
                      </a:moveTo>
                      <a:cubicBezTo>
                        <a:pt x="58" y="260"/>
                        <a:pt x="0" y="202"/>
                        <a:pt x="0" y="130"/>
                      </a:cubicBezTo>
                      <a:cubicBezTo>
                        <a:pt x="0" y="58"/>
                        <a:pt x="58" y="0"/>
                        <a:pt x="130" y="0"/>
                      </a:cubicBezTo>
                      <a:cubicBezTo>
                        <a:pt x="201" y="0"/>
                        <a:pt x="259" y="58"/>
                        <a:pt x="259" y="130"/>
                      </a:cubicBezTo>
                      <a:cubicBezTo>
                        <a:pt x="259" y="202"/>
                        <a:pt x="201" y="260"/>
                        <a:pt x="130" y="26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>
                      <a:solidFill>
                        <a:srgbClr val="000000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4" name="íSḻîdê">
                  <a:extLst>
                    <a:ext uri="{FF2B5EF4-FFF2-40B4-BE49-F238E27FC236}">
                      <a16:creationId xmlns:a16="http://schemas.microsoft.com/office/drawing/2014/main" id="{215BE10A-748D-394A-91EC-FD9230DE514F}"/>
                    </a:ext>
                  </a:extLst>
                </p:cNvPr>
                <p:cNvSpPr/>
                <p:nvPr/>
              </p:nvSpPr>
              <p:spPr bwMode="auto">
                <a:xfrm>
                  <a:off x="10369550" y="4167188"/>
                  <a:ext cx="68263" cy="68262"/>
                </a:xfrm>
                <a:custGeom>
                  <a:avLst/>
                  <a:gdLst>
                    <a:gd name="T0" fmla="*/ 95 w 191"/>
                    <a:gd name="T1" fmla="*/ 190 h 191"/>
                    <a:gd name="T2" fmla="*/ 0 w 191"/>
                    <a:gd name="T3" fmla="*/ 95 h 191"/>
                    <a:gd name="T4" fmla="*/ 95 w 191"/>
                    <a:gd name="T5" fmla="*/ 0 h 191"/>
                    <a:gd name="T6" fmla="*/ 190 w 191"/>
                    <a:gd name="T7" fmla="*/ 95 h 191"/>
                    <a:gd name="T8" fmla="*/ 95 w 191"/>
                    <a:gd name="T9" fmla="*/ 190 h 1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91"/>
                    <a:gd name="T16" fmla="*/ 0 h 191"/>
                    <a:gd name="T17" fmla="*/ 191 w 191"/>
                    <a:gd name="T18" fmla="*/ 191 h 19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91" h="191">
                      <a:moveTo>
                        <a:pt x="95" y="190"/>
                      </a:moveTo>
                      <a:cubicBezTo>
                        <a:pt x="42" y="190"/>
                        <a:pt x="0" y="147"/>
                        <a:pt x="0" y="95"/>
                      </a:cubicBezTo>
                      <a:cubicBezTo>
                        <a:pt x="0" y="43"/>
                        <a:pt x="42" y="0"/>
                        <a:pt x="95" y="0"/>
                      </a:cubicBezTo>
                      <a:cubicBezTo>
                        <a:pt x="147" y="0"/>
                        <a:pt x="190" y="43"/>
                        <a:pt x="190" y="95"/>
                      </a:cubicBezTo>
                      <a:cubicBezTo>
                        <a:pt x="190" y="147"/>
                        <a:pt x="147" y="190"/>
                        <a:pt x="95" y="19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>
                      <a:solidFill>
                        <a:srgbClr val="000000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5" name="iS1íḑè">
                  <a:extLst>
                    <a:ext uri="{FF2B5EF4-FFF2-40B4-BE49-F238E27FC236}">
                      <a16:creationId xmlns:a16="http://schemas.microsoft.com/office/drawing/2014/main" id="{E87827BB-4FD9-E948-B22D-A530688BCA77}"/>
                    </a:ext>
                  </a:extLst>
                </p:cNvPr>
                <p:cNvSpPr/>
                <p:nvPr/>
              </p:nvSpPr>
              <p:spPr bwMode="auto">
                <a:xfrm>
                  <a:off x="10185400" y="4362450"/>
                  <a:ext cx="434975" cy="46038"/>
                </a:xfrm>
                <a:custGeom>
                  <a:avLst/>
                  <a:gdLst>
                    <a:gd name="T0" fmla="*/ 1143 w 1209"/>
                    <a:gd name="T1" fmla="*/ 129 h 130"/>
                    <a:gd name="T2" fmla="*/ 64 w 1209"/>
                    <a:gd name="T3" fmla="*/ 129 h 130"/>
                    <a:gd name="T4" fmla="*/ 0 w 1209"/>
                    <a:gd name="T5" fmla="*/ 65 h 130"/>
                    <a:gd name="T6" fmla="*/ 64 w 1209"/>
                    <a:gd name="T7" fmla="*/ 0 h 130"/>
                    <a:gd name="T8" fmla="*/ 1143 w 1209"/>
                    <a:gd name="T9" fmla="*/ 0 h 130"/>
                    <a:gd name="T10" fmla="*/ 1208 w 1209"/>
                    <a:gd name="T11" fmla="*/ 65 h 130"/>
                    <a:gd name="T12" fmla="*/ 1143 w 1209"/>
                    <a:gd name="T13" fmla="*/ 129 h 13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209"/>
                    <a:gd name="T22" fmla="*/ 0 h 130"/>
                    <a:gd name="T23" fmla="*/ 1209 w 1209"/>
                    <a:gd name="T24" fmla="*/ 130 h 13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209" h="130">
                      <a:moveTo>
                        <a:pt x="1143" y="129"/>
                      </a:moveTo>
                      <a:lnTo>
                        <a:pt x="64" y="129"/>
                      </a:lnTo>
                      <a:cubicBezTo>
                        <a:pt x="29" y="129"/>
                        <a:pt x="0" y="100"/>
                        <a:pt x="0" y="65"/>
                      </a:cubicBezTo>
                      <a:cubicBezTo>
                        <a:pt x="0" y="29"/>
                        <a:pt x="29" y="0"/>
                        <a:pt x="64" y="0"/>
                      </a:cubicBezTo>
                      <a:lnTo>
                        <a:pt x="1143" y="0"/>
                      </a:lnTo>
                      <a:cubicBezTo>
                        <a:pt x="1179" y="0"/>
                        <a:pt x="1208" y="29"/>
                        <a:pt x="1208" y="65"/>
                      </a:cubicBezTo>
                      <a:cubicBezTo>
                        <a:pt x="1208" y="100"/>
                        <a:pt x="1179" y="129"/>
                        <a:pt x="1143" y="12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>
                      <a:solidFill>
                        <a:srgbClr val="000000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6" name="íş1iḋè">
                  <a:extLst>
                    <a:ext uri="{FF2B5EF4-FFF2-40B4-BE49-F238E27FC236}">
                      <a16:creationId xmlns:a16="http://schemas.microsoft.com/office/drawing/2014/main" id="{4F0541F9-B0E2-CC46-AE06-CBA4617331C6}"/>
                    </a:ext>
                  </a:extLst>
                </p:cNvPr>
                <p:cNvSpPr/>
                <p:nvPr/>
              </p:nvSpPr>
              <p:spPr bwMode="auto">
                <a:xfrm>
                  <a:off x="10190163" y="9671050"/>
                  <a:ext cx="427037" cy="427038"/>
                </a:xfrm>
                <a:custGeom>
                  <a:avLst/>
                  <a:gdLst>
                    <a:gd name="T0" fmla="*/ 84 w 1187"/>
                    <a:gd name="T1" fmla="*/ 593 h 1186"/>
                    <a:gd name="T2" fmla="*/ 593 w 1187"/>
                    <a:gd name="T3" fmla="*/ 1102 h 1186"/>
                    <a:gd name="T4" fmla="*/ 1102 w 1187"/>
                    <a:gd name="T5" fmla="*/ 593 h 1186"/>
                    <a:gd name="T6" fmla="*/ 593 w 1187"/>
                    <a:gd name="T7" fmla="*/ 83 h 1186"/>
                    <a:gd name="T8" fmla="*/ 84 w 1187"/>
                    <a:gd name="T9" fmla="*/ 593 h 1186"/>
                    <a:gd name="T10" fmla="*/ 0 w 1187"/>
                    <a:gd name="T11" fmla="*/ 593 h 1186"/>
                    <a:gd name="T12" fmla="*/ 593 w 1187"/>
                    <a:gd name="T13" fmla="*/ 0 h 1186"/>
                    <a:gd name="T14" fmla="*/ 1186 w 1187"/>
                    <a:gd name="T15" fmla="*/ 593 h 1186"/>
                    <a:gd name="T16" fmla="*/ 593 w 1187"/>
                    <a:gd name="T17" fmla="*/ 1185 h 1186"/>
                    <a:gd name="T18" fmla="*/ 0 w 1187"/>
                    <a:gd name="T19" fmla="*/ 593 h 118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187"/>
                    <a:gd name="T31" fmla="*/ 0 h 1186"/>
                    <a:gd name="T32" fmla="*/ 1187 w 1187"/>
                    <a:gd name="T33" fmla="*/ 1186 h 118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187" h="1186">
                      <a:moveTo>
                        <a:pt x="84" y="593"/>
                      </a:moveTo>
                      <a:cubicBezTo>
                        <a:pt x="84" y="874"/>
                        <a:pt x="312" y="1102"/>
                        <a:pt x="593" y="1102"/>
                      </a:cubicBezTo>
                      <a:cubicBezTo>
                        <a:pt x="874" y="1102"/>
                        <a:pt x="1102" y="874"/>
                        <a:pt x="1102" y="593"/>
                      </a:cubicBezTo>
                      <a:cubicBezTo>
                        <a:pt x="1102" y="312"/>
                        <a:pt x="874" y="83"/>
                        <a:pt x="593" y="83"/>
                      </a:cubicBezTo>
                      <a:cubicBezTo>
                        <a:pt x="312" y="83"/>
                        <a:pt x="84" y="312"/>
                        <a:pt x="84" y="593"/>
                      </a:cubicBezTo>
                      <a:close/>
                      <a:moveTo>
                        <a:pt x="0" y="593"/>
                      </a:moveTo>
                      <a:cubicBezTo>
                        <a:pt x="0" y="266"/>
                        <a:pt x="266" y="0"/>
                        <a:pt x="593" y="0"/>
                      </a:cubicBezTo>
                      <a:cubicBezTo>
                        <a:pt x="920" y="0"/>
                        <a:pt x="1186" y="266"/>
                        <a:pt x="1186" y="593"/>
                      </a:cubicBezTo>
                      <a:cubicBezTo>
                        <a:pt x="1186" y="920"/>
                        <a:pt x="920" y="1185"/>
                        <a:pt x="593" y="1185"/>
                      </a:cubicBezTo>
                      <a:cubicBezTo>
                        <a:pt x="266" y="1185"/>
                        <a:pt x="0" y="920"/>
                        <a:pt x="0" y="59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lc="http://schemas.openxmlformats.org/drawingml/2006/lockedCanvas" xmlns:a16="http://schemas.microsoft.com/office/drawing/2014/main" xmlns:p14="http://schemas.microsoft.com/office/powerpoint/2010/main" xmlns:a14="http://schemas.microsoft.com/office/drawing/2010/main" w="9525">
                      <a:solidFill>
                        <a:srgbClr val="000000"/>
                      </a:solidFill>
                      <a:bevel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50" name="iṥḷîdé">
                <a:extLst>
                  <a:ext uri="{FF2B5EF4-FFF2-40B4-BE49-F238E27FC236}">
                    <a16:creationId xmlns:a16="http://schemas.microsoft.com/office/drawing/2014/main" id="{3AC66E42-5A58-A848-95B9-ADD6329A099F}"/>
                  </a:ext>
                </a:extLst>
              </p:cNvPr>
              <p:cNvSpPr/>
              <p:nvPr/>
            </p:nvSpPr>
            <p:spPr>
              <a:xfrm>
                <a:off x="4944083" y="1234401"/>
                <a:ext cx="2303835" cy="40870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4" name="îš1íḓè">
              <a:extLst>
                <a:ext uri="{FF2B5EF4-FFF2-40B4-BE49-F238E27FC236}">
                  <a16:creationId xmlns:a16="http://schemas.microsoft.com/office/drawing/2014/main" id="{B7255580-F59A-2145-BC3F-DCD635ED72E8}"/>
                </a:ext>
              </a:extLst>
            </p:cNvPr>
            <p:cNvGrpSpPr/>
            <p:nvPr/>
          </p:nvGrpSpPr>
          <p:grpSpPr>
            <a:xfrm>
              <a:off x="726653" y="1175123"/>
              <a:ext cx="4949702" cy="900726"/>
              <a:chOff x="726653" y="1257044"/>
              <a:chExt cx="4949702" cy="900726"/>
            </a:xfrm>
          </p:grpSpPr>
          <p:sp>
            <p:nvSpPr>
              <p:cNvPr id="45" name="ïṧliḑê">
                <a:extLst>
                  <a:ext uri="{FF2B5EF4-FFF2-40B4-BE49-F238E27FC236}">
                    <a16:creationId xmlns:a16="http://schemas.microsoft.com/office/drawing/2014/main" id="{996011AE-2761-434B-8BA5-B5F3709E82C7}"/>
                  </a:ext>
                </a:extLst>
              </p:cNvPr>
              <p:cNvSpPr txBox="1"/>
              <p:nvPr/>
            </p:nvSpPr>
            <p:spPr bwMode="auto">
              <a:xfrm>
                <a:off x="1839127" y="1510805"/>
                <a:ext cx="383722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01.</a:t>
                </a:r>
                <a:r>
                  <a:rPr lang="zh-CN" altLang="en-US" sz="2000" b="1" dirty="0"/>
                  <a:t>支持</a:t>
                </a:r>
                <a:r>
                  <a:rPr lang="en-US" altLang="zh-CN" sz="2000" b="1" dirty="0"/>
                  <a:t>Java</a:t>
                </a:r>
                <a:r>
                  <a:rPr lang="zh-CN" altLang="en-US" sz="2000" b="1" dirty="0"/>
                  <a:t> </a:t>
                </a:r>
                <a:r>
                  <a:rPr lang="en-US" altLang="zh-CN" sz="2000" b="1" dirty="0"/>
                  <a:t>&amp;</a:t>
                </a:r>
                <a:r>
                  <a:rPr lang="zh-CN" altLang="en-US" sz="2000" b="1" dirty="0"/>
                  <a:t> </a:t>
                </a:r>
                <a:r>
                  <a:rPr lang="en-US" altLang="zh-CN" sz="2000" b="1" dirty="0" err="1"/>
                  <a:t>NodeJs</a:t>
                </a:r>
                <a:r>
                  <a:rPr lang="zh-CN" altLang="en-US" sz="2000" b="1" dirty="0"/>
                  <a:t>数据采集</a:t>
                </a:r>
                <a:endParaRPr lang="en-US" altLang="zh-CN" sz="2000" b="1" dirty="0"/>
              </a:p>
            </p:txBody>
          </p:sp>
          <p:sp>
            <p:nvSpPr>
              <p:cNvPr id="43" name="íSľíḋè">
                <a:extLst>
                  <a:ext uri="{FF2B5EF4-FFF2-40B4-BE49-F238E27FC236}">
                    <a16:creationId xmlns:a16="http://schemas.microsoft.com/office/drawing/2014/main" id="{417CF77C-B7D4-8649-ADDC-4DD2B3E346D5}"/>
                  </a:ext>
                </a:extLst>
              </p:cNvPr>
              <p:cNvSpPr/>
              <p:nvPr/>
            </p:nvSpPr>
            <p:spPr bwMode="auto">
              <a:xfrm>
                <a:off x="726653" y="1257044"/>
                <a:ext cx="899312" cy="900726"/>
              </a:xfrm>
              <a:custGeom>
                <a:avLst/>
                <a:gdLst>
                  <a:gd name="T0" fmla="*/ 1066 w 1272"/>
                  <a:gd name="T1" fmla="*/ 168 h 1274"/>
                  <a:gd name="T2" fmla="*/ 1132 w 1272"/>
                  <a:gd name="T3" fmla="*/ 238 h 1274"/>
                  <a:gd name="T4" fmla="*/ 1186 w 1272"/>
                  <a:gd name="T5" fmla="*/ 316 h 1274"/>
                  <a:gd name="T6" fmla="*/ 1226 w 1272"/>
                  <a:gd name="T7" fmla="*/ 398 h 1274"/>
                  <a:gd name="T8" fmla="*/ 1254 w 1272"/>
                  <a:gd name="T9" fmla="*/ 486 h 1274"/>
                  <a:gd name="T10" fmla="*/ 1270 w 1272"/>
                  <a:gd name="T11" fmla="*/ 576 h 1274"/>
                  <a:gd name="T12" fmla="*/ 1272 w 1272"/>
                  <a:gd name="T13" fmla="*/ 668 h 1274"/>
                  <a:gd name="T14" fmla="*/ 1260 w 1272"/>
                  <a:gd name="T15" fmla="*/ 760 h 1274"/>
                  <a:gd name="T16" fmla="*/ 1236 w 1272"/>
                  <a:gd name="T17" fmla="*/ 850 h 1274"/>
                  <a:gd name="T18" fmla="*/ 1198 w 1272"/>
                  <a:gd name="T19" fmla="*/ 936 h 1274"/>
                  <a:gd name="T20" fmla="*/ 1146 w 1272"/>
                  <a:gd name="T21" fmla="*/ 1016 h 1274"/>
                  <a:gd name="T22" fmla="*/ 1106 w 1272"/>
                  <a:gd name="T23" fmla="*/ 1068 h 1274"/>
                  <a:gd name="T24" fmla="*/ 1036 w 1272"/>
                  <a:gd name="T25" fmla="*/ 1134 h 1274"/>
                  <a:gd name="T26" fmla="*/ 958 w 1272"/>
                  <a:gd name="T27" fmla="*/ 1186 h 1274"/>
                  <a:gd name="T28" fmla="*/ 874 w 1272"/>
                  <a:gd name="T29" fmla="*/ 1228 h 1274"/>
                  <a:gd name="T30" fmla="*/ 786 w 1272"/>
                  <a:gd name="T31" fmla="*/ 1256 h 1274"/>
                  <a:gd name="T32" fmla="*/ 696 w 1272"/>
                  <a:gd name="T33" fmla="*/ 1272 h 1274"/>
                  <a:gd name="T34" fmla="*/ 604 w 1272"/>
                  <a:gd name="T35" fmla="*/ 1274 h 1274"/>
                  <a:gd name="T36" fmla="*/ 514 w 1272"/>
                  <a:gd name="T37" fmla="*/ 1262 h 1274"/>
                  <a:gd name="T38" fmla="*/ 424 w 1272"/>
                  <a:gd name="T39" fmla="*/ 1238 h 1274"/>
                  <a:gd name="T40" fmla="*/ 338 w 1272"/>
                  <a:gd name="T41" fmla="*/ 1200 h 1274"/>
                  <a:gd name="T42" fmla="*/ 256 w 1272"/>
                  <a:gd name="T43" fmla="*/ 1148 h 1274"/>
                  <a:gd name="T44" fmla="*/ 206 w 1272"/>
                  <a:gd name="T45" fmla="*/ 1106 h 1274"/>
                  <a:gd name="T46" fmla="*/ 140 w 1272"/>
                  <a:gd name="T47" fmla="*/ 1036 h 1274"/>
                  <a:gd name="T48" fmla="*/ 86 w 1272"/>
                  <a:gd name="T49" fmla="*/ 958 h 1274"/>
                  <a:gd name="T50" fmla="*/ 46 w 1272"/>
                  <a:gd name="T51" fmla="*/ 876 h 1274"/>
                  <a:gd name="T52" fmla="*/ 18 w 1272"/>
                  <a:gd name="T53" fmla="*/ 788 h 1274"/>
                  <a:gd name="T54" fmla="*/ 2 w 1272"/>
                  <a:gd name="T55" fmla="*/ 698 h 1274"/>
                  <a:gd name="T56" fmla="*/ 0 w 1272"/>
                  <a:gd name="T57" fmla="*/ 606 h 1274"/>
                  <a:gd name="T58" fmla="*/ 10 w 1272"/>
                  <a:gd name="T59" fmla="*/ 514 h 1274"/>
                  <a:gd name="T60" fmla="*/ 36 w 1272"/>
                  <a:gd name="T61" fmla="*/ 426 h 1274"/>
                  <a:gd name="T62" fmla="*/ 74 w 1272"/>
                  <a:gd name="T63" fmla="*/ 338 h 1274"/>
                  <a:gd name="T64" fmla="*/ 124 w 1272"/>
                  <a:gd name="T65" fmla="*/ 258 h 1274"/>
                  <a:gd name="T66" fmla="*/ 166 w 1272"/>
                  <a:gd name="T67" fmla="*/ 208 h 1274"/>
                  <a:gd name="T68" fmla="*/ 236 w 1272"/>
                  <a:gd name="T69" fmla="*/ 142 h 1274"/>
                  <a:gd name="T70" fmla="*/ 314 w 1272"/>
                  <a:gd name="T71" fmla="*/ 88 h 1274"/>
                  <a:gd name="T72" fmla="*/ 398 w 1272"/>
                  <a:gd name="T73" fmla="*/ 46 h 1274"/>
                  <a:gd name="T74" fmla="*/ 486 w 1272"/>
                  <a:gd name="T75" fmla="*/ 18 h 1274"/>
                  <a:gd name="T76" fmla="*/ 576 w 1272"/>
                  <a:gd name="T77" fmla="*/ 4 h 1274"/>
                  <a:gd name="T78" fmla="*/ 668 w 1272"/>
                  <a:gd name="T79" fmla="*/ 2 h 1274"/>
                  <a:gd name="T80" fmla="*/ 758 w 1272"/>
                  <a:gd name="T81" fmla="*/ 12 h 1274"/>
                  <a:gd name="T82" fmla="*/ 848 w 1272"/>
                  <a:gd name="T83" fmla="*/ 36 h 1274"/>
                  <a:gd name="T84" fmla="*/ 934 w 1272"/>
                  <a:gd name="T85" fmla="*/ 74 h 1274"/>
                  <a:gd name="T86" fmla="*/ 1016 w 1272"/>
                  <a:gd name="T87" fmla="*/ 126 h 1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72" h="1274">
                    <a:moveTo>
                      <a:pt x="1042" y="146"/>
                    </a:moveTo>
                    <a:lnTo>
                      <a:pt x="1042" y="146"/>
                    </a:lnTo>
                    <a:lnTo>
                      <a:pt x="1066" y="168"/>
                    </a:lnTo>
                    <a:lnTo>
                      <a:pt x="1090" y="190"/>
                    </a:lnTo>
                    <a:lnTo>
                      <a:pt x="1112" y="214"/>
                    </a:lnTo>
                    <a:lnTo>
                      <a:pt x="1132" y="238"/>
                    </a:lnTo>
                    <a:lnTo>
                      <a:pt x="1152" y="264"/>
                    </a:lnTo>
                    <a:lnTo>
                      <a:pt x="1170" y="290"/>
                    </a:lnTo>
                    <a:lnTo>
                      <a:pt x="1186" y="316"/>
                    </a:lnTo>
                    <a:lnTo>
                      <a:pt x="1200" y="342"/>
                    </a:lnTo>
                    <a:lnTo>
                      <a:pt x="1214" y="370"/>
                    </a:lnTo>
                    <a:lnTo>
                      <a:pt x="1226" y="398"/>
                    </a:lnTo>
                    <a:lnTo>
                      <a:pt x="1238" y="428"/>
                    </a:lnTo>
                    <a:lnTo>
                      <a:pt x="1246" y="456"/>
                    </a:lnTo>
                    <a:lnTo>
                      <a:pt x="1254" y="486"/>
                    </a:lnTo>
                    <a:lnTo>
                      <a:pt x="1260" y="516"/>
                    </a:lnTo>
                    <a:lnTo>
                      <a:pt x="1266" y="546"/>
                    </a:lnTo>
                    <a:lnTo>
                      <a:pt x="1270" y="576"/>
                    </a:lnTo>
                    <a:lnTo>
                      <a:pt x="1272" y="608"/>
                    </a:lnTo>
                    <a:lnTo>
                      <a:pt x="1272" y="638"/>
                    </a:lnTo>
                    <a:lnTo>
                      <a:pt x="1272" y="668"/>
                    </a:lnTo>
                    <a:lnTo>
                      <a:pt x="1270" y="700"/>
                    </a:lnTo>
                    <a:lnTo>
                      <a:pt x="1266" y="730"/>
                    </a:lnTo>
                    <a:lnTo>
                      <a:pt x="1260" y="760"/>
                    </a:lnTo>
                    <a:lnTo>
                      <a:pt x="1254" y="790"/>
                    </a:lnTo>
                    <a:lnTo>
                      <a:pt x="1246" y="820"/>
                    </a:lnTo>
                    <a:lnTo>
                      <a:pt x="1236" y="850"/>
                    </a:lnTo>
                    <a:lnTo>
                      <a:pt x="1226" y="878"/>
                    </a:lnTo>
                    <a:lnTo>
                      <a:pt x="1212" y="908"/>
                    </a:lnTo>
                    <a:lnTo>
                      <a:pt x="1198" y="936"/>
                    </a:lnTo>
                    <a:lnTo>
                      <a:pt x="1182" y="964"/>
                    </a:lnTo>
                    <a:lnTo>
                      <a:pt x="1166" y="990"/>
                    </a:lnTo>
                    <a:lnTo>
                      <a:pt x="1146" y="1016"/>
                    </a:lnTo>
                    <a:lnTo>
                      <a:pt x="1126" y="1042"/>
                    </a:lnTo>
                    <a:lnTo>
                      <a:pt x="1126" y="1042"/>
                    </a:lnTo>
                    <a:lnTo>
                      <a:pt x="1106" y="1068"/>
                    </a:lnTo>
                    <a:lnTo>
                      <a:pt x="1082" y="1090"/>
                    </a:lnTo>
                    <a:lnTo>
                      <a:pt x="1060" y="1112"/>
                    </a:lnTo>
                    <a:lnTo>
                      <a:pt x="1036" y="1134"/>
                    </a:lnTo>
                    <a:lnTo>
                      <a:pt x="1010" y="1152"/>
                    </a:lnTo>
                    <a:lnTo>
                      <a:pt x="984" y="1170"/>
                    </a:lnTo>
                    <a:lnTo>
                      <a:pt x="958" y="1186"/>
                    </a:lnTo>
                    <a:lnTo>
                      <a:pt x="930" y="1202"/>
                    </a:lnTo>
                    <a:lnTo>
                      <a:pt x="902" y="1216"/>
                    </a:lnTo>
                    <a:lnTo>
                      <a:pt x="874" y="1228"/>
                    </a:lnTo>
                    <a:lnTo>
                      <a:pt x="846" y="1238"/>
                    </a:lnTo>
                    <a:lnTo>
                      <a:pt x="816" y="1248"/>
                    </a:lnTo>
                    <a:lnTo>
                      <a:pt x="786" y="1256"/>
                    </a:lnTo>
                    <a:lnTo>
                      <a:pt x="756" y="1262"/>
                    </a:lnTo>
                    <a:lnTo>
                      <a:pt x="726" y="1268"/>
                    </a:lnTo>
                    <a:lnTo>
                      <a:pt x="696" y="1272"/>
                    </a:lnTo>
                    <a:lnTo>
                      <a:pt x="666" y="1274"/>
                    </a:lnTo>
                    <a:lnTo>
                      <a:pt x="636" y="1274"/>
                    </a:lnTo>
                    <a:lnTo>
                      <a:pt x="604" y="1274"/>
                    </a:lnTo>
                    <a:lnTo>
                      <a:pt x="574" y="1270"/>
                    </a:lnTo>
                    <a:lnTo>
                      <a:pt x="544" y="1268"/>
                    </a:lnTo>
                    <a:lnTo>
                      <a:pt x="514" y="1262"/>
                    </a:lnTo>
                    <a:lnTo>
                      <a:pt x="484" y="1256"/>
                    </a:lnTo>
                    <a:lnTo>
                      <a:pt x="454" y="1248"/>
                    </a:lnTo>
                    <a:lnTo>
                      <a:pt x="424" y="1238"/>
                    </a:lnTo>
                    <a:lnTo>
                      <a:pt x="394" y="1226"/>
                    </a:lnTo>
                    <a:lnTo>
                      <a:pt x="366" y="1214"/>
                    </a:lnTo>
                    <a:lnTo>
                      <a:pt x="338" y="1200"/>
                    </a:lnTo>
                    <a:lnTo>
                      <a:pt x="310" y="1184"/>
                    </a:lnTo>
                    <a:lnTo>
                      <a:pt x="282" y="1166"/>
                    </a:lnTo>
                    <a:lnTo>
                      <a:pt x="256" y="1148"/>
                    </a:lnTo>
                    <a:lnTo>
                      <a:pt x="230" y="1128"/>
                    </a:lnTo>
                    <a:lnTo>
                      <a:pt x="230" y="1128"/>
                    </a:lnTo>
                    <a:lnTo>
                      <a:pt x="206" y="1106"/>
                    </a:lnTo>
                    <a:lnTo>
                      <a:pt x="182" y="1084"/>
                    </a:lnTo>
                    <a:lnTo>
                      <a:pt x="160" y="1060"/>
                    </a:lnTo>
                    <a:lnTo>
                      <a:pt x="140" y="1036"/>
                    </a:lnTo>
                    <a:lnTo>
                      <a:pt x="120" y="1012"/>
                    </a:lnTo>
                    <a:lnTo>
                      <a:pt x="102" y="986"/>
                    </a:lnTo>
                    <a:lnTo>
                      <a:pt x="86" y="958"/>
                    </a:lnTo>
                    <a:lnTo>
                      <a:pt x="72" y="932"/>
                    </a:lnTo>
                    <a:lnTo>
                      <a:pt x="58" y="904"/>
                    </a:lnTo>
                    <a:lnTo>
                      <a:pt x="46" y="876"/>
                    </a:lnTo>
                    <a:lnTo>
                      <a:pt x="34" y="846"/>
                    </a:lnTo>
                    <a:lnTo>
                      <a:pt x="26" y="818"/>
                    </a:lnTo>
                    <a:lnTo>
                      <a:pt x="18" y="788"/>
                    </a:lnTo>
                    <a:lnTo>
                      <a:pt x="10" y="758"/>
                    </a:lnTo>
                    <a:lnTo>
                      <a:pt x="6" y="728"/>
                    </a:lnTo>
                    <a:lnTo>
                      <a:pt x="2" y="698"/>
                    </a:lnTo>
                    <a:lnTo>
                      <a:pt x="0" y="668"/>
                    </a:lnTo>
                    <a:lnTo>
                      <a:pt x="0" y="636"/>
                    </a:lnTo>
                    <a:lnTo>
                      <a:pt x="0" y="606"/>
                    </a:lnTo>
                    <a:lnTo>
                      <a:pt x="2" y="576"/>
                    </a:lnTo>
                    <a:lnTo>
                      <a:pt x="6" y="544"/>
                    </a:lnTo>
                    <a:lnTo>
                      <a:pt x="10" y="514"/>
                    </a:lnTo>
                    <a:lnTo>
                      <a:pt x="18" y="484"/>
                    </a:lnTo>
                    <a:lnTo>
                      <a:pt x="26" y="454"/>
                    </a:lnTo>
                    <a:lnTo>
                      <a:pt x="36" y="426"/>
                    </a:lnTo>
                    <a:lnTo>
                      <a:pt x="46" y="396"/>
                    </a:lnTo>
                    <a:lnTo>
                      <a:pt x="60" y="368"/>
                    </a:lnTo>
                    <a:lnTo>
                      <a:pt x="74" y="338"/>
                    </a:lnTo>
                    <a:lnTo>
                      <a:pt x="88" y="312"/>
                    </a:lnTo>
                    <a:lnTo>
                      <a:pt x="106" y="284"/>
                    </a:lnTo>
                    <a:lnTo>
                      <a:pt x="124" y="258"/>
                    </a:lnTo>
                    <a:lnTo>
                      <a:pt x="146" y="232"/>
                    </a:lnTo>
                    <a:lnTo>
                      <a:pt x="146" y="232"/>
                    </a:lnTo>
                    <a:lnTo>
                      <a:pt x="166" y="208"/>
                    </a:lnTo>
                    <a:lnTo>
                      <a:pt x="190" y="184"/>
                    </a:lnTo>
                    <a:lnTo>
                      <a:pt x="212" y="162"/>
                    </a:lnTo>
                    <a:lnTo>
                      <a:pt x="236" y="142"/>
                    </a:lnTo>
                    <a:lnTo>
                      <a:pt x="262" y="122"/>
                    </a:lnTo>
                    <a:lnTo>
                      <a:pt x="288" y="104"/>
                    </a:lnTo>
                    <a:lnTo>
                      <a:pt x="314" y="88"/>
                    </a:lnTo>
                    <a:lnTo>
                      <a:pt x="342" y="72"/>
                    </a:lnTo>
                    <a:lnTo>
                      <a:pt x="370" y="58"/>
                    </a:lnTo>
                    <a:lnTo>
                      <a:pt x="398" y="46"/>
                    </a:lnTo>
                    <a:lnTo>
                      <a:pt x="426" y="36"/>
                    </a:lnTo>
                    <a:lnTo>
                      <a:pt x="456" y="26"/>
                    </a:lnTo>
                    <a:lnTo>
                      <a:pt x="486" y="18"/>
                    </a:lnTo>
                    <a:lnTo>
                      <a:pt x="516" y="12"/>
                    </a:lnTo>
                    <a:lnTo>
                      <a:pt x="546" y="8"/>
                    </a:lnTo>
                    <a:lnTo>
                      <a:pt x="576" y="4"/>
                    </a:lnTo>
                    <a:lnTo>
                      <a:pt x="606" y="2"/>
                    </a:lnTo>
                    <a:lnTo>
                      <a:pt x="636" y="0"/>
                    </a:lnTo>
                    <a:lnTo>
                      <a:pt x="668" y="2"/>
                    </a:lnTo>
                    <a:lnTo>
                      <a:pt x="698" y="4"/>
                    </a:lnTo>
                    <a:lnTo>
                      <a:pt x="728" y="8"/>
                    </a:lnTo>
                    <a:lnTo>
                      <a:pt x="758" y="12"/>
                    </a:lnTo>
                    <a:lnTo>
                      <a:pt x="788" y="18"/>
                    </a:lnTo>
                    <a:lnTo>
                      <a:pt x="818" y="28"/>
                    </a:lnTo>
                    <a:lnTo>
                      <a:pt x="848" y="36"/>
                    </a:lnTo>
                    <a:lnTo>
                      <a:pt x="878" y="48"/>
                    </a:lnTo>
                    <a:lnTo>
                      <a:pt x="906" y="60"/>
                    </a:lnTo>
                    <a:lnTo>
                      <a:pt x="934" y="74"/>
                    </a:lnTo>
                    <a:lnTo>
                      <a:pt x="962" y="90"/>
                    </a:lnTo>
                    <a:lnTo>
                      <a:pt x="990" y="108"/>
                    </a:lnTo>
                    <a:lnTo>
                      <a:pt x="1016" y="126"/>
                    </a:lnTo>
                    <a:lnTo>
                      <a:pt x="1042" y="146"/>
                    </a:lnTo>
                    <a:lnTo>
                      <a:pt x="1042" y="146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</p:grpSp>
        <p:grpSp>
          <p:nvGrpSpPr>
            <p:cNvPr id="25" name="ïŝľiḋe">
              <a:extLst>
                <a:ext uri="{FF2B5EF4-FFF2-40B4-BE49-F238E27FC236}">
                  <a16:creationId xmlns:a16="http://schemas.microsoft.com/office/drawing/2014/main" id="{C13FFAD3-3ABF-9C44-88BE-CAEEAD115B5C}"/>
                </a:ext>
              </a:extLst>
            </p:cNvPr>
            <p:cNvGrpSpPr/>
            <p:nvPr/>
          </p:nvGrpSpPr>
          <p:grpSpPr>
            <a:xfrm>
              <a:off x="726653" y="2481948"/>
              <a:ext cx="4965751" cy="900726"/>
              <a:chOff x="726653" y="2522909"/>
              <a:chExt cx="4965751" cy="900726"/>
            </a:xfrm>
          </p:grpSpPr>
          <p:sp>
            <p:nvSpPr>
              <p:cNvPr id="39" name="îṧlïḋe">
                <a:extLst>
                  <a:ext uri="{FF2B5EF4-FFF2-40B4-BE49-F238E27FC236}">
                    <a16:creationId xmlns:a16="http://schemas.microsoft.com/office/drawing/2014/main" id="{9EB25876-5E33-0B4B-BBBD-F2CC068C3958}"/>
                  </a:ext>
                </a:extLst>
              </p:cNvPr>
              <p:cNvSpPr txBox="1"/>
              <p:nvPr/>
            </p:nvSpPr>
            <p:spPr bwMode="auto">
              <a:xfrm>
                <a:off x="1855176" y="2699456"/>
                <a:ext cx="383722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02.</a:t>
                </a:r>
                <a:r>
                  <a:rPr lang="zh-CN" altLang="en-US" sz="2000" b="1" dirty="0"/>
                  <a:t>服务</a:t>
                </a:r>
                <a:r>
                  <a:rPr lang="en-US" altLang="zh-CN" sz="2000" b="1" dirty="0"/>
                  <a:t>150+</a:t>
                </a:r>
                <a:r>
                  <a:rPr lang="zh-CN" altLang="en-US" sz="2000" b="1" dirty="0"/>
                  <a:t>服务</a:t>
                </a:r>
                <a:r>
                  <a:rPr lang="en-US" altLang="zh-CN" sz="2000" b="1" dirty="0"/>
                  <a:t>,1400+Pod</a:t>
                </a:r>
              </a:p>
            </p:txBody>
          </p:sp>
          <p:sp>
            <p:nvSpPr>
              <p:cNvPr id="37" name="isḷíḍê">
                <a:extLst>
                  <a:ext uri="{FF2B5EF4-FFF2-40B4-BE49-F238E27FC236}">
                    <a16:creationId xmlns:a16="http://schemas.microsoft.com/office/drawing/2014/main" id="{C7FFF5DE-1882-9040-8FCF-C2192EAC74AC}"/>
                  </a:ext>
                </a:extLst>
              </p:cNvPr>
              <p:cNvSpPr/>
              <p:nvPr/>
            </p:nvSpPr>
            <p:spPr bwMode="auto">
              <a:xfrm>
                <a:off x="726653" y="2522909"/>
                <a:ext cx="899312" cy="900726"/>
              </a:xfrm>
              <a:custGeom>
                <a:avLst/>
                <a:gdLst>
                  <a:gd name="T0" fmla="*/ 1066 w 1272"/>
                  <a:gd name="T1" fmla="*/ 168 h 1274"/>
                  <a:gd name="T2" fmla="*/ 1132 w 1272"/>
                  <a:gd name="T3" fmla="*/ 238 h 1274"/>
                  <a:gd name="T4" fmla="*/ 1186 w 1272"/>
                  <a:gd name="T5" fmla="*/ 316 h 1274"/>
                  <a:gd name="T6" fmla="*/ 1226 w 1272"/>
                  <a:gd name="T7" fmla="*/ 398 h 1274"/>
                  <a:gd name="T8" fmla="*/ 1254 w 1272"/>
                  <a:gd name="T9" fmla="*/ 486 h 1274"/>
                  <a:gd name="T10" fmla="*/ 1270 w 1272"/>
                  <a:gd name="T11" fmla="*/ 576 h 1274"/>
                  <a:gd name="T12" fmla="*/ 1272 w 1272"/>
                  <a:gd name="T13" fmla="*/ 668 h 1274"/>
                  <a:gd name="T14" fmla="*/ 1260 w 1272"/>
                  <a:gd name="T15" fmla="*/ 760 h 1274"/>
                  <a:gd name="T16" fmla="*/ 1236 w 1272"/>
                  <a:gd name="T17" fmla="*/ 850 h 1274"/>
                  <a:gd name="T18" fmla="*/ 1198 w 1272"/>
                  <a:gd name="T19" fmla="*/ 936 h 1274"/>
                  <a:gd name="T20" fmla="*/ 1146 w 1272"/>
                  <a:gd name="T21" fmla="*/ 1016 h 1274"/>
                  <a:gd name="T22" fmla="*/ 1106 w 1272"/>
                  <a:gd name="T23" fmla="*/ 1068 h 1274"/>
                  <a:gd name="T24" fmla="*/ 1036 w 1272"/>
                  <a:gd name="T25" fmla="*/ 1134 h 1274"/>
                  <a:gd name="T26" fmla="*/ 958 w 1272"/>
                  <a:gd name="T27" fmla="*/ 1186 h 1274"/>
                  <a:gd name="T28" fmla="*/ 874 w 1272"/>
                  <a:gd name="T29" fmla="*/ 1228 h 1274"/>
                  <a:gd name="T30" fmla="*/ 786 w 1272"/>
                  <a:gd name="T31" fmla="*/ 1256 h 1274"/>
                  <a:gd name="T32" fmla="*/ 696 w 1272"/>
                  <a:gd name="T33" fmla="*/ 1272 h 1274"/>
                  <a:gd name="T34" fmla="*/ 604 w 1272"/>
                  <a:gd name="T35" fmla="*/ 1274 h 1274"/>
                  <a:gd name="T36" fmla="*/ 514 w 1272"/>
                  <a:gd name="T37" fmla="*/ 1262 h 1274"/>
                  <a:gd name="T38" fmla="*/ 424 w 1272"/>
                  <a:gd name="T39" fmla="*/ 1238 h 1274"/>
                  <a:gd name="T40" fmla="*/ 338 w 1272"/>
                  <a:gd name="T41" fmla="*/ 1200 h 1274"/>
                  <a:gd name="T42" fmla="*/ 256 w 1272"/>
                  <a:gd name="T43" fmla="*/ 1148 h 1274"/>
                  <a:gd name="T44" fmla="*/ 206 w 1272"/>
                  <a:gd name="T45" fmla="*/ 1106 h 1274"/>
                  <a:gd name="T46" fmla="*/ 140 w 1272"/>
                  <a:gd name="T47" fmla="*/ 1036 h 1274"/>
                  <a:gd name="T48" fmla="*/ 86 w 1272"/>
                  <a:gd name="T49" fmla="*/ 958 h 1274"/>
                  <a:gd name="T50" fmla="*/ 46 w 1272"/>
                  <a:gd name="T51" fmla="*/ 876 h 1274"/>
                  <a:gd name="T52" fmla="*/ 18 w 1272"/>
                  <a:gd name="T53" fmla="*/ 788 h 1274"/>
                  <a:gd name="T54" fmla="*/ 2 w 1272"/>
                  <a:gd name="T55" fmla="*/ 698 h 1274"/>
                  <a:gd name="T56" fmla="*/ 0 w 1272"/>
                  <a:gd name="T57" fmla="*/ 606 h 1274"/>
                  <a:gd name="T58" fmla="*/ 10 w 1272"/>
                  <a:gd name="T59" fmla="*/ 514 h 1274"/>
                  <a:gd name="T60" fmla="*/ 36 w 1272"/>
                  <a:gd name="T61" fmla="*/ 426 h 1274"/>
                  <a:gd name="T62" fmla="*/ 74 w 1272"/>
                  <a:gd name="T63" fmla="*/ 338 h 1274"/>
                  <a:gd name="T64" fmla="*/ 124 w 1272"/>
                  <a:gd name="T65" fmla="*/ 258 h 1274"/>
                  <a:gd name="T66" fmla="*/ 166 w 1272"/>
                  <a:gd name="T67" fmla="*/ 208 h 1274"/>
                  <a:gd name="T68" fmla="*/ 236 w 1272"/>
                  <a:gd name="T69" fmla="*/ 142 h 1274"/>
                  <a:gd name="T70" fmla="*/ 314 w 1272"/>
                  <a:gd name="T71" fmla="*/ 88 h 1274"/>
                  <a:gd name="T72" fmla="*/ 398 w 1272"/>
                  <a:gd name="T73" fmla="*/ 46 h 1274"/>
                  <a:gd name="T74" fmla="*/ 486 w 1272"/>
                  <a:gd name="T75" fmla="*/ 18 h 1274"/>
                  <a:gd name="T76" fmla="*/ 576 w 1272"/>
                  <a:gd name="T77" fmla="*/ 4 h 1274"/>
                  <a:gd name="T78" fmla="*/ 668 w 1272"/>
                  <a:gd name="T79" fmla="*/ 2 h 1274"/>
                  <a:gd name="T80" fmla="*/ 758 w 1272"/>
                  <a:gd name="T81" fmla="*/ 12 h 1274"/>
                  <a:gd name="T82" fmla="*/ 848 w 1272"/>
                  <a:gd name="T83" fmla="*/ 36 h 1274"/>
                  <a:gd name="T84" fmla="*/ 934 w 1272"/>
                  <a:gd name="T85" fmla="*/ 74 h 1274"/>
                  <a:gd name="T86" fmla="*/ 1016 w 1272"/>
                  <a:gd name="T87" fmla="*/ 126 h 1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72" h="1274">
                    <a:moveTo>
                      <a:pt x="1042" y="146"/>
                    </a:moveTo>
                    <a:lnTo>
                      <a:pt x="1042" y="146"/>
                    </a:lnTo>
                    <a:lnTo>
                      <a:pt x="1066" y="168"/>
                    </a:lnTo>
                    <a:lnTo>
                      <a:pt x="1090" y="190"/>
                    </a:lnTo>
                    <a:lnTo>
                      <a:pt x="1112" y="214"/>
                    </a:lnTo>
                    <a:lnTo>
                      <a:pt x="1132" y="238"/>
                    </a:lnTo>
                    <a:lnTo>
                      <a:pt x="1152" y="264"/>
                    </a:lnTo>
                    <a:lnTo>
                      <a:pt x="1170" y="290"/>
                    </a:lnTo>
                    <a:lnTo>
                      <a:pt x="1186" y="316"/>
                    </a:lnTo>
                    <a:lnTo>
                      <a:pt x="1200" y="342"/>
                    </a:lnTo>
                    <a:lnTo>
                      <a:pt x="1214" y="370"/>
                    </a:lnTo>
                    <a:lnTo>
                      <a:pt x="1226" y="398"/>
                    </a:lnTo>
                    <a:lnTo>
                      <a:pt x="1238" y="428"/>
                    </a:lnTo>
                    <a:lnTo>
                      <a:pt x="1246" y="456"/>
                    </a:lnTo>
                    <a:lnTo>
                      <a:pt x="1254" y="486"/>
                    </a:lnTo>
                    <a:lnTo>
                      <a:pt x="1260" y="516"/>
                    </a:lnTo>
                    <a:lnTo>
                      <a:pt x="1266" y="546"/>
                    </a:lnTo>
                    <a:lnTo>
                      <a:pt x="1270" y="576"/>
                    </a:lnTo>
                    <a:lnTo>
                      <a:pt x="1272" y="608"/>
                    </a:lnTo>
                    <a:lnTo>
                      <a:pt x="1272" y="638"/>
                    </a:lnTo>
                    <a:lnTo>
                      <a:pt x="1272" y="668"/>
                    </a:lnTo>
                    <a:lnTo>
                      <a:pt x="1270" y="700"/>
                    </a:lnTo>
                    <a:lnTo>
                      <a:pt x="1266" y="730"/>
                    </a:lnTo>
                    <a:lnTo>
                      <a:pt x="1260" y="760"/>
                    </a:lnTo>
                    <a:lnTo>
                      <a:pt x="1254" y="790"/>
                    </a:lnTo>
                    <a:lnTo>
                      <a:pt x="1246" y="820"/>
                    </a:lnTo>
                    <a:lnTo>
                      <a:pt x="1236" y="850"/>
                    </a:lnTo>
                    <a:lnTo>
                      <a:pt x="1226" y="878"/>
                    </a:lnTo>
                    <a:lnTo>
                      <a:pt x="1212" y="908"/>
                    </a:lnTo>
                    <a:lnTo>
                      <a:pt x="1198" y="936"/>
                    </a:lnTo>
                    <a:lnTo>
                      <a:pt x="1182" y="964"/>
                    </a:lnTo>
                    <a:lnTo>
                      <a:pt x="1166" y="990"/>
                    </a:lnTo>
                    <a:lnTo>
                      <a:pt x="1146" y="1016"/>
                    </a:lnTo>
                    <a:lnTo>
                      <a:pt x="1126" y="1042"/>
                    </a:lnTo>
                    <a:lnTo>
                      <a:pt x="1126" y="1042"/>
                    </a:lnTo>
                    <a:lnTo>
                      <a:pt x="1106" y="1068"/>
                    </a:lnTo>
                    <a:lnTo>
                      <a:pt x="1082" y="1090"/>
                    </a:lnTo>
                    <a:lnTo>
                      <a:pt x="1060" y="1112"/>
                    </a:lnTo>
                    <a:lnTo>
                      <a:pt x="1036" y="1134"/>
                    </a:lnTo>
                    <a:lnTo>
                      <a:pt x="1010" y="1152"/>
                    </a:lnTo>
                    <a:lnTo>
                      <a:pt x="984" y="1170"/>
                    </a:lnTo>
                    <a:lnTo>
                      <a:pt x="958" y="1186"/>
                    </a:lnTo>
                    <a:lnTo>
                      <a:pt x="930" y="1202"/>
                    </a:lnTo>
                    <a:lnTo>
                      <a:pt x="902" y="1216"/>
                    </a:lnTo>
                    <a:lnTo>
                      <a:pt x="874" y="1228"/>
                    </a:lnTo>
                    <a:lnTo>
                      <a:pt x="846" y="1238"/>
                    </a:lnTo>
                    <a:lnTo>
                      <a:pt x="816" y="1248"/>
                    </a:lnTo>
                    <a:lnTo>
                      <a:pt x="786" y="1256"/>
                    </a:lnTo>
                    <a:lnTo>
                      <a:pt x="756" y="1262"/>
                    </a:lnTo>
                    <a:lnTo>
                      <a:pt x="726" y="1268"/>
                    </a:lnTo>
                    <a:lnTo>
                      <a:pt x="696" y="1272"/>
                    </a:lnTo>
                    <a:lnTo>
                      <a:pt x="666" y="1274"/>
                    </a:lnTo>
                    <a:lnTo>
                      <a:pt x="636" y="1274"/>
                    </a:lnTo>
                    <a:lnTo>
                      <a:pt x="604" y="1274"/>
                    </a:lnTo>
                    <a:lnTo>
                      <a:pt x="574" y="1270"/>
                    </a:lnTo>
                    <a:lnTo>
                      <a:pt x="544" y="1268"/>
                    </a:lnTo>
                    <a:lnTo>
                      <a:pt x="514" y="1262"/>
                    </a:lnTo>
                    <a:lnTo>
                      <a:pt x="484" y="1256"/>
                    </a:lnTo>
                    <a:lnTo>
                      <a:pt x="454" y="1248"/>
                    </a:lnTo>
                    <a:lnTo>
                      <a:pt x="424" y="1238"/>
                    </a:lnTo>
                    <a:lnTo>
                      <a:pt x="394" y="1226"/>
                    </a:lnTo>
                    <a:lnTo>
                      <a:pt x="366" y="1214"/>
                    </a:lnTo>
                    <a:lnTo>
                      <a:pt x="338" y="1200"/>
                    </a:lnTo>
                    <a:lnTo>
                      <a:pt x="310" y="1184"/>
                    </a:lnTo>
                    <a:lnTo>
                      <a:pt x="282" y="1166"/>
                    </a:lnTo>
                    <a:lnTo>
                      <a:pt x="256" y="1148"/>
                    </a:lnTo>
                    <a:lnTo>
                      <a:pt x="230" y="1128"/>
                    </a:lnTo>
                    <a:lnTo>
                      <a:pt x="230" y="1128"/>
                    </a:lnTo>
                    <a:lnTo>
                      <a:pt x="206" y="1106"/>
                    </a:lnTo>
                    <a:lnTo>
                      <a:pt x="182" y="1084"/>
                    </a:lnTo>
                    <a:lnTo>
                      <a:pt x="160" y="1060"/>
                    </a:lnTo>
                    <a:lnTo>
                      <a:pt x="140" y="1036"/>
                    </a:lnTo>
                    <a:lnTo>
                      <a:pt x="120" y="1012"/>
                    </a:lnTo>
                    <a:lnTo>
                      <a:pt x="102" y="986"/>
                    </a:lnTo>
                    <a:lnTo>
                      <a:pt x="86" y="958"/>
                    </a:lnTo>
                    <a:lnTo>
                      <a:pt x="72" y="932"/>
                    </a:lnTo>
                    <a:lnTo>
                      <a:pt x="58" y="904"/>
                    </a:lnTo>
                    <a:lnTo>
                      <a:pt x="46" y="876"/>
                    </a:lnTo>
                    <a:lnTo>
                      <a:pt x="34" y="846"/>
                    </a:lnTo>
                    <a:lnTo>
                      <a:pt x="26" y="818"/>
                    </a:lnTo>
                    <a:lnTo>
                      <a:pt x="18" y="788"/>
                    </a:lnTo>
                    <a:lnTo>
                      <a:pt x="10" y="758"/>
                    </a:lnTo>
                    <a:lnTo>
                      <a:pt x="6" y="728"/>
                    </a:lnTo>
                    <a:lnTo>
                      <a:pt x="2" y="698"/>
                    </a:lnTo>
                    <a:lnTo>
                      <a:pt x="0" y="668"/>
                    </a:lnTo>
                    <a:lnTo>
                      <a:pt x="0" y="636"/>
                    </a:lnTo>
                    <a:lnTo>
                      <a:pt x="0" y="606"/>
                    </a:lnTo>
                    <a:lnTo>
                      <a:pt x="2" y="576"/>
                    </a:lnTo>
                    <a:lnTo>
                      <a:pt x="6" y="544"/>
                    </a:lnTo>
                    <a:lnTo>
                      <a:pt x="10" y="514"/>
                    </a:lnTo>
                    <a:lnTo>
                      <a:pt x="18" y="484"/>
                    </a:lnTo>
                    <a:lnTo>
                      <a:pt x="26" y="454"/>
                    </a:lnTo>
                    <a:lnTo>
                      <a:pt x="36" y="426"/>
                    </a:lnTo>
                    <a:lnTo>
                      <a:pt x="46" y="396"/>
                    </a:lnTo>
                    <a:lnTo>
                      <a:pt x="60" y="368"/>
                    </a:lnTo>
                    <a:lnTo>
                      <a:pt x="74" y="338"/>
                    </a:lnTo>
                    <a:lnTo>
                      <a:pt x="88" y="312"/>
                    </a:lnTo>
                    <a:lnTo>
                      <a:pt x="106" y="284"/>
                    </a:lnTo>
                    <a:lnTo>
                      <a:pt x="124" y="258"/>
                    </a:lnTo>
                    <a:lnTo>
                      <a:pt x="146" y="232"/>
                    </a:lnTo>
                    <a:lnTo>
                      <a:pt x="146" y="232"/>
                    </a:lnTo>
                    <a:lnTo>
                      <a:pt x="166" y="208"/>
                    </a:lnTo>
                    <a:lnTo>
                      <a:pt x="190" y="184"/>
                    </a:lnTo>
                    <a:lnTo>
                      <a:pt x="212" y="162"/>
                    </a:lnTo>
                    <a:lnTo>
                      <a:pt x="236" y="142"/>
                    </a:lnTo>
                    <a:lnTo>
                      <a:pt x="262" y="122"/>
                    </a:lnTo>
                    <a:lnTo>
                      <a:pt x="288" y="104"/>
                    </a:lnTo>
                    <a:lnTo>
                      <a:pt x="314" y="88"/>
                    </a:lnTo>
                    <a:lnTo>
                      <a:pt x="342" y="72"/>
                    </a:lnTo>
                    <a:lnTo>
                      <a:pt x="370" y="58"/>
                    </a:lnTo>
                    <a:lnTo>
                      <a:pt x="398" y="46"/>
                    </a:lnTo>
                    <a:lnTo>
                      <a:pt x="426" y="36"/>
                    </a:lnTo>
                    <a:lnTo>
                      <a:pt x="456" y="26"/>
                    </a:lnTo>
                    <a:lnTo>
                      <a:pt x="486" y="18"/>
                    </a:lnTo>
                    <a:lnTo>
                      <a:pt x="516" y="12"/>
                    </a:lnTo>
                    <a:lnTo>
                      <a:pt x="546" y="8"/>
                    </a:lnTo>
                    <a:lnTo>
                      <a:pt x="576" y="4"/>
                    </a:lnTo>
                    <a:lnTo>
                      <a:pt x="606" y="2"/>
                    </a:lnTo>
                    <a:lnTo>
                      <a:pt x="636" y="0"/>
                    </a:lnTo>
                    <a:lnTo>
                      <a:pt x="668" y="2"/>
                    </a:lnTo>
                    <a:lnTo>
                      <a:pt x="698" y="4"/>
                    </a:lnTo>
                    <a:lnTo>
                      <a:pt x="728" y="8"/>
                    </a:lnTo>
                    <a:lnTo>
                      <a:pt x="758" y="12"/>
                    </a:lnTo>
                    <a:lnTo>
                      <a:pt x="788" y="18"/>
                    </a:lnTo>
                    <a:lnTo>
                      <a:pt x="818" y="28"/>
                    </a:lnTo>
                    <a:lnTo>
                      <a:pt x="848" y="36"/>
                    </a:lnTo>
                    <a:lnTo>
                      <a:pt x="878" y="48"/>
                    </a:lnTo>
                    <a:lnTo>
                      <a:pt x="906" y="60"/>
                    </a:lnTo>
                    <a:lnTo>
                      <a:pt x="934" y="74"/>
                    </a:lnTo>
                    <a:lnTo>
                      <a:pt x="962" y="90"/>
                    </a:lnTo>
                    <a:lnTo>
                      <a:pt x="990" y="108"/>
                    </a:lnTo>
                    <a:lnTo>
                      <a:pt x="1016" y="126"/>
                    </a:lnTo>
                    <a:lnTo>
                      <a:pt x="1042" y="146"/>
                    </a:lnTo>
                    <a:lnTo>
                      <a:pt x="1042" y="146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26" name="ïsľíḍé">
              <a:extLst>
                <a:ext uri="{FF2B5EF4-FFF2-40B4-BE49-F238E27FC236}">
                  <a16:creationId xmlns:a16="http://schemas.microsoft.com/office/drawing/2014/main" id="{E22FA5FE-7992-7047-B53C-01750AEA8077}"/>
                </a:ext>
              </a:extLst>
            </p:cNvPr>
            <p:cNvGrpSpPr/>
            <p:nvPr/>
          </p:nvGrpSpPr>
          <p:grpSpPr>
            <a:xfrm>
              <a:off x="726653" y="3788774"/>
              <a:ext cx="4949702" cy="900726"/>
              <a:chOff x="726653" y="3788774"/>
              <a:chExt cx="4949702" cy="900726"/>
            </a:xfrm>
          </p:grpSpPr>
          <p:sp>
            <p:nvSpPr>
              <p:cNvPr id="33" name="îs1îḑè">
                <a:extLst>
                  <a:ext uri="{FF2B5EF4-FFF2-40B4-BE49-F238E27FC236}">
                    <a16:creationId xmlns:a16="http://schemas.microsoft.com/office/drawing/2014/main" id="{09779B25-50EA-6E4F-907A-A176C8E50642}"/>
                  </a:ext>
                </a:extLst>
              </p:cNvPr>
              <p:cNvSpPr txBox="1"/>
              <p:nvPr/>
            </p:nvSpPr>
            <p:spPr bwMode="auto">
              <a:xfrm>
                <a:off x="1839127" y="3965321"/>
                <a:ext cx="383722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03.</a:t>
                </a:r>
                <a:r>
                  <a:rPr lang="zh-CN" altLang="en-US" sz="2000" b="1" dirty="0"/>
                  <a:t>日</a:t>
                </a:r>
                <a:r>
                  <a:rPr lang="en-US" altLang="zh-CN" sz="2000" b="1" dirty="0"/>
                  <a:t>Segment 10</a:t>
                </a:r>
                <a:r>
                  <a:rPr lang="zh-CN" altLang="en-US" sz="2000" b="1" dirty="0"/>
                  <a:t>亿</a:t>
                </a:r>
                <a:endParaRPr lang="en-US" altLang="zh-CN" sz="2000" b="1" dirty="0"/>
              </a:p>
            </p:txBody>
          </p:sp>
          <p:sp>
            <p:nvSpPr>
              <p:cNvPr id="31" name="îṣľídé">
                <a:extLst>
                  <a:ext uri="{FF2B5EF4-FFF2-40B4-BE49-F238E27FC236}">
                    <a16:creationId xmlns:a16="http://schemas.microsoft.com/office/drawing/2014/main" id="{621908B6-F551-4447-8FA2-B0E235BE677D}"/>
                  </a:ext>
                </a:extLst>
              </p:cNvPr>
              <p:cNvSpPr/>
              <p:nvPr/>
            </p:nvSpPr>
            <p:spPr bwMode="auto">
              <a:xfrm>
                <a:off x="726653" y="3788774"/>
                <a:ext cx="899312" cy="900726"/>
              </a:xfrm>
              <a:custGeom>
                <a:avLst/>
                <a:gdLst>
                  <a:gd name="T0" fmla="*/ 1066 w 1272"/>
                  <a:gd name="T1" fmla="*/ 168 h 1274"/>
                  <a:gd name="T2" fmla="*/ 1132 w 1272"/>
                  <a:gd name="T3" fmla="*/ 238 h 1274"/>
                  <a:gd name="T4" fmla="*/ 1186 w 1272"/>
                  <a:gd name="T5" fmla="*/ 316 h 1274"/>
                  <a:gd name="T6" fmla="*/ 1226 w 1272"/>
                  <a:gd name="T7" fmla="*/ 398 h 1274"/>
                  <a:gd name="T8" fmla="*/ 1254 w 1272"/>
                  <a:gd name="T9" fmla="*/ 486 h 1274"/>
                  <a:gd name="T10" fmla="*/ 1270 w 1272"/>
                  <a:gd name="T11" fmla="*/ 576 h 1274"/>
                  <a:gd name="T12" fmla="*/ 1272 w 1272"/>
                  <a:gd name="T13" fmla="*/ 668 h 1274"/>
                  <a:gd name="T14" fmla="*/ 1260 w 1272"/>
                  <a:gd name="T15" fmla="*/ 760 h 1274"/>
                  <a:gd name="T16" fmla="*/ 1236 w 1272"/>
                  <a:gd name="T17" fmla="*/ 850 h 1274"/>
                  <a:gd name="T18" fmla="*/ 1198 w 1272"/>
                  <a:gd name="T19" fmla="*/ 936 h 1274"/>
                  <a:gd name="T20" fmla="*/ 1146 w 1272"/>
                  <a:gd name="T21" fmla="*/ 1016 h 1274"/>
                  <a:gd name="T22" fmla="*/ 1106 w 1272"/>
                  <a:gd name="T23" fmla="*/ 1068 h 1274"/>
                  <a:gd name="T24" fmla="*/ 1036 w 1272"/>
                  <a:gd name="T25" fmla="*/ 1134 h 1274"/>
                  <a:gd name="T26" fmla="*/ 958 w 1272"/>
                  <a:gd name="T27" fmla="*/ 1186 h 1274"/>
                  <a:gd name="T28" fmla="*/ 874 w 1272"/>
                  <a:gd name="T29" fmla="*/ 1228 h 1274"/>
                  <a:gd name="T30" fmla="*/ 786 w 1272"/>
                  <a:gd name="T31" fmla="*/ 1256 h 1274"/>
                  <a:gd name="T32" fmla="*/ 696 w 1272"/>
                  <a:gd name="T33" fmla="*/ 1272 h 1274"/>
                  <a:gd name="T34" fmla="*/ 604 w 1272"/>
                  <a:gd name="T35" fmla="*/ 1274 h 1274"/>
                  <a:gd name="T36" fmla="*/ 514 w 1272"/>
                  <a:gd name="T37" fmla="*/ 1262 h 1274"/>
                  <a:gd name="T38" fmla="*/ 424 w 1272"/>
                  <a:gd name="T39" fmla="*/ 1238 h 1274"/>
                  <a:gd name="T40" fmla="*/ 338 w 1272"/>
                  <a:gd name="T41" fmla="*/ 1200 h 1274"/>
                  <a:gd name="T42" fmla="*/ 256 w 1272"/>
                  <a:gd name="T43" fmla="*/ 1148 h 1274"/>
                  <a:gd name="T44" fmla="*/ 206 w 1272"/>
                  <a:gd name="T45" fmla="*/ 1106 h 1274"/>
                  <a:gd name="T46" fmla="*/ 140 w 1272"/>
                  <a:gd name="T47" fmla="*/ 1036 h 1274"/>
                  <a:gd name="T48" fmla="*/ 86 w 1272"/>
                  <a:gd name="T49" fmla="*/ 958 h 1274"/>
                  <a:gd name="T50" fmla="*/ 46 w 1272"/>
                  <a:gd name="T51" fmla="*/ 876 h 1274"/>
                  <a:gd name="T52" fmla="*/ 18 w 1272"/>
                  <a:gd name="T53" fmla="*/ 788 h 1274"/>
                  <a:gd name="T54" fmla="*/ 2 w 1272"/>
                  <a:gd name="T55" fmla="*/ 698 h 1274"/>
                  <a:gd name="T56" fmla="*/ 0 w 1272"/>
                  <a:gd name="T57" fmla="*/ 606 h 1274"/>
                  <a:gd name="T58" fmla="*/ 10 w 1272"/>
                  <a:gd name="T59" fmla="*/ 514 h 1274"/>
                  <a:gd name="T60" fmla="*/ 36 w 1272"/>
                  <a:gd name="T61" fmla="*/ 426 h 1274"/>
                  <a:gd name="T62" fmla="*/ 74 w 1272"/>
                  <a:gd name="T63" fmla="*/ 338 h 1274"/>
                  <a:gd name="T64" fmla="*/ 124 w 1272"/>
                  <a:gd name="T65" fmla="*/ 258 h 1274"/>
                  <a:gd name="T66" fmla="*/ 166 w 1272"/>
                  <a:gd name="T67" fmla="*/ 208 h 1274"/>
                  <a:gd name="T68" fmla="*/ 236 w 1272"/>
                  <a:gd name="T69" fmla="*/ 142 h 1274"/>
                  <a:gd name="T70" fmla="*/ 314 w 1272"/>
                  <a:gd name="T71" fmla="*/ 88 h 1274"/>
                  <a:gd name="T72" fmla="*/ 398 w 1272"/>
                  <a:gd name="T73" fmla="*/ 46 h 1274"/>
                  <a:gd name="T74" fmla="*/ 486 w 1272"/>
                  <a:gd name="T75" fmla="*/ 18 h 1274"/>
                  <a:gd name="T76" fmla="*/ 576 w 1272"/>
                  <a:gd name="T77" fmla="*/ 4 h 1274"/>
                  <a:gd name="T78" fmla="*/ 668 w 1272"/>
                  <a:gd name="T79" fmla="*/ 2 h 1274"/>
                  <a:gd name="T80" fmla="*/ 758 w 1272"/>
                  <a:gd name="T81" fmla="*/ 12 h 1274"/>
                  <a:gd name="T82" fmla="*/ 848 w 1272"/>
                  <a:gd name="T83" fmla="*/ 36 h 1274"/>
                  <a:gd name="T84" fmla="*/ 934 w 1272"/>
                  <a:gd name="T85" fmla="*/ 74 h 1274"/>
                  <a:gd name="T86" fmla="*/ 1016 w 1272"/>
                  <a:gd name="T87" fmla="*/ 126 h 1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72" h="1274">
                    <a:moveTo>
                      <a:pt x="1042" y="146"/>
                    </a:moveTo>
                    <a:lnTo>
                      <a:pt x="1042" y="146"/>
                    </a:lnTo>
                    <a:lnTo>
                      <a:pt x="1066" y="168"/>
                    </a:lnTo>
                    <a:lnTo>
                      <a:pt x="1090" y="190"/>
                    </a:lnTo>
                    <a:lnTo>
                      <a:pt x="1112" y="214"/>
                    </a:lnTo>
                    <a:lnTo>
                      <a:pt x="1132" y="238"/>
                    </a:lnTo>
                    <a:lnTo>
                      <a:pt x="1152" y="264"/>
                    </a:lnTo>
                    <a:lnTo>
                      <a:pt x="1170" y="290"/>
                    </a:lnTo>
                    <a:lnTo>
                      <a:pt x="1186" y="316"/>
                    </a:lnTo>
                    <a:lnTo>
                      <a:pt x="1200" y="342"/>
                    </a:lnTo>
                    <a:lnTo>
                      <a:pt x="1214" y="370"/>
                    </a:lnTo>
                    <a:lnTo>
                      <a:pt x="1226" y="398"/>
                    </a:lnTo>
                    <a:lnTo>
                      <a:pt x="1238" y="428"/>
                    </a:lnTo>
                    <a:lnTo>
                      <a:pt x="1246" y="456"/>
                    </a:lnTo>
                    <a:lnTo>
                      <a:pt x="1254" y="486"/>
                    </a:lnTo>
                    <a:lnTo>
                      <a:pt x="1260" y="516"/>
                    </a:lnTo>
                    <a:lnTo>
                      <a:pt x="1266" y="546"/>
                    </a:lnTo>
                    <a:lnTo>
                      <a:pt x="1270" y="576"/>
                    </a:lnTo>
                    <a:lnTo>
                      <a:pt x="1272" y="608"/>
                    </a:lnTo>
                    <a:lnTo>
                      <a:pt x="1272" y="638"/>
                    </a:lnTo>
                    <a:lnTo>
                      <a:pt x="1272" y="668"/>
                    </a:lnTo>
                    <a:lnTo>
                      <a:pt x="1270" y="700"/>
                    </a:lnTo>
                    <a:lnTo>
                      <a:pt x="1266" y="730"/>
                    </a:lnTo>
                    <a:lnTo>
                      <a:pt x="1260" y="760"/>
                    </a:lnTo>
                    <a:lnTo>
                      <a:pt x="1254" y="790"/>
                    </a:lnTo>
                    <a:lnTo>
                      <a:pt x="1246" y="820"/>
                    </a:lnTo>
                    <a:lnTo>
                      <a:pt x="1236" y="850"/>
                    </a:lnTo>
                    <a:lnTo>
                      <a:pt x="1226" y="878"/>
                    </a:lnTo>
                    <a:lnTo>
                      <a:pt x="1212" y="908"/>
                    </a:lnTo>
                    <a:lnTo>
                      <a:pt x="1198" y="936"/>
                    </a:lnTo>
                    <a:lnTo>
                      <a:pt x="1182" y="964"/>
                    </a:lnTo>
                    <a:lnTo>
                      <a:pt x="1166" y="990"/>
                    </a:lnTo>
                    <a:lnTo>
                      <a:pt x="1146" y="1016"/>
                    </a:lnTo>
                    <a:lnTo>
                      <a:pt x="1126" y="1042"/>
                    </a:lnTo>
                    <a:lnTo>
                      <a:pt x="1126" y="1042"/>
                    </a:lnTo>
                    <a:lnTo>
                      <a:pt x="1106" y="1068"/>
                    </a:lnTo>
                    <a:lnTo>
                      <a:pt x="1082" y="1090"/>
                    </a:lnTo>
                    <a:lnTo>
                      <a:pt x="1060" y="1112"/>
                    </a:lnTo>
                    <a:lnTo>
                      <a:pt x="1036" y="1134"/>
                    </a:lnTo>
                    <a:lnTo>
                      <a:pt x="1010" y="1152"/>
                    </a:lnTo>
                    <a:lnTo>
                      <a:pt x="984" y="1170"/>
                    </a:lnTo>
                    <a:lnTo>
                      <a:pt x="958" y="1186"/>
                    </a:lnTo>
                    <a:lnTo>
                      <a:pt x="930" y="1202"/>
                    </a:lnTo>
                    <a:lnTo>
                      <a:pt x="902" y="1216"/>
                    </a:lnTo>
                    <a:lnTo>
                      <a:pt x="874" y="1228"/>
                    </a:lnTo>
                    <a:lnTo>
                      <a:pt x="846" y="1238"/>
                    </a:lnTo>
                    <a:lnTo>
                      <a:pt x="816" y="1248"/>
                    </a:lnTo>
                    <a:lnTo>
                      <a:pt x="786" y="1256"/>
                    </a:lnTo>
                    <a:lnTo>
                      <a:pt x="756" y="1262"/>
                    </a:lnTo>
                    <a:lnTo>
                      <a:pt x="726" y="1268"/>
                    </a:lnTo>
                    <a:lnTo>
                      <a:pt x="696" y="1272"/>
                    </a:lnTo>
                    <a:lnTo>
                      <a:pt x="666" y="1274"/>
                    </a:lnTo>
                    <a:lnTo>
                      <a:pt x="636" y="1274"/>
                    </a:lnTo>
                    <a:lnTo>
                      <a:pt x="604" y="1274"/>
                    </a:lnTo>
                    <a:lnTo>
                      <a:pt x="574" y="1270"/>
                    </a:lnTo>
                    <a:lnTo>
                      <a:pt x="544" y="1268"/>
                    </a:lnTo>
                    <a:lnTo>
                      <a:pt x="514" y="1262"/>
                    </a:lnTo>
                    <a:lnTo>
                      <a:pt x="484" y="1256"/>
                    </a:lnTo>
                    <a:lnTo>
                      <a:pt x="454" y="1248"/>
                    </a:lnTo>
                    <a:lnTo>
                      <a:pt x="424" y="1238"/>
                    </a:lnTo>
                    <a:lnTo>
                      <a:pt x="394" y="1226"/>
                    </a:lnTo>
                    <a:lnTo>
                      <a:pt x="366" y="1214"/>
                    </a:lnTo>
                    <a:lnTo>
                      <a:pt x="338" y="1200"/>
                    </a:lnTo>
                    <a:lnTo>
                      <a:pt x="310" y="1184"/>
                    </a:lnTo>
                    <a:lnTo>
                      <a:pt x="282" y="1166"/>
                    </a:lnTo>
                    <a:lnTo>
                      <a:pt x="256" y="1148"/>
                    </a:lnTo>
                    <a:lnTo>
                      <a:pt x="230" y="1128"/>
                    </a:lnTo>
                    <a:lnTo>
                      <a:pt x="230" y="1128"/>
                    </a:lnTo>
                    <a:lnTo>
                      <a:pt x="206" y="1106"/>
                    </a:lnTo>
                    <a:lnTo>
                      <a:pt x="182" y="1084"/>
                    </a:lnTo>
                    <a:lnTo>
                      <a:pt x="160" y="1060"/>
                    </a:lnTo>
                    <a:lnTo>
                      <a:pt x="140" y="1036"/>
                    </a:lnTo>
                    <a:lnTo>
                      <a:pt x="120" y="1012"/>
                    </a:lnTo>
                    <a:lnTo>
                      <a:pt x="102" y="986"/>
                    </a:lnTo>
                    <a:lnTo>
                      <a:pt x="86" y="958"/>
                    </a:lnTo>
                    <a:lnTo>
                      <a:pt x="72" y="932"/>
                    </a:lnTo>
                    <a:lnTo>
                      <a:pt x="58" y="904"/>
                    </a:lnTo>
                    <a:lnTo>
                      <a:pt x="46" y="876"/>
                    </a:lnTo>
                    <a:lnTo>
                      <a:pt x="34" y="846"/>
                    </a:lnTo>
                    <a:lnTo>
                      <a:pt x="26" y="818"/>
                    </a:lnTo>
                    <a:lnTo>
                      <a:pt x="18" y="788"/>
                    </a:lnTo>
                    <a:lnTo>
                      <a:pt x="10" y="758"/>
                    </a:lnTo>
                    <a:lnTo>
                      <a:pt x="6" y="728"/>
                    </a:lnTo>
                    <a:lnTo>
                      <a:pt x="2" y="698"/>
                    </a:lnTo>
                    <a:lnTo>
                      <a:pt x="0" y="668"/>
                    </a:lnTo>
                    <a:lnTo>
                      <a:pt x="0" y="636"/>
                    </a:lnTo>
                    <a:lnTo>
                      <a:pt x="0" y="606"/>
                    </a:lnTo>
                    <a:lnTo>
                      <a:pt x="2" y="576"/>
                    </a:lnTo>
                    <a:lnTo>
                      <a:pt x="6" y="544"/>
                    </a:lnTo>
                    <a:lnTo>
                      <a:pt x="10" y="514"/>
                    </a:lnTo>
                    <a:lnTo>
                      <a:pt x="18" y="484"/>
                    </a:lnTo>
                    <a:lnTo>
                      <a:pt x="26" y="454"/>
                    </a:lnTo>
                    <a:lnTo>
                      <a:pt x="36" y="426"/>
                    </a:lnTo>
                    <a:lnTo>
                      <a:pt x="46" y="396"/>
                    </a:lnTo>
                    <a:lnTo>
                      <a:pt x="60" y="368"/>
                    </a:lnTo>
                    <a:lnTo>
                      <a:pt x="74" y="338"/>
                    </a:lnTo>
                    <a:lnTo>
                      <a:pt x="88" y="312"/>
                    </a:lnTo>
                    <a:lnTo>
                      <a:pt x="106" y="284"/>
                    </a:lnTo>
                    <a:lnTo>
                      <a:pt x="124" y="258"/>
                    </a:lnTo>
                    <a:lnTo>
                      <a:pt x="146" y="232"/>
                    </a:lnTo>
                    <a:lnTo>
                      <a:pt x="146" y="232"/>
                    </a:lnTo>
                    <a:lnTo>
                      <a:pt x="166" y="208"/>
                    </a:lnTo>
                    <a:lnTo>
                      <a:pt x="190" y="184"/>
                    </a:lnTo>
                    <a:lnTo>
                      <a:pt x="212" y="162"/>
                    </a:lnTo>
                    <a:lnTo>
                      <a:pt x="236" y="142"/>
                    </a:lnTo>
                    <a:lnTo>
                      <a:pt x="262" y="122"/>
                    </a:lnTo>
                    <a:lnTo>
                      <a:pt x="288" y="104"/>
                    </a:lnTo>
                    <a:lnTo>
                      <a:pt x="314" y="88"/>
                    </a:lnTo>
                    <a:lnTo>
                      <a:pt x="342" y="72"/>
                    </a:lnTo>
                    <a:lnTo>
                      <a:pt x="370" y="58"/>
                    </a:lnTo>
                    <a:lnTo>
                      <a:pt x="398" y="46"/>
                    </a:lnTo>
                    <a:lnTo>
                      <a:pt x="426" y="36"/>
                    </a:lnTo>
                    <a:lnTo>
                      <a:pt x="456" y="26"/>
                    </a:lnTo>
                    <a:lnTo>
                      <a:pt x="486" y="18"/>
                    </a:lnTo>
                    <a:lnTo>
                      <a:pt x="516" y="12"/>
                    </a:lnTo>
                    <a:lnTo>
                      <a:pt x="546" y="8"/>
                    </a:lnTo>
                    <a:lnTo>
                      <a:pt x="576" y="4"/>
                    </a:lnTo>
                    <a:lnTo>
                      <a:pt x="606" y="2"/>
                    </a:lnTo>
                    <a:lnTo>
                      <a:pt x="636" y="0"/>
                    </a:lnTo>
                    <a:lnTo>
                      <a:pt x="668" y="2"/>
                    </a:lnTo>
                    <a:lnTo>
                      <a:pt x="698" y="4"/>
                    </a:lnTo>
                    <a:lnTo>
                      <a:pt x="728" y="8"/>
                    </a:lnTo>
                    <a:lnTo>
                      <a:pt x="758" y="12"/>
                    </a:lnTo>
                    <a:lnTo>
                      <a:pt x="788" y="18"/>
                    </a:lnTo>
                    <a:lnTo>
                      <a:pt x="818" y="28"/>
                    </a:lnTo>
                    <a:lnTo>
                      <a:pt x="848" y="36"/>
                    </a:lnTo>
                    <a:lnTo>
                      <a:pt x="878" y="48"/>
                    </a:lnTo>
                    <a:lnTo>
                      <a:pt x="906" y="60"/>
                    </a:lnTo>
                    <a:lnTo>
                      <a:pt x="934" y="74"/>
                    </a:lnTo>
                    <a:lnTo>
                      <a:pt x="962" y="90"/>
                    </a:lnTo>
                    <a:lnTo>
                      <a:pt x="990" y="108"/>
                    </a:lnTo>
                    <a:lnTo>
                      <a:pt x="1016" y="126"/>
                    </a:lnTo>
                    <a:lnTo>
                      <a:pt x="1042" y="146"/>
                    </a:lnTo>
                    <a:lnTo>
                      <a:pt x="1042" y="146"/>
                    </a:lnTo>
                    <a:close/>
                  </a:path>
                </a:pathLst>
              </a:custGeom>
              <a:solidFill>
                <a:schemeClr val="bg1"/>
              </a:solidFill>
              <a:ln w="57150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</p:grpSp>
        <p:cxnSp>
          <p:nvCxnSpPr>
            <p:cNvPr id="27" name="直接连接符 62">
              <a:extLst>
                <a:ext uri="{FF2B5EF4-FFF2-40B4-BE49-F238E27FC236}">
                  <a16:creationId xmlns:a16="http://schemas.microsoft.com/office/drawing/2014/main" id="{7C6EC896-0A7F-3646-AED2-B6DC9068630D}"/>
                </a:ext>
              </a:extLst>
            </p:cNvPr>
            <p:cNvCxnSpPr/>
            <p:nvPr/>
          </p:nvCxnSpPr>
          <p:spPr>
            <a:xfrm>
              <a:off x="1984575" y="2177858"/>
              <a:ext cx="370782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63">
              <a:extLst>
                <a:ext uri="{FF2B5EF4-FFF2-40B4-BE49-F238E27FC236}">
                  <a16:creationId xmlns:a16="http://schemas.microsoft.com/office/drawing/2014/main" id="{AD86EBD3-C27B-3842-AE82-094267225924}"/>
                </a:ext>
              </a:extLst>
            </p:cNvPr>
            <p:cNvCxnSpPr/>
            <p:nvPr/>
          </p:nvCxnSpPr>
          <p:spPr>
            <a:xfrm>
              <a:off x="1984575" y="3613763"/>
              <a:ext cx="370782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îṣľídé">
            <a:extLst>
              <a:ext uri="{FF2B5EF4-FFF2-40B4-BE49-F238E27FC236}">
                <a16:creationId xmlns:a16="http://schemas.microsoft.com/office/drawing/2014/main" id="{4C9DFB8A-3F49-4145-A1B9-7AE0BCA48FF3}"/>
              </a:ext>
            </a:extLst>
          </p:cNvPr>
          <p:cNvSpPr/>
          <p:nvPr/>
        </p:nvSpPr>
        <p:spPr bwMode="auto">
          <a:xfrm>
            <a:off x="669925" y="5091305"/>
            <a:ext cx="899312" cy="900726"/>
          </a:xfrm>
          <a:custGeom>
            <a:avLst/>
            <a:gdLst>
              <a:gd name="T0" fmla="*/ 1066 w 1272"/>
              <a:gd name="T1" fmla="*/ 168 h 1274"/>
              <a:gd name="T2" fmla="*/ 1132 w 1272"/>
              <a:gd name="T3" fmla="*/ 238 h 1274"/>
              <a:gd name="T4" fmla="*/ 1186 w 1272"/>
              <a:gd name="T5" fmla="*/ 316 h 1274"/>
              <a:gd name="T6" fmla="*/ 1226 w 1272"/>
              <a:gd name="T7" fmla="*/ 398 h 1274"/>
              <a:gd name="T8" fmla="*/ 1254 w 1272"/>
              <a:gd name="T9" fmla="*/ 486 h 1274"/>
              <a:gd name="T10" fmla="*/ 1270 w 1272"/>
              <a:gd name="T11" fmla="*/ 576 h 1274"/>
              <a:gd name="T12" fmla="*/ 1272 w 1272"/>
              <a:gd name="T13" fmla="*/ 668 h 1274"/>
              <a:gd name="T14" fmla="*/ 1260 w 1272"/>
              <a:gd name="T15" fmla="*/ 760 h 1274"/>
              <a:gd name="T16" fmla="*/ 1236 w 1272"/>
              <a:gd name="T17" fmla="*/ 850 h 1274"/>
              <a:gd name="T18" fmla="*/ 1198 w 1272"/>
              <a:gd name="T19" fmla="*/ 936 h 1274"/>
              <a:gd name="T20" fmla="*/ 1146 w 1272"/>
              <a:gd name="T21" fmla="*/ 1016 h 1274"/>
              <a:gd name="T22" fmla="*/ 1106 w 1272"/>
              <a:gd name="T23" fmla="*/ 1068 h 1274"/>
              <a:gd name="T24" fmla="*/ 1036 w 1272"/>
              <a:gd name="T25" fmla="*/ 1134 h 1274"/>
              <a:gd name="T26" fmla="*/ 958 w 1272"/>
              <a:gd name="T27" fmla="*/ 1186 h 1274"/>
              <a:gd name="T28" fmla="*/ 874 w 1272"/>
              <a:gd name="T29" fmla="*/ 1228 h 1274"/>
              <a:gd name="T30" fmla="*/ 786 w 1272"/>
              <a:gd name="T31" fmla="*/ 1256 h 1274"/>
              <a:gd name="T32" fmla="*/ 696 w 1272"/>
              <a:gd name="T33" fmla="*/ 1272 h 1274"/>
              <a:gd name="T34" fmla="*/ 604 w 1272"/>
              <a:gd name="T35" fmla="*/ 1274 h 1274"/>
              <a:gd name="T36" fmla="*/ 514 w 1272"/>
              <a:gd name="T37" fmla="*/ 1262 h 1274"/>
              <a:gd name="T38" fmla="*/ 424 w 1272"/>
              <a:gd name="T39" fmla="*/ 1238 h 1274"/>
              <a:gd name="T40" fmla="*/ 338 w 1272"/>
              <a:gd name="T41" fmla="*/ 1200 h 1274"/>
              <a:gd name="T42" fmla="*/ 256 w 1272"/>
              <a:gd name="T43" fmla="*/ 1148 h 1274"/>
              <a:gd name="T44" fmla="*/ 206 w 1272"/>
              <a:gd name="T45" fmla="*/ 1106 h 1274"/>
              <a:gd name="T46" fmla="*/ 140 w 1272"/>
              <a:gd name="T47" fmla="*/ 1036 h 1274"/>
              <a:gd name="T48" fmla="*/ 86 w 1272"/>
              <a:gd name="T49" fmla="*/ 958 h 1274"/>
              <a:gd name="T50" fmla="*/ 46 w 1272"/>
              <a:gd name="T51" fmla="*/ 876 h 1274"/>
              <a:gd name="T52" fmla="*/ 18 w 1272"/>
              <a:gd name="T53" fmla="*/ 788 h 1274"/>
              <a:gd name="T54" fmla="*/ 2 w 1272"/>
              <a:gd name="T55" fmla="*/ 698 h 1274"/>
              <a:gd name="T56" fmla="*/ 0 w 1272"/>
              <a:gd name="T57" fmla="*/ 606 h 1274"/>
              <a:gd name="T58" fmla="*/ 10 w 1272"/>
              <a:gd name="T59" fmla="*/ 514 h 1274"/>
              <a:gd name="T60" fmla="*/ 36 w 1272"/>
              <a:gd name="T61" fmla="*/ 426 h 1274"/>
              <a:gd name="T62" fmla="*/ 74 w 1272"/>
              <a:gd name="T63" fmla="*/ 338 h 1274"/>
              <a:gd name="T64" fmla="*/ 124 w 1272"/>
              <a:gd name="T65" fmla="*/ 258 h 1274"/>
              <a:gd name="T66" fmla="*/ 166 w 1272"/>
              <a:gd name="T67" fmla="*/ 208 h 1274"/>
              <a:gd name="T68" fmla="*/ 236 w 1272"/>
              <a:gd name="T69" fmla="*/ 142 h 1274"/>
              <a:gd name="T70" fmla="*/ 314 w 1272"/>
              <a:gd name="T71" fmla="*/ 88 h 1274"/>
              <a:gd name="T72" fmla="*/ 398 w 1272"/>
              <a:gd name="T73" fmla="*/ 46 h 1274"/>
              <a:gd name="T74" fmla="*/ 486 w 1272"/>
              <a:gd name="T75" fmla="*/ 18 h 1274"/>
              <a:gd name="T76" fmla="*/ 576 w 1272"/>
              <a:gd name="T77" fmla="*/ 4 h 1274"/>
              <a:gd name="T78" fmla="*/ 668 w 1272"/>
              <a:gd name="T79" fmla="*/ 2 h 1274"/>
              <a:gd name="T80" fmla="*/ 758 w 1272"/>
              <a:gd name="T81" fmla="*/ 12 h 1274"/>
              <a:gd name="T82" fmla="*/ 848 w 1272"/>
              <a:gd name="T83" fmla="*/ 36 h 1274"/>
              <a:gd name="T84" fmla="*/ 934 w 1272"/>
              <a:gd name="T85" fmla="*/ 74 h 1274"/>
              <a:gd name="T86" fmla="*/ 1016 w 1272"/>
              <a:gd name="T87" fmla="*/ 126 h 1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72" h="1274">
                <a:moveTo>
                  <a:pt x="1042" y="146"/>
                </a:moveTo>
                <a:lnTo>
                  <a:pt x="1042" y="146"/>
                </a:lnTo>
                <a:lnTo>
                  <a:pt x="1066" y="168"/>
                </a:lnTo>
                <a:lnTo>
                  <a:pt x="1090" y="190"/>
                </a:lnTo>
                <a:lnTo>
                  <a:pt x="1112" y="214"/>
                </a:lnTo>
                <a:lnTo>
                  <a:pt x="1132" y="238"/>
                </a:lnTo>
                <a:lnTo>
                  <a:pt x="1152" y="264"/>
                </a:lnTo>
                <a:lnTo>
                  <a:pt x="1170" y="290"/>
                </a:lnTo>
                <a:lnTo>
                  <a:pt x="1186" y="316"/>
                </a:lnTo>
                <a:lnTo>
                  <a:pt x="1200" y="342"/>
                </a:lnTo>
                <a:lnTo>
                  <a:pt x="1214" y="370"/>
                </a:lnTo>
                <a:lnTo>
                  <a:pt x="1226" y="398"/>
                </a:lnTo>
                <a:lnTo>
                  <a:pt x="1238" y="428"/>
                </a:lnTo>
                <a:lnTo>
                  <a:pt x="1246" y="456"/>
                </a:lnTo>
                <a:lnTo>
                  <a:pt x="1254" y="486"/>
                </a:lnTo>
                <a:lnTo>
                  <a:pt x="1260" y="516"/>
                </a:lnTo>
                <a:lnTo>
                  <a:pt x="1266" y="546"/>
                </a:lnTo>
                <a:lnTo>
                  <a:pt x="1270" y="576"/>
                </a:lnTo>
                <a:lnTo>
                  <a:pt x="1272" y="608"/>
                </a:lnTo>
                <a:lnTo>
                  <a:pt x="1272" y="638"/>
                </a:lnTo>
                <a:lnTo>
                  <a:pt x="1272" y="668"/>
                </a:lnTo>
                <a:lnTo>
                  <a:pt x="1270" y="700"/>
                </a:lnTo>
                <a:lnTo>
                  <a:pt x="1266" y="730"/>
                </a:lnTo>
                <a:lnTo>
                  <a:pt x="1260" y="760"/>
                </a:lnTo>
                <a:lnTo>
                  <a:pt x="1254" y="790"/>
                </a:lnTo>
                <a:lnTo>
                  <a:pt x="1246" y="820"/>
                </a:lnTo>
                <a:lnTo>
                  <a:pt x="1236" y="850"/>
                </a:lnTo>
                <a:lnTo>
                  <a:pt x="1226" y="878"/>
                </a:lnTo>
                <a:lnTo>
                  <a:pt x="1212" y="908"/>
                </a:lnTo>
                <a:lnTo>
                  <a:pt x="1198" y="936"/>
                </a:lnTo>
                <a:lnTo>
                  <a:pt x="1182" y="964"/>
                </a:lnTo>
                <a:lnTo>
                  <a:pt x="1166" y="990"/>
                </a:lnTo>
                <a:lnTo>
                  <a:pt x="1146" y="1016"/>
                </a:lnTo>
                <a:lnTo>
                  <a:pt x="1126" y="1042"/>
                </a:lnTo>
                <a:lnTo>
                  <a:pt x="1126" y="1042"/>
                </a:lnTo>
                <a:lnTo>
                  <a:pt x="1106" y="1068"/>
                </a:lnTo>
                <a:lnTo>
                  <a:pt x="1082" y="1090"/>
                </a:lnTo>
                <a:lnTo>
                  <a:pt x="1060" y="1112"/>
                </a:lnTo>
                <a:lnTo>
                  <a:pt x="1036" y="1134"/>
                </a:lnTo>
                <a:lnTo>
                  <a:pt x="1010" y="1152"/>
                </a:lnTo>
                <a:lnTo>
                  <a:pt x="984" y="1170"/>
                </a:lnTo>
                <a:lnTo>
                  <a:pt x="958" y="1186"/>
                </a:lnTo>
                <a:lnTo>
                  <a:pt x="930" y="1202"/>
                </a:lnTo>
                <a:lnTo>
                  <a:pt x="902" y="1216"/>
                </a:lnTo>
                <a:lnTo>
                  <a:pt x="874" y="1228"/>
                </a:lnTo>
                <a:lnTo>
                  <a:pt x="846" y="1238"/>
                </a:lnTo>
                <a:lnTo>
                  <a:pt x="816" y="1248"/>
                </a:lnTo>
                <a:lnTo>
                  <a:pt x="786" y="1256"/>
                </a:lnTo>
                <a:lnTo>
                  <a:pt x="756" y="1262"/>
                </a:lnTo>
                <a:lnTo>
                  <a:pt x="726" y="1268"/>
                </a:lnTo>
                <a:lnTo>
                  <a:pt x="696" y="1272"/>
                </a:lnTo>
                <a:lnTo>
                  <a:pt x="666" y="1274"/>
                </a:lnTo>
                <a:lnTo>
                  <a:pt x="636" y="1274"/>
                </a:lnTo>
                <a:lnTo>
                  <a:pt x="604" y="1274"/>
                </a:lnTo>
                <a:lnTo>
                  <a:pt x="574" y="1270"/>
                </a:lnTo>
                <a:lnTo>
                  <a:pt x="544" y="1268"/>
                </a:lnTo>
                <a:lnTo>
                  <a:pt x="514" y="1262"/>
                </a:lnTo>
                <a:lnTo>
                  <a:pt x="484" y="1256"/>
                </a:lnTo>
                <a:lnTo>
                  <a:pt x="454" y="1248"/>
                </a:lnTo>
                <a:lnTo>
                  <a:pt x="424" y="1238"/>
                </a:lnTo>
                <a:lnTo>
                  <a:pt x="394" y="1226"/>
                </a:lnTo>
                <a:lnTo>
                  <a:pt x="366" y="1214"/>
                </a:lnTo>
                <a:lnTo>
                  <a:pt x="338" y="1200"/>
                </a:lnTo>
                <a:lnTo>
                  <a:pt x="310" y="1184"/>
                </a:lnTo>
                <a:lnTo>
                  <a:pt x="282" y="1166"/>
                </a:lnTo>
                <a:lnTo>
                  <a:pt x="256" y="1148"/>
                </a:lnTo>
                <a:lnTo>
                  <a:pt x="230" y="1128"/>
                </a:lnTo>
                <a:lnTo>
                  <a:pt x="230" y="1128"/>
                </a:lnTo>
                <a:lnTo>
                  <a:pt x="206" y="1106"/>
                </a:lnTo>
                <a:lnTo>
                  <a:pt x="182" y="1084"/>
                </a:lnTo>
                <a:lnTo>
                  <a:pt x="160" y="1060"/>
                </a:lnTo>
                <a:lnTo>
                  <a:pt x="140" y="1036"/>
                </a:lnTo>
                <a:lnTo>
                  <a:pt x="120" y="1012"/>
                </a:lnTo>
                <a:lnTo>
                  <a:pt x="102" y="986"/>
                </a:lnTo>
                <a:lnTo>
                  <a:pt x="86" y="958"/>
                </a:lnTo>
                <a:lnTo>
                  <a:pt x="72" y="932"/>
                </a:lnTo>
                <a:lnTo>
                  <a:pt x="58" y="904"/>
                </a:lnTo>
                <a:lnTo>
                  <a:pt x="46" y="876"/>
                </a:lnTo>
                <a:lnTo>
                  <a:pt x="34" y="846"/>
                </a:lnTo>
                <a:lnTo>
                  <a:pt x="26" y="818"/>
                </a:lnTo>
                <a:lnTo>
                  <a:pt x="18" y="788"/>
                </a:lnTo>
                <a:lnTo>
                  <a:pt x="10" y="758"/>
                </a:lnTo>
                <a:lnTo>
                  <a:pt x="6" y="728"/>
                </a:lnTo>
                <a:lnTo>
                  <a:pt x="2" y="698"/>
                </a:lnTo>
                <a:lnTo>
                  <a:pt x="0" y="668"/>
                </a:lnTo>
                <a:lnTo>
                  <a:pt x="0" y="636"/>
                </a:lnTo>
                <a:lnTo>
                  <a:pt x="0" y="606"/>
                </a:lnTo>
                <a:lnTo>
                  <a:pt x="2" y="576"/>
                </a:lnTo>
                <a:lnTo>
                  <a:pt x="6" y="544"/>
                </a:lnTo>
                <a:lnTo>
                  <a:pt x="10" y="514"/>
                </a:lnTo>
                <a:lnTo>
                  <a:pt x="18" y="484"/>
                </a:lnTo>
                <a:lnTo>
                  <a:pt x="26" y="454"/>
                </a:lnTo>
                <a:lnTo>
                  <a:pt x="36" y="426"/>
                </a:lnTo>
                <a:lnTo>
                  <a:pt x="46" y="396"/>
                </a:lnTo>
                <a:lnTo>
                  <a:pt x="60" y="368"/>
                </a:lnTo>
                <a:lnTo>
                  <a:pt x="74" y="338"/>
                </a:lnTo>
                <a:lnTo>
                  <a:pt x="88" y="312"/>
                </a:lnTo>
                <a:lnTo>
                  <a:pt x="106" y="284"/>
                </a:lnTo>
                <a:lnTo>
                  <a:pt x="124" y="258"/>
                </a:lnTo>
                <a:lnTo>
                  <a:pt x="146" y="232"/>
                </a:lnTo>
                <a:lnTo>
                  <a:pt x="146" y="232"/>
                </a:lnTo>
                <a:lnTo>
                  <a:pt x="166" y="208"/>
                </a:lnTo>
                <a:lnTo>
                  <a:pt x="190" y="184"/>
                </a:lnTo>
                <a:lnTo>
                  <a:pt x="212" y="162"/>
                </a:lnTo>
                <a:lnTo>
                  <a:pt x="236" y="142"/>
                </a:lnTo>
                <a:lnTo>
                  <a:pt x="262" y="122"/>
                </a:lnTo>
                <a:lnTo>
                  <a:pt x="288" y="104"/>
                </a:lnTo>
                <a:lnTo>
                  <a:pt x="314" y="88"/>
                </a:lnTo>
                <a:lnTo>
                  <a:pt x="342" y="72"/>
                </a:lnTo>
                <a:lnTo>
                  <a:pt x="370" y="58"/>
                </a:lnTo>
                <a:lnTo>
                  <a:pt x="398" y="46"/>
                </a:lnTo>
                <a:lnTo>
                  <a:pt x="426" y="36"/>
                </a:lnTo>
                <a:lnTo>
                  <a:pt x="456" y="26"/>
                </a:lnTo>
                <a:lnTo>
                  <a:pt x="486" y="18"/>
                </a:lnTo>
                <a:lnTo>
                  <a:pt x="516" y="12"/>
                </a:lnTo>
                <a:lnTo>
                  <a:pt x="546" y="8"/>
                </a:lnTo>
                <a:lnTo>
                  <a:pt x="576" y="4"/>
                </a:lnTo>
                <a:lnTo>
                  <a:pt x="606" y="2"/>
                </a:lnTo>
                <a:lnTo>
                  <a:pt x="636" y="0"/>
                </a:lnTo>
                <a:lnTo>
                  <a:pt x="668" y="2"/>
                </a:lnTo>
                <a:lnTo>
                  <a:pt x="698" y="4"/>
                </a:lnTo>
                <a:lnTo>
                  <a:pt x="728" y="8"/>
                </a:lnTo>
                <a:lnTo>
                  <a:pt x="758" y="12"/>
                </a:lnTo>
                <a:lnTo>
                  <a:pt x="788" y="18"/>
                </a:lnTo>
                <a:lnTo>
                  <a:pt x="818" y="28"/>
                </a:lnTo>
                <a:lnTo>
                  <a:pt x="848" y="36"/>
                </a:lnTo>
                <a:lnTo>
                  <a:pt x="878" y="48"/>
                </a:lnTo>
                <a:lnTo>
                  <a:pt x="906" y="60"/>
                </a:lnTo>
                <a:lnTo>
                  <a:pt x="934" y="74"/>
                </a:lnTo>
                <a:lnTo>
                  <a:pt x="962" y="90"/>
                </a:lnTo>
                <a:lnTo>
                  <a:pt x="990" y="108"/>
                </a:lnTo>
                <a:lnTo>
                  <a:pt x="1016" y="126"/>
                </a:lnTo>
                <a:lnTo>
                  <a:pt x="1042" y="146"/>
                </a:lnTo>
                <a:lnTo>
                  <a:pt x="1042" y="146"/>
                </a:lnTo>
                <a:close/>
              </a:path>
            </a:pathLst>
          </a:custGeom>
          <a:solidFill>
            <a:schemeClr val="bg1"/>
          </a:solidFill>
          <a:ln w="571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 dirty="0"/>
          </a:p>
        </p:txBody>
      </p:sp>
      <p:cxnSp>
        <p:nvCxnSpPr>
          <p:cNvPr id="74" name="直接连接符 4">
            <a:extLst>
              <a:ext uri="{FF2B5EF4-FFF2-40B4-BE49-F238E27FC236}">
                <a16:creationId xmlns:a16="http://schemas.microsoft.com/office/drawing/2014/main" id="{35684917-002C-7E4B-8916-2312FC4BB96F}"/>
              </a:ext>
            </a:extLst>
          </p:cNvPr>
          <p:cNvCxnSpPr>
            <a:cxnSpLocks/>
          </p:cNvCxnSpPr>
          <p:nvPr/>
        </p:nvCxnSpPr>
        <p:spPr>
          <a:xfrm>
            <a:off x="1877649" y="5982211"/>
            <a:ext cx="3921680" cy="23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îs1îḑè">
            <a:extLst>
              <a:ext uri="{FF2B5EF4-FFF2-40B4-BE49-F238E27FC236}">
                <a16:creationId xmlns:a16="http://schemas.microsoft.com/office/drawing/2014/main" id="{5A1813C6-4403-3F42-98AB-CDC0E79BC301}"/>
              </a:ext>
            </a:extLst>
          </p:cNvPr>
          <p:cNvSpPr txBox="1"/>
          <p:nvPr/>
        </p:nvSpPr>
        <p:spPr bwMode="auto">
          <a:xfrm>
            <a:off x="1855176" y="5226198"/>
            <a:ext cx="383722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04.100%</a:t>
            </a:r>
            <a:r>
              <a:rPr lang="zh-CN" altLang="en-US" sz="2000" b="1" dirty="0"/>
              <a:t>采样</a:t>
            </a:r>
            <a:r>
              <a:rPr lang="en-US" altLang="zh-CN" sz="2000" b="1" dirty="0"/>
              <a:t>,</a:t>
            </a:r>
            <a:r>
              <a:rPr lang="zh-CN" altLang="en-US" sz="2000" b="1" dirty="0"/>
              <a:t>日存储</a:t>
            </a:r>
            <a:r>
              <a:rPr lang="en-US" altLang="zh-CN" sz="2000" b="1" dirty="0"/>
              <a:t>650G+</a:t>
            </a:r>
          </a:p>
        </p:txBody>
      </p:sp>
      <p:sp>
        <p:nvSpPr>
          <p:cNvPr id="79" name="iconfont-1188-588415">
            <a:extLst>
              <a:ext uri="{FF2B5EF4-FFF2-40B4-BE49-F238E27FC236}">
                <a16:creationId xmlns:a16="http://schemas.microsoft.com/office/drawing/2014/main" id="{BABEBB63-8DFB-1D44-88BF-543486ABE15A}"/>
              </a:ext>
            </a:extLst>
          </p:cNvPr>
          <p:cNvSpPr/>
          <p:nvPr/>
        </p:nvSpPr>
        <p:spPr>
          <a:xfrm>
            <a:off x="820192" y="5238595"/>
            <a:ext cx="609685" cy="609685"/>
          </a:xfrm>
          <a:custGeom>
            <a:avLst/>
            <a:gdLst>
              <a:gd name="T0" fmla="*/ 10880 w 12800"/>
              <a:gd name="T1" fmla="*/ 720 h 12800"/>
              <a:gd name="T2" fmla="*/ 6400 w 12800"/>
              <a:gd name="T3" fmla="*/ 0 h 12800"/>
              <a:gd name="T4" fmla="*/ 1920 w 12800"/>
              <a:gd name="T5" fmla="*/ 720 h 12800"/>
              <a:gd name="T6" fmla="*/ 0 w 12800"/>
              <a:gd name="T7" fmla="*/ 2720 h 12800"/>
              <a:gd name="T8" fmla="*/ 0 w 12800"/>
              <a:gd name="T9" fmla="*/ 10160 h 12800"/>
              <a:gd name="T10" fmla="*/ 1920 w 12800"/>
              <a:gd name="T11" fmla="*/ 12080 h 12800"/>
              <a:gd name="T12" fmla="*/ 6400 w 12800"/>
              <a:gd name="T13" fmla="*/ 12800 h 12800"/>
              <a:gd name="T14" fmla="*/ 10880 w 12800"/>
              <a:gd name="T15" fmla="*/ 12080 h 12800"/>
              <a:gd name="T16" fmla="*/ 12800 w 12800"/>
              <a:gd name="T17" fmla="*/ 10160 h 12800"/>
              <a:gd name="T18" fmla="*/ 12800 w 12800"/>
              <a:gd name="T19" fmla="*/ 2720 h 12800"/>
              <a:gd name="T20" fmla="*/ 10880 w 12800"/>
              <a:gd name="T21" fmla="*/ 720 h 12800"/>
              <a:gd name="T22" fmla="*/ 10160 w 12800"/>
              <a:gd name="T23" fmla="*/ 4000 h 12800"/>
              <a:gd name="T24" fmla="*/ 6400 w 12800"/>
              <a:gd name="T25" fmla="*/ 4560 h 12800"/>
              <a:gd name="T26" fmla="*/ 2640 w 12800"/>
              <a:gd name="T27" fmla="*/ 4000 h 12800"/>
              <a:gd name="T28" fmla="*/ 880 w 12800"/>
              <a:gd name="T29" fmla="*/ 2720 h 12800"/>
              <a:gd name="T30" fmla="*/ 2640 w 12800"/>
              <a:gd name="T31" fmla="*/ 1360 h 12800"/>
              <a:gd name="T32" fmla="*/ 6400 w 12800"/>
              <a:gd name="T33" fmla="*/ 800 h 12800"/>
              <a:gd name="T34" fmla="*/ 10160 w 12800"/>
              <a:gd name="T35" fmla="*/ 1360 h 12800"/>
              <a:gd name="T36" fmla="*/ 11920 w 12800"/>
              <a:gd name="T37" fmla="*/ 2720 h 12800"/>
              <a:gd name="T38" fmla="*/ 10160 w 12800"/>
              <a:gd name="T39" fmla="*/ 4000 h 12800"/>
              <a:gd name="T40" fmla="*/ 10240 w 12800"/>
              <a:gd name="T41" fmla="*/ 6320 h 12800"/>
              <a:gd name="T42" fmla="*/ 6400 w 12800"/>
              <a:gd name="T43" fmla="*/ 6880 h 12800"/>
              <a:gd name="T44" fmla="*/ 2560 w 12800"/>
              <a:gd name="T45" fmla="*/ 6320 h 12800"/>
              <a:gd name="T46" fmla="*/ 800 w 12800"/>
              <a:gd name="T47" fmla="*/ 4960 h 12800"/>
              <a:gd name="T48" fmla="*/ 800 w 12800"/>
              <a:gd name="T49" fmla="*/ 4080 h 12800"/>
              <a:gd name="T50" fmla="*/ 3040 w 12800"/>
              <a:gd name="T51" fmla="*/ 4960 h 12800"/>
              <a:gd name="T52" fmla="*/ 6400 w 12800"/>
              <a:gd name="T53" fmla="*/ 5360 h 12800"/>
              <a:gd name="T54" fmla="*/ 9760 w 12800"/>
              <a:gd name="T55" fmla="*/ 4960 h 12800"/>
              <a:gd name="T56" fmla="*/ 12000 w 12800"/>
              <a:gd name="T57" fmla="*/ 4080 h 12800"/>
              <a:gd name="T58" fmla="*/ 12000 w 12800"/>
              <a:gd name="T59" fmla="*/ 5040 h 12800"/>
              <a:gd name="T60" fmla="*/ 10240 w 12800"/>
              <a:gd name="T61" fmla="*/ 6320 h 12800"/>
              <a:gd name="T62" fmla="*/ 10240 w 12800"/>
              <a:gd name="T63" fmla="*/ 8880 h 12800"/>
              <a:gd name="T64" fmla="*/ 6400 w 12800"/>
              <a:gd name="T65" fmla="*/ 9440 h 12800"/>
              <a:gd name="T66" fmla="*/ 2560 w 12800"/>
              <a:gd name="T67" fmla="*/ 8880 h 12800"/>
              <a:gd name="T68" fmla="*/ 800 w 12800"/>
              <a:gd name="T69" fmla="*/ 7520 h 12800"/>
              <a:gd name="T70" fmla="*/ 800 w 12800"/>
              <a:gd name="T71" fmla="*/ 6320 h 12800"/>
              <a:gd name="T72" fmla="*/ 3040 w 12800"/>
              <a:gd name="T73" fmla="*/ 7280 h 12800"/>
              <a:gd name="T74" fmla="*/ 6400 w 12800"/>
              <a:gd name="T75" fmla="*/ 7680 h 12800"/>
              <a:gd name="T76" fmla="*/ 9760 w 12800"/>
              <a:gd name="T77" fmla="*/ 7280 h 12800"/>
              <a:gd name="T78" fmla="*/ 12000 w 12800"/>
              <a:gd name="T79" fmla="*/ 6320 h 12800"/>
              <a:gd name="T80" fmla="*/ 12000 w 12800"/>
              <a:gd name="T81" fmla="*/ 7520 h 12800"/>
              <a:gd name="T82" fmla="*/ 10240 w 12800"/>
              <a:gd name="T83" fmla="*/ 8880 h 12800"/>
              <a:gd name="T84" fmla="*/ 6400 w 12800"/>
              <a:gd name="T85" fmla="*/ 12000 h 12800"/>
              <a:gd name="T86" fmla="*/ 2560 w 12800"/>
              <a:gd name="T87" fmla="*/ 11440 h 12800"/>
              <a:gd name="T88" fmla="*/ 800 w 12800"/>
              <a:gd name="T89" fmla="*/ 10080 h 12800"/>
              <a:gd name="T90" fmla="*/ 800 w 12800"/>
              <a:gd name="T91" fmla="*/ 8880 h 12800"/>
              <a:gd name="T92" fmla="*/ 3040 w 12800"/>
              <a:gd name="T93" fmla="*/ 9840 h 12800"/>
              <a:gd name="T94" fmla="*/ 6320 w 12800"/>
              <a:gd name="T95" fmla="*/ 10240 h 12800"/>
              <a:gd name="T96" fmla="*/ 9680 w 12800"/>
              <a:gd name="T97" fmla="*/ 9840 h 12800"/>
              <a:gd name="T98" fmla="*/ 12000 w 12800"/>
              <a:gd name="T99" fmla="*/ 8880 h 12800"/>
              <a:gd name="T100" fmla="*/ 12000 w 12800"/>
              <a:gd name="T101" fmla="*/ 10080 h 12800"/>
              <a:gd name="T102" fmla="*/ 10240 w 12800"/>
              <a:gd name="T103" fmla="*/ 11440 h 12800"/>
              <a:gd name="T104" fmla="*/ 6400 w 12800"/>
              <a:gd name="T105" fmla="*/ 12000 h 12800"/>
              <a:gd name="T106" fmla="*/ 6400 w 12800"/>
              <a:gd name="T107" fmla="*/ 12000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800" h="12800">
                <a:moveTo>
                  <a:pt x="10880" y="720"/>
                </a:moveTo>
                <a:cubicBezTo>
                  <a:pt x="9760" y="240"/>
                  <a:pt x="8160" y="0"/>
                  <a:pt x="6400" y="0"/>
                </a:cubicBezTo>
                <a:cubicBezTo>
                  <a:pt x="4640" y="0"/>
                  <a:pt x="3040" y="240"/>
                  <a:pt x="1920" y="720"/>
                </a:cubicBezTo>
                <a:cubicBezTo>
                  <a:pt x="640" y="1280"/>
                  <a:pt x="0" y="1920"/>
                  <a:pt x="0" y="2720"/>
                </a:cubicBezTo>
                <a:lnTo>
                  <a:pt x="0" y="10160"/>
                </a:lnTo>
                <a:cubicBezTo>
                  <a:pt x="0" y="10880"/>
                  <a:pt x="640" y="11600"/>
                  <a:pt x="1920" y="12080"/>
                </a:cubicBezTo>
                <a:cubicBezTo>
                  <a:pt x="3040" y="12560"/>
                  <a:pt x="4640" y="12800"/>
                  <a:pt x="6400" y="12800"/>
                </a:cubicBezTo>
                <a:cubicBezTo>
                  <a:pt x="8160" y="12800"/>
                  <a:pt x="9760" y="12560"/>
                  <a:pt x="10880" y="12080"/>
                </a:cubicBezTo>
                <a:cubicBezTo>
                  <a:pt x="12080" y="11600"/>
                  <a:pt x="12800" y="10880"/>
                  <a:pt x="12800" y="10160"/>
                </a:cubicBezTo>
                <a:lnTo>
                  <a:pt x="12800" y="2720"/>
                </a:lnTo>
                <a:cubicBezTo>
                  <a:pt x="12800" y="1920"/>
                  <a:pt x="12160" y="1280"/>
                  <a:pt x="10880" y="720"/>
                </a:cubicBezTo>
                <a:close/>
                <a:moveTo>
                  <a:pt x="10160" y="4000"/>
                </a:moveTo>
                <a:cubicBezTo>
                  <a:pt x="9120" y="4400"/>
                  <a:pt x="7680" y="4560"/>
                  <a:pt x="6400" y="4560"/>
                </a:cubicBezTo>
                <a:cubicBezTo>
                  <a:pt x="5040" y="4560"/>
                  <a:pt x="3680" y="4400"/>
                  <a:pt x="2640" y="4000"/>
                </a:cubicBezTo>
                <a:cubicBezTo>
                  <a:pt x="1440" y="3680"/>
                  <a:pt x="880" y="3200"/>
                  <a:pt x="880" y="2720"/>
                </a:cubicBezTo>
                <a:cubicBezTo>
                  <a:pt x="880" y="2240"/>
                  <a:pt x="1520" y="1760"/>
                  <a:pt x="2640" y="1360"/>
                </a:cubicBezTo>
                <a:cubicBezTo>
                  <a:pt x="3680" y="960"/>
                  <a:pt x="5040" y="800"/>
                  <a:pt x="6400" y="800"/>
                </a:cubicBezTo>
                <a:cubicBezTo>
                  <a:pt x="7680" y="800"/>
                  <a:pt x="9120" y="1040"/>
                  <a:pt x="10160" y="1360"/>
                </a:cubicBezTo>
                <a:cubicBezTo>
                  <a:pt x="11280" y="1760"/>
                  <a:pt x="11920" y="2240"/>
                  <a:pt x="11920" y="2720"/>
                </a:cubicBezTo>
                <a:cubicBezTo>
                  <a:pt x="11920" y="3200"/>
                  <a:pt x="11360" y="3680"/>
                  <a:pt x="10160" y="4000"/>
                </a:cubicBezTo>
                <a:close/>
                <a:moveTo>
                  <a:pt x="10240" y="6320"/>
                </a:moveTo>
                <a:cubicBezTo>
                  <a:pt x="9200" y="6640"/>
                  <a:pt x="7760" y="6880"/>
                  <a:pt x="6400" y="6880"/>
                </a:cubicBezTo>
                <a:cubicBezTo>
                  <a:pt x="5040" y="6880"/>
                  <a:pt x="3680" y="6640"/>
                  <a:pt x="2560" y="6320"/>
                </a:cubicBezTo>
                <a:cubicBezTo>
                  <a:pt x="1440" y="5920"/>
                  <a:pt x="800" y="5440"/>
                  <a:pt x="800" y="4960"/>
                </a:cubicBezTo>
                <a:lnTo>
                  <a:pt x="800" y="4080"/>
                </a:lnTo>
                <a:cubicBezTo>
                  <a:pt x="1600" y="4400"/>
                  <a:pt x="2160" y="4800"/>
                  <a:pt x="3040" y="4960"/>
                </a:cubicBezTo>
                <a:cubicBezTo>
                  <a:pt x="4080" y="5200"/>
                  <a:pt x="5200" y="5360"/>
                  <a:pt x="6400" y="5360"/>
                </a:cubicBezTo>
                <a:cubicBezTo>
                  <a:pt x="7600" y="5360"/>
                  <a:pt x="8720" y="5200"/>
                  <a:pt x="9760" y="4960"/>
                </a:cubicBezTo>
                <a:cubicBezTo>
                  <a:pt x="10640" y="4800"/>
                  <a:pt x="11200" y="4400"/>
                  <a:pt x="12000" y="4080"/>
                </a:cubicBezTo>
                <a:lnTo>
                  <a:pt x="12000" y="5040"/>
                </a:lnTo>
                <a:cubicBezTo>
                  <a:pt x="12000" y="5440"/>
                  <a:pt x="11360" y="5920"/>
                  <a:pt x="10240" y="6320"/>
                </a:cubicBezTo>
                <a:close/>
                <a:moveTo>
                  <a:pt x="10240" y="8880"/>
                </a:moveTo>
                <a:cubicBezTo>
                  <a:pt x="9200" y="9200"/>
                  <a:pt x="7760" y="9440"/>
                  <a:pt x="6400" y="9440"/>
                </a:cubicBezTo>
                <a:cubicBezTo>
                  <a:pt x="5040" y="9440"/>
                  <a:pt x="3680" y="9200"/>
                  <a:pt x="2560" y="8880"/>
                </a:cubicBezTo>
                <a:cubicBezTo>
                  <a:pt x="1440" y="8560"/>
                  <a:pt x="800" y="8080"/>
                  <a:pt x="800" y="7520"/>
                </a:cubicBezTo>
                <a:lnTo>
                  <a:pt x="800" y="6320"/>
                </a:lnTo>
                <a:cubicBezTo>
                  <a:pt x="1600" y="6720"/>
                  <a:pt x="2160" y="7040"/>
                  <a:pt x="3040" y="7280"/>
                </a:cubicBezTo>
                <a:cubicBezTo>
                  <a:pt x="4080" y="7520"/>
                  <a:pt x="5200" y="7680"/>
                  <a:pt x="6400" y="7680"/>
                </a:cubicBezTo>
                <a:cubicBezTo>
                  <a:pt x="7600" y="7680"/>
                  <a:pt x="8720" y="7520"/>
                  <a:pt x="9760" y="7280"/>
                </a:cubicBezTo>
                <a:cubicBezTo>
                  <a:pt x="10640" y="7040"/>
                  <a:pt x="11200" y="6720"/>
                  <a:pt x="12000" y="6320"/>
                </a:cubicBezTo>
                <a:lnTo>
                  <a:pt x="12000" y="7520"/>
                </a:lnTo>
                <a:cubicBezTo>
                  <a:pt x="12000" y="8080"/>
                  <a:pt x="11360" y="8560"/>
                  <a:pt x="10240" y="8880"/>
                </a:cubicBezTo>
                <a:close/>
                <a:moveTo>
                  <a:pt x="6400" y="12000"/>
                </a:moveTo>
                <a:cubicBezTo>
                  <a:pt x="5040" y="12000"/>
                  <a:pt x="3680" y="11760"/>
                  <a:pt x="2560" y="11440"/>
                </a:cubicBezTo>
                <a:cubicBezTo>
                  <a:pt x="1440" y="11120"/>
                  <a:pt x="800" y="10640"/>
                  <a:pt x="800" y="10080"/>
                </a:cubicBezTo>
                <a:lnTo>
                  <a:pt x="800" y="8880"/>
                </a:lnTo>
                <a:cubicBezTo>
                  <a:pt x="1600" y="9280"/>
                  <a:pt x="2160" y="9600"/>
                  <a:pt x="3040" y="9840"/>
                </a:cubicBezTo>
                <a:cubicBezTo>
                  <a:pt x="4000" y="10080"/>
                  <a:pt x="5200" y="10240"/>
                  <a:pt x="6320" y="10240"/>
                </a:cubicBezTo>
                <a:cubicBezTo>
                  <a:pt x="7520" y="10240"/>
                  <a:pt x="8640" y="10080"/>
                  <a:pt x="9680" y="9840"/>
                </a:cubicBezTo>
                <a:cubicBezTo>
                  <a:pt x="10640" y="9600"/>
                  <a:pt x="11200" y="9280"/>
                  <a:pt x="12000" y="8880"/>
                </a:cubicBezTo>
                <a:lnTo>
                  <a:pt x="12000" y="10080"/>
                </a:lnTo>
                <a:cubicBezTo>
                  <a:pt x="12000" y="10560"/>
                  <a:pt x="11360" y="11040"/>
                  <a:pt x="10240" y="11440"/>
                </a:cubicBezTo>
                <a:cubicBezTo>
                  <a:pt x="9200" y="11840"/>
                  <a:pt x="7680" y="12000"/>
                  <a:pt x="6400" y="12000"/>
                </a:cubicBezTo>
                <a:close/>
                <a:moveTo>
                  <a:pt x="6400" y="12000"/>
                </a:move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iconfont-1188-857516">
            <a:extLst>
              <a:ext uri="{FF2B5EF4-FFF2-40B4-BE49-F238E27FC236}">
                <a16:creationId xmlns:a16="http://schemas.microsoft.com/office/drawing/2014/main" id="{56288BFD-605A-564E-857A-7CA442B177D5}"/>
              </a:ext>
            </a:extLst>
          </p:cNvPr>
          <p:cNvSpPr/>
          <p:nvPr/>
        </p:nvSpPr>
        <p:spPr>
          <a:xfrm>
            <a:off x="868071" y="3971514"/>
            <a:ext cx="609685" cy="491344"/>
          </a:xfrm>
          <a:custGeom>
            <a:avLst/>
            <a:gdLst>
              <a:gd name="T0" fmla="*/ 7485 w 12641"/>
              <a:gd name="T1" fmla="*/ 5640 h 10187"/>
              <a:gd name="T2" fmla="*/ 6906 w 12641"/>
              <a:gd name="T3" fmla="*/ 4187 h 10187"/>
              <a:gd name="T4" fmla="*/ 10281 w 12641"/>
              <a:gd name="T5" fmla="*/ 2687 h 10187"/>
              <a:gd name="T6" fmla="*/ 9844 w 12641"/>
              <a:gd name="T7" fmla="*/ 5156 h 10187"/>
              <a:gd name="T8" fmla="*/ 10281 w 12641"/>
              <a:gd name="T9" fmla="*/ 2687 h 10187"/>
              <a:gd name="T10" fmla="*/ 10172 w 12641"/>
              <a:gd name="T11" fmla="*/ 6781 h 10187"/>
              <a:gd name="T12" fmla="*/ 7703 w 12641"/>
              <a:gd name="T13" fmla="*/ 6781 h 10187"/>
              <a:gd name="T14" fmla="*/ 8938 w 12641"/>
              <a:gd name="T15" fmla="*/ 6171 h 10187"/>
              <a:gd name="T16" fmla="*/ 8938 w 12641"/>
              <a:gd name="T17" fmla="*/ 7421 h 10187"/>
              <a:gd name="T18" fmla="*/ 8938 w 12641"/>
              <a:gd name="T19" fmla="*/ 6171 h 10187"/>
              <a:gd name="T20" fmla="*/ 12641 w 12641"/>
              <a:gd name="T21" fmla="*/ 1234 h 10187"/>
              <a:gd name="T22" fmla="*/ 10172 w 12641"/>
              <a:gd name="T23" fmla="*/ 1234 h 10187"/>
              <a:gd name="T24" fmla="*/ 11406 w 12641"/>
              <a:gd name="T25" fmla="*/ 609 h 10187"/>
              <a:gd name="T26" fmla="*/ 11406 w 12641"/>
              <a:gd name="T27" fmla="*/ 1859 h 10187"/>
              <a:gd name="T28" fmla="*/ 11406 w 12641"/>
              <a:gd name="T29" fmla="*/ 609 h 10187"/>
              <a:gd name="T30" fmla="*/ 2375 w 12641"/>
              <a:gd name="T31" fmla="*/ 5953 h 10187"/>
              <a:gd name="T32" fmla="*/ 4110 w 12641"/>
              <a:gd name="T33" fmla="*/ 4859 h 10187"/>
              <a:gd name="T34" fmla="*/ 2469 w 12641"/>
              <a:gd name="T35" fmla="*/ 7406 h 10187"/>
              <a:gd name="T36" fmla="*/ 0 w 12641"/>
              <a:gd name="T37" fmla="*/ 7406 h 10187"/>
              <a:gd name="T38" fmla="*/ 2469 w 12641"/>
              <a:gd name="T39" fmla="*/ 7406 h 10187"/>
              <a:gd name="T40" fmla="*/ 1235 w 12641"/>
              <a:gd name="T41" fmla="*/ 6781 h 10187"/>
              <a:gd name="T42" fmla="*/ 1235 w 12641"/>
              <a:gd name="T43" fmla="*/ 8031 h 10187"/>
              <a:gd name="T44" fmla="*/ 11719 w 12641"/>
              <a:gd name="T45" fmla="*/ 8953 h 10187"/>
              <a:gd name="T46" fmla="*/ 2469 w 12641"/>
              <a:gd name="T47" fmla="*/ 9578 h 10187"/>
              <a:gd name="T48" fmla="*/ 1235 w 12641"/>
              <a:gd name="T49" fmla="*/ 9265 h 10187"/>
              <a:gd name="T50" fmla="*/ 11406 w 12641"/>
              <a:gd name="T51" fmla="*/ 10187 h 10187"/>
              <a:gd name="T52" fmla="*/ 12328 w 12641"/>
              <a:gd name="T53" fmla="*/ 2843 h 10187"/>
              <a:gd name="T54" fmla="*/ 11719 w 12641"/>
              <a:gd name="T55" fmla="*/ 8953 h 10187"/>
              <a:gd name="T56" fmla="*/ 2469 w 12641"/>
              <a:gd name="T57" fmla="*/ 906 h 10187"/>
              <a:gd name="T58" fmla="*/ 9797 w 12641"/>
              <a:gd name="T59" fmla="*/ 281 h 10187"/>
              <a:gd name="T60" fmla="*/ 1235 w 12641"/>
              <a:gd name="T61" fmla="*/ 1203 h 10187"/>
              <a:gd name="T62" fmla="*/ 1844 w 12641"/>
              <a:gd name="T63" fmla="*/ 5640 h 10187"/>
              <a:gd name="T64" fmla="*/ 1860 w 12641"/>
              <a:gd name="T65" fmla="*/ 1531 h 10187"/>
              <a:gd name="T66" fmla="*/ 6485 w 12641"/>
              <a:gd name="T67" fmla="*/ 3390 h 10187"/>
              <a:gd name="T68" fmla="*/ 4016 w 12641"/>
              <a:gd name="T69" fmla="*/ 3390 h 10187"/>
              <a:gd name="T70" fmla="*/ 5250 w 12641"/>
              <a:gd name="T71" fmla="*/ 2765 h 10187"/>
              <a:gd name="T72" fmla="*/ 5250 w 12641"/>
              <a:gd name="T73" fmla="*/ 4015 h 10187"/>
              <a:gd name="T74" fmla="*/ 5250 w 12641"/>
              <a:gd name="T75" fmla="*/ 2765 h 10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2641" h="10187">
                <a:moveTo>
                  <a:pt x="6547" y="4703"/>
                </a:moveTo>
                <a:lnTo>
                  <a:pt x="7485" y="5640"/>
                </a:lnTo>
                <a:cubicBezTo>
                  <a:pt x="7610" y="5484"/>
                  <a:pt x="7766" y="5343"/>
                  <a:pt x="7938" y="5218"/>
                </a:cubicBezTo>
                <a:lnTo>
                  <a:pt x="6906" y="4187"/>
                </a:lnTo>
                <a:cubicBezTo>
                  <a:pt x="6813" y="4390"/>
                  <a:pt x="6688" y="4562"/>
                  <a:pt x="6547" y="4703"/>
                </a:cubicBezTo>
                <a:close/>
                <a:moveTo>
                  <a:pt x="10281" y="2687"/>
                </a:moveTo>
                <a:lnTo>
                  <a:pt x="9266" y="4953"/>
                </a:lnTo>
                <a:cubicBezTo>
                  <a:pt x="9469" y="4984"/>
                  <a:pt x="9672" y="5062"/>
                  <a:pt x="9844" y="5156"/>
                </a:cubicBezTo>
                <a:lnTo>
                  <a:pt x="10813" y="2968"/>
                </a:lnTo>
                <a:cubicBezTo>
                  <a:pt x="10625" y="2921"/>
                  <a:pt x="10438" y="2812"/>
                  <a:pt x="10281" y="2687"/>
                </a:cubicBezTo>
                <a:close/>
                <a:moveTo>
                  <a:pt x="8938" y="8015"/>
                </a:moveTo>
                <a:cubicBezTo>
                  <a:pt x="9625" y="8015"/>
                  <a:pt x="10172" y="7468"/>
                  <a:pt x="10172" y="6781"/>
                </a:cubicBezTo>
                <a:cubicBezTo>
                  <a:pt x="10172" y="6093"/>
                  <a:pt x="9625" y="5546"/>
                  <a:pt x="8938" y="5546"/>
                </a:cubicBezTo>
                <a:cubicBezTo>
                  <a:pt x="8250" y="5546"/>
                  <a:pt x="7703" y="6093"/>
                  <a:pt x="7703" y="6781"/>
                </a:cubicBezTo>
                <a:cubicBezTo>
                  <a:pt x="7703" y="7468"/>
                  <a:pt x="8266" y="8015"/>
                  <a:pt x="8938" y="8015"/>
                </a:cubicBezTo>
                <a:close/>
                <a:moveTo>
                  <a:pt x="8938" y="6171"/>
                </a:moveTo>
                <a:cubicBezTo>
                  <a:pt x="9281" y="6171"/>
                  <a:pt x="9547" y="6453"/>
                  <a:pt x="9547" y="6796"/>
                </a:cubicBezTo>
                <a:cubicBezTo>
                  <a:pt x="9547" y="7140"/>
                  <a:pt x="9266" y="7421"/>
                  <a:pt x="8938" y="7421"/>
                </a:cubicBezTo>
                <a:cubicBezTo>
                  <a:pt x="8594" y="7421"/>
                  <a:pt x="8328" y="7140"/>
                  <a:pt x="8328" y="6796"/>
                </a:cubicBezTo>
                <a:cubicBezTo>
                  <a:pt x="8328" y="6437"/>
                  <a:pt x="8610" y="6171"/>
                  <a:pt x="8938" y="6171"/>
                </a:cubicBezTo>
                <a:close/>
                <a:moveTo>
                  <a:pt x="11406" y="2468"/>
                </a:moveTo>
                <a:cubicBezTo>
                  <a:pt x="12094" y="2468"/>
                  <a:pt x="12641" y="1921"/>
                  <a:pt x="12641" y="1234"/>
                </a:cubicBezTo>
                <a:cubicBezTo>
                  <a:pt x="12641" y="546"/>
                  <a:pt x="12094" y="0"/>
                  <a:pt x="11406" y="0"/>
                </a:cubicBezTo>
                <a:cubicBezTo>
                  <a:pt x="10719" y="0"/>
                  <a:pt x="10172" y="546"/>
                  <a:pt x="10172" y="1234"/>
                </a:cubicBezTo>
                <a:cubicBezTo>
                  <a:pt x="10172" y="1906"/>
                  <a:pt x="10735" y="2468"/>
                  <a:pt x="11406" y="2468"/>
                </a:cubicBezTo>
                <a:close/>
                <a:moveTo>
                  <a:pt x="11406" y="609"/>
                </a:moveTo>
                <a:cubicBezTo>
                  <a:pt x="11750" y="609"/>
                  <a:pt x="12016" y="890"/>
                  <a:pt x="12016" y="1234"/>
                </a:cubicBezTo>
                <a:cubicBezTo>
                  <a:pt x="12016" y="1578"/>
                  <a:pt x="11735" y="1859"/>
                  <a:pt x="11406" y="1859"/>
                </a:cubicBezTo>
                <a:cubicBezTo>
                  <a:pt x="11063" y="1859"/>
                  <a:pt x="10797" y="1578"/>
                  <a:pt x="10797" y="1234"/>
                </a:cubicBezTo>
                <a:cubicBezTo>
                  <a:pt x="10797" y="890"/>
                  <a:pt x="11063" y="609"/>
                  <a:pt x="11406" y="609"/>
                </a:cubicBezTo>
                <a:close/>
                <a:moveTo>
                  <a:pt x="3688" y="4390"/>
                </a:moveTo>
                <a:lnTo>
                  <a:pt x="2375" y="5953"/>
                </a:lnTo>
                <a:cubicBezTo>
                  <a:pt x="2531" y="6078"/>
                  <a:pt x="2688" y="6234"/>
                  <a:pt x="2797" y="6421"/>
                </a:cubicBezTo>
                <a:lnTo>
                  <a:pt x="4110" y="4859"/>
                </a:lnTo>
                <a:cubicBezTo>
                  <a:pt x="3938" y="4718"/>
                  <a:pt x="3797" y="4562"/>
                  <a:pt x="3688" y="4390"/>
                </a:cubicBezTo>
                <a:close/>
                <a:moveTo>
                  <a:pt x="2469" y="7406"/>
                </a:moveTo>
                <a:cubicBezTo>
                  <a:pt x="2469" y="6718"/>
                  <a:pt x="1922" y="6171"/>
                  <a:pt x="1235" y="6171"/>
                </a:cubicBezTo>
                <a:cubicBezTo>
                  <a:pt x="547" y="6171"/>
                  <a:pt x="0" y="6718"/>
                  <a:pt x="0" y="7406"/>
                </a:cubicBezTo>
                <a:cubicBezTo>
                  <a:pt x="0" y="8093"/>
                  <a:pt x="547" y="8640"/>
                  <a:pt x="1235" y="8640"/>
                </a:cubicBezTo>
                <a:cubicBezTo>
                  <a:pt x="1922" y="8640"/>
                  <a:pt x="2469" y="8093"/>
                  <a:pt x="2469" y="7406"/>
                </a:cubicBezTo>
                <a:close/>
                <a:moveTo>
                  <a:pt x="625" y="7406"/>
                </a:moveTo>
                <a:cubicBezTo>
                  <a:pt x="625" y="7062"/>
                  <a:pt x="906" y="6781"/>
                  <a:pt x="1235" y="6781"/>
                </a:cubicBezTo>
                <a:cubicBezTo>
                  <a:pt x="1563" y="6781"/>
                  <a:pt x="1844" y="7062"/>
                  <a:pt x="1844" y="7406"/>
                </a:cubicBezTo>
                <a:cubicBezTo>
                  <a:pt x="1844" y="7750"/>
                  <a:pt x="1563" y="8031"/>
                  <a:pt x="1235" y="8031"/>
                </a:cubicBezTo>
                <a:cubicBezTo>
                  <a:pt x="906" y="8031"/>
                  <a:pt x="625" y="7750"/>
                  <a:pt x="625" y="7406"/>
                </a:cubicBezTo>
                <a:close/>
                <a:moveTo>
                  <a:pt x="11719" y="8953"/>
                </a:moveTo>
                <a:cubicBezTo>
                  <a:pt x="11719" y="9296"/>
                  <a:pt x="11438" y="9578"/>
                  <a:pt x="11110" y="9578"/>
                </a:cubicBezTo>
                <a:lnTo>
                  <a:pt x="2469" y="9578"/>
                </a:lnTo>
                <a:cubicBezTo>
                  <a:pt x="2188" y="9578"/>
                  <a:pt x="1969" y="9406"/>
                  <a:pt x="1875" y="9156"/>
                </a:cubicBezTo>
                <a:cubicBezTo>
                  <a:pt x="1672" y="9234"/>
                  <a:pt x="1453" y="9265"/>
                  <a:pt x="1235" y="9265"/>
                </a:cubicBezTo>
                <a:cubicBezTo>
                  <a:pt x="1235" y="9781"/>
                  <a:pt x="1656" y="10187"/>
                  <a:pt x="2156" y="10187"/>
                </a:cubicBezTo>
                <a:lnTo>
                  <a:pt x="11406" y="10187"/>
                </a:lnTo>
                <a:cubicBezTo>
                  <a:pt x="11922" y="10187"/>
                  <a:pt x="12328" y="9765"/>
                  <a:pt x="12328" y="9265"/>
                </a:cubicBezTo>
                <a:lnTo>
                  <a:pt x="12328" y="2843"/>
                </a:lnTo>
                <a:cubicBezTo>
                  <a:pt x="12141" y="2953"/>
                  <a:pt x="11938" y="3031"/>
                  <a:pt x="11719" y="3062"/>
                </a:cubicBezTo>
                <a:lnTo>
                  <a:pt x="11719" y="8953"/>
                </a:lnTo>
                <a:close/>
                <a:moveTo>
                  <a:pt x="1860" y="1531"/>
                </a:moveTo>
                <a:cubicBezTo>
                  <a:pt x="1860" y="1187"/>
                  <a:pt x="2141" y="906"/>
                  <a:pt x="2469" y="906"/>
                </a:cubicBezTo>
                <a:lnTo>
                  <a:pt x="9578" y="906"/>
                </a:lnTo>
                <a:cubicBezTo>
                  <a:pt x="9610" y="687"/>
                  <a:pt x="9688" y="468"/>
                  <a:pt x="9797" y="281"/>
                </a:cubicBezTo>
                <a:lnTo>
                  <a:pt x="2156" y="281"/>
                </a:lnTo>
                <a:cubicBezTo>
                  <a:pt x="1641" y="281"/>
                  <a:pt x="1235" y="703"/>
                  <a:pt x="1235" y="1203"/>
                </a:cubicBezTo>
                <a:lnTo>
                  <a:pt x="1235" y="5531"/>
                </a:lnTo>
                <a:cubicBezTo>
                  <a:pt x="1453" y="5531"/>
                  <a:pt x="1656" y="5562"/>
                  <a:pt x="1844" y="5640"/>
                </a:cubicBezTo>
                <a:lnTo>
                  <a:pt x="1844" y="1531"/>
                </a:lnTo>
                <a:lnTo>
                  <a:pt x="1860" y="1531"/>
                </a:lnTo>
                <a:close/>
                <a:moveTo>
                  <a:pt x="5250" y="4625"/>
                </a:moveTo>
                <a:cubicBezTo>
                  <a:pt x="5938" y="4625"/>
                  <a:pt x="6485" y="4078"/>
                  <a:pt x="6485" y="3390"/>
                </a:cubicBezTo>
                <a:cubicBezTo>
                  <a:pt x="6485" y="2703"/>
                  <a:pt x="5938" y="2156"/>
                  <a:pt x="5250" y="2156"/>
                </a:cubicBezTo>
                <a:cubicBezTo>
                  <a:pt x="4563" y="2156"/>
                  <a:pt x="4016" y="2703"/>
                  <a:pt x="4016" y="3390"/>
                </a:cubicBezTo>
                <a:cubicBezTo>
                  <a:pt x="4016" y="4078"/>
                  <a:pt x="4563" y="4625"/>
                  <a:pt x="5250" y="4625"/>
                </a:cubicBezTo>
                <a:close/>
                <a:moveTo>
                  <a:pt x="5250" y="2765"/>
                </a:moveTo>
                <a:cubicBezTo>
                  <a:pt x="5594" y="2765"/>
                  <a:pt x="5860" y="3046"/>
                  <a:pt x="5860" y="3390"/>
                </a:cubicBezTo>
                <a:cubicBezTo>
                  <a:pt x="5860" y="3734"/>
                  <a:pt x="5578" y="4015"/>
                  <a:pt x="5250" y="4015"/>
                </a:cubicBezTo>
                <a:cubicBezTo>
                  <a:pt x="4906" y="4015"/>
                  <a:pt x="4641" y="3734"/>
                  <a:pt x="4641" y="3390"/>
                </a:cubicBezTo>
                <a:cubicBezTo>
                  <a:pt x="4625" y="3046"/>
                  <a:pt x="4906" y="2765"/>
                  <a:pt x="5250" y="27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virtual-cloud_74160">
            <a:extLst>
              <a:ext uri="{FF2B5EF4-FFF2-40B4-BE49-F238E27FC236}">
                <a16:creationId xmlns:a16="http://schemas.microsoft.com/office/drawing/2014/main" id="{739CD55E-91BA-6D42-B186-FACC6952BB56}"/>
              </a:ext>
            </a:extLst>
          </p:cNvPr>
          <p:cNvSpPr>
            <a:spLocks noChangeAspect="1"/>
          </p:cNvSpPr>
          <p:nvPr/>
        </p:nvSpPr>
        <p:spPr>
          <a:xfrm>
            <a:off x="868071" y="2707721"/>
            <a:ext cx="609685" cy="453476"/>
          </a:xfrm>
          <a:custGeom>
            <a:avLst/>
            <a:gdLst>
              <a:gd name="T0" fmla="*/ 4546 w 5369"/>
              <a:gd name="T1" fmla="*/ 1300 h 4000"/>
              <a:gd name="T2" fmla="*/ 3316 w 5369"/>
              <a:gd name="T3" fmla="*/ 496 h 4000"/>
              <a:gd name="T4" fmla="*/ 2270 w 5369"/>
              <a:gd name="T5" fmla="*/ 0 h 4000"/>
              <a:gd name="T6" fmla="*/ 1450 w 5369"/>
              <a:gd name="T7" fmla="*/ 277 h 4000"/>
              <a:gd name="T8" fmla="*/ 1018 w 5369"/>
              <a:gd name="T9" fmla="*/ 843 h 4000"/>
              <a:gd name="T10" fmla="*/ 324 w 5369"/>
              <a:gd name="T11" fmla="*/ 1382 h 4000"/>
              <a:gd name="T12" fmla="*/ 0 w 5369"/>
              <a:gd name="T13" fmla="*/ 2361 h 4000"/>
              <a:gd name="T14" fmla="*/ 1639 w 5369"/>
              <a:gd name="T15" fmla="*/ 4000 h 4000"/>
              <a:gd name="T16" fmla="*/ 3954 w 5369"/>
              <a:gd name="T17" fmla="*/ 4000 h 4000"/>
              <a:gd name="T18" fmla="*/ 5369 w 5369"/>
              <a:gd name="T19" fmla="*/ 2585 h 4000"/>
              <a:gd name="T20" fmla="*/ 4546 w 5369"/>
              <a:gd name="T21" fmla="*/ 1300 h 4000"/>
              <a:gd name="T22" fmla="*/ 3954 w 5369"/>
              <a:gd name="T23" fmla="*/ 3467 h 4000"/>
              <a:gd name="T24" fmla="*/ 1639 w 5369"/>
              <a:gd name="T25" fmla="*/ 3467 h 4000"/>
              <a:gd name="T26" fmla="*/ 533 w 5369"/>
              <a:gd name="T27" fmla="*/ 2361 h 4000"/>
              <a:gd name="T28" fmla="*/ 1307 w 5369"/>
              <a:gd name="T29" fmla="*/ 1305 h 4000"/>
              <a:gd name="T30" fmla="*/ 1484 w 5369"/>
              <a:gd name="T31" fmla="*/ 1125 h 4000"/>
              <a:gd name="T32" fmla="*/ 2270 w 5369"/>
              <a:gd name="T33" fmla="*/ 534 h 4000"/>
              <a:gd name="T34" fmla="*/ 2963 w 5369"/>
              <a:gd name="T35" fmla="*/ 917 h 4000"/>
              <a:gd name="T36" fmla="*/ 3232 w 5369"/>
              <a:gd name="T37" fmla="*/ 1039 h 4000"/>
              <a:gd name="T38" fmla="*/ 3354 w 5369"/>
              <a:gd name="T39" fmla="*/ 1029 h 4000"/>
              <a:gd name="T40" fmla="*/ 4077 w 5369"/>
              <a:gd name="T41" fmla="*/ 1574 h 4000"/>
              <a:gd name="T42" fmla="*/ 4245 w 5369"/>
              <a:gd name="T43" fmla="*/ 1753 h 4000"/>
              <a:gd name="T44" fmla="*/ 4836 w 5369"/>
              <a:gd name="T45" fmla="*/ 2585 h 4000"/>
              <a:gd name="T46" fmla="*/ 3954 w 5369"/>
              <a:gd name="T47" fmla="*/ 3467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369" h="4000">
                <a:moveTo>
                  <a:pt x="4546" y="1300"/>
                </a:moveTo>
                <a:cubicBezTo>
                  <a:pt x="4347" y="808"/>
                  <a:pt x="3857" y="479"/>
                  <a:pt x="3316" y="496"/>
                </a:cubicBezTo>
                <a:cubicBezTo>
                  <a:pt x="3060" y="183"/>
                  <a:pt x="2680" y="0"/>
                  <a:pt x="2270" y="0"/>
                </a:cubicBezTo>
                <a:cubicBezTo>
                  <a:pt x="1971" y="0"/>
                  <a:pt x="1687" y="96"/>
                  <a:pt x="1450" y="277"/>
                </a:cubicBezTo>
                <a:cubicBezTo>
                  <a:pt x="1258" y="424"/>
                  <a:pt x="1108" y="621"/>
                  <a:pt x="1018" y="843"/>
                </a:cubicBezTo>
                <a:cubicBezTo>
                  <a:pt x="742" y="956"/>
                  <a:pt x="505" y="1140"/>
                  <a:pt x="324" y="1382"/>
                </a:cubicBezTo>
                <a:cubicBezTo>
                  <a:pt x="112" y="1666"/>
                  <a:pt x="0" y="2005"/>
                  <a:pt x="0" y="2361"/>
                </a:cubicBezTo>
                <a:cubicBezTo>
                  <a:pt x="0" y="3265"/>
                  <a:pt x="735" y="4000"/>
                  <a:pt x="1639" y="4000"/>
                </a:cubicBezTo>
                <a:lnTo>
                  <a:pt x="3954" y="4000"/>
                </a:lnTo>
                <a:cubicBezTo>
                  <a:pt x="4734" y="4000"/>
                  <a:pt x="5369" y="3366"/>
                  <a:pt x="5369" y="2585"/>
                </a:cubicBezTo>
                <a:cubicBezTo>
                  <a:pt x="5369" y="2030"/>
                  <a:pt x="5043" y="1529"/>
                  <a:pt x="4546" y="1300"/>
                </a:cubicBezTo>
                <a:close/>
                <a:moveTo>
                  <a:pt x="3954" y="3467"/>
                </a:moveTo>
                <a:lnTo>
                  <a:pt x="1639" y="3467"/>
                </a:lnTo>
                <a:cubicBezTo>
                  <a:pt x="1030" y="3467"/>
                  <a:pt x="533" y="2971"/>
                  <a:pt x="533" y="2361"/>
                </a:cubicBezTo>
                <a:cubicBezTo>
                  <a:pt x="533" y="1875"/>
                  <a:pt x="844" y="1451"/>
                  <a:pt x="1307" y="1305"/>
                </a:cubicBezTo>
                <a:cubicBezTo>
                  <a:pt x="1393" y="1279"/>
                  <a:pt x="1459" y="1211"/>
                  <a:pt x="1484" y="1125"/>
                </a:cubicBezTo>
                <a:cubicBezTo>
                  <a:pt x="1584" y="777"/>
                  <a:pt x="1907" y="534"/>
                  <a:pt x="2270" y="534"/>
                </a:cubicBezTo>
                <a:cubicBezTo>
                  <a:pt x="2553" y="534"/>
                  <a:pt x="2812" y="677"/>
                  <a:pt x="2963" y="917"/>
                </a:cubicBezTo>
                <a:cubicBezTo>
                  <a:pt x="3020" y="1008"/>
                  <a:pt x="3126" y="1056"/>
                  <a:pt x="3232" y="1039"/>
                </a:cubicBezTo>
                <a:cubicBezTo>
                  <a:pt x="3273" y="1032"/>
                  <a:pt x="3314" y="1029"/>
                  <a:pt x="3354" y="1029"/>
                </a:cubicBezTo>
                <a:cubicBezTo>
                  <a:pt x="3688" y="1029"/>
                  <a:pt x="3986" y="1253"/>
                  <a:pt x="4077" y="1574"/>
                </a:cubicBezTo>
                <a:cubicBezTo>
                  <a:pt x="4100" y="1658"/>
                  <a:pt x="4163" y="1724"/>
                  <a:pt x="4245" y="1753"/>
                </a:cubicBezTo>
                <a:cubicBezTo>
                  <a:pt x="4598" y="1877"/>
                  <a:pt x="4836" y="2211"/>
                  <a:pt x="4836" y="2585"/>
                </a:cubicBezTo>
                <a:cubicBezTo>
                  <a:pt x="4836" y="3072"/>
                  <a:pt x="4440" y="3467"/>
                  <a:pt x="3954" y="34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iconfont-11592-5504338">
            <a:extLst>
              <a:ext uri="{FF2B5EF4-FFF2-40B4-BE49-F238E27FC236}">
                <a16:creationId xmlns:a16="http://schemas.microsoft.com/office/drawing/2014/main" id="{C9042998-0240-EE4D-B7D3-7F992F9E4BF4}"/>
              </a:ext>
            </a:extLst>
          </p:cNvPr>
          <p:cNvSpPr>
            <a:spLocks noChangeAspect="1"/>
          </p:cNvSpPr>
          <p:nvPr/>
        </p:nvSpPr>
        <p:spPr>
          <a:xfrm>
            <a:off x="892010" y="1343879"/>
            <a:ext cx="561806" cy="561806"/>
          </a:xfrm>
          <a:custGeom>
            <a:avLst/>
            <a:gdLst>
              <a:gd name="T0" fmla="*/ 0 w 11734"/>
              <a:gd name="T1" fmla="*/ 1336 h 11734"/>
              <a:gd name="T2" fmla="*/ 1336 w 11734"/>
              <a:gd name="T3" fmla="*/ 0 h 11734"/>
              <a:gd name="T4" fmla="*/ 10398 w 11734"/>
              <a:gd name="T5" fmla="*/ 0 h 11734"/>
              <a:gd name="T6" fmla="*/ 11734 w 11734"/>
              <a:gd name="T7" fmla="*/ 1336 h 11734"/>
              <a:gd name="T8" fmla="*/ 11734 w 11734"/>
              <a:gd name="T9" fmla="*/ 10398 h 11734"/>
              <a:gd name="T10" fmla="*/ 10398 w 11734"/>
              <a:gd name="T11" fmla="*/ 11734 h 11734"/>
              <a:gd name="T12" fmla="*/ 1336 w 11734"/>
              <a:gd name="T13" fmla="*/ 11734 h 11734"/>
              <a:gd name="T14" fmla="*/ 0 w 11734"/>
              <a:gd name="T15" fmla="*/ 10398 h 11734"/>
              <a:gd name="T16" fmla="*/ 0 w 11734"/>
              <a:gd name="T17" fmla="*/ 1336 h 11734"/>
              <a:gd name="T18" fmla="*/ 1067 w 11734"/>
              <a:gd name="T19" fmla="*/ 1336 h 11734"/>
              <a:gd name="T20" fmla="*/ 1067 w 11734"/>
              <a:gd name="T21" fmla="*/ 10398 h 11734"/>
              <a:gd name="T22" fmla="*/ 1336 w 11734"/>
              <a:gd name="T23" fmla="*/ 10667 h 11734"/>
              <a:gd name="T24" fmla="*/ 10398 w 11734"/>
              <a:gd name="T25" fmla="*/ 10667 h 11734"/>
              <a:gd name="T26" fmla="*/ 10667 w 11734"/>
              <a:gd name="T27" fmla="*/ 10398 h 11734"/>
              <a:gd name="T28" fmla="*/ 10667 w 11734"/>
              <a:gd name="T29" fmla="*/ 1336 h 11734"/>
              <a:gd name="T30" fmla="*/ 10398 w 11734"/>
              <a:gd name="T31" fmla="*/ 1067 h 11734"/>
              <a:gd name="T32" fmla="*/ 1336 w 11734"/>
              <a:gd name="T33" fmla="*/ 1067 h 11734"/>
              <a:gd name="T34" fmla="*/ 1067 w 11734"/>
              <a:gd name="T35" fmla="*/ 1336 h 11734"/>
              <a:gd name="T36" fmla="*/ 4111 w 11734"/>
              <a:gd name="T37" fmla="*/ 4644 h 11734"/>
              <a:gd name="T38" fmla="*/ 2888 w 11734"/>
              <a:gd name="T39" fmla="*/ 5867 h 11734"/>
              <a:gd name="T40" fmla="*/ 4111 w 11734"/>
              <a:gd name="T41" fmla="*/ 7090 h 11734"/>
              <a:gd name="T42" fmla="*/ 4104 w 11734"/>
              <a:gd name="T43" fmla="*/ 7838 h 11734"/>
              <a:gd name="T44" fmla="*/ 3357 w 11734"/>
              <a:gd name="T45" fmla="*/ 7844 h 11734"/>
              <a:gd name="T46" fmla="*/ 1757 w 11734"/>
              <a:gd name="T47" fmla="*/ 6244 h 11734"/>
              <a:gd name="T48" fmla="*/ 1757 w 11734"/>
              <a:gd name="T49" fmla="*/ 5490 h 11734"/>
              <a:gd name="T50" fmla="*/ 3357 w 11734"/>
              <a:gd name="T51" fmla="*/ 3890 h 11734"/>
              <a:gd name="T52" fmla="*/ 4104 w 11734"/>
              <a:gd name="T53" fmla="*/ 3896 h 11734"/>
              <a:gd name="T54" fmla="*/ 4111 w 11734"/>
              <a:gd name="T55" fmla="*/ 4644 h 11734"/>
              <a:gd name="T56" fmla="*/ 7623 w 11734"/>
              <a:gd name="T57" fmla="*/ 7090 h 11734"/>
              <a:gd name="T58" fmla="*/ 8846 w 11734"/>
              <a:gd name="T59" fmla="*/ 5867 h 11734"/>
              <a:gd name="T60" fmla="*/ 7623 w 11734"/>
              <a:gd name="T61" fmla="*/ 4644 h 11734"/>
              <a:gd name="T62" fmla="*/ 7630 w 11734"/>
              <a:gd name="T63" fmla="*/ 3896 h 11734"/>
              <a:gd name="T64" fmla="*/ 8377 w 11734"/>
              <a:gd name="T65" fmla="*/ 3890 h 11734"/>
              <a:gd name="T66" fmla="*/ 9977 w 11734"/>
              <a:gd name="T67" fmla="*/ 5490 h 11734"/>
              <a:gd name="T68" fmla="*/ 9977 w 11734"/>
              <a:gd name="T69" fmla="*/ 6244 h 11734"/>
              <a:gd name="T70" fmla="*/ 8377 w 11734"/>
              <a:gd name="T71" fmla="*/ 7844 h 11734"/>
              <a:gd name="T72" fmla="*/ 7630 w 11734"/>
              <a:gd name="T73" fmla="*/ 7838 h 11734"/>
              <a:gd name="T74" fmla="*/ 7623 w 11734"/>
              <a:gd name="T75" fmla="*/ 7090 h 11734"/>
              <a:gd name="T76" fmla="*/ 6177 w 11734"/>
              <a:gd name="T77" fmla="*/ 3790 h 11734"/>
              <a:gd name="T78" fmla="*/ 6874 w 11734"/>
              <a:gd name="T79" fmla="*/ 3517 h 11734"/>
              <a:gd name="T80" fmla="*/ 7157 w 11734"/>
              <a:gd name="T81" fmla="*/ 4210 h 11734"/>
              <a:gd name="T82" fmla="*/ 5557 w 11734"/>
              <a:gd name="T83" fmla="*/ 7944 h 11734"/>
              <a:gd name="T84" fmla="*/ 4860 w 11734"/>
              <a:gd name="T85" fmla="*/ 8217 h 11734"/>
              <a:gd name="T86" fmla="*/ 4577 w 11734"/>
              <a:gd name="T87" fmla="*/ 7524 h 11734"/>
              <a:gd name="T88" fmla="*/ 6177 w 11734"/>
              <a:gd name="T89" fmla="*/ 3790 h 117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1734" h="11734">
                <a:moveTo>
                  <a:pt x="0" y="1336"/>
                </a:moveTo>
                <a:cubicBezTo>
                  <a:pt x="0" y="598"/>
                  <a:pt x="598" y="0"/>
                  <a:pt x="1336" y="0"/>
                </a:cubicBezTo>
                <a:lnTo>
                  <a:pt x="10398" y="0"/>
                </a:lnTo>
                <a:cubicBezTo>
                  <a:pt x="11136" y="0"/>
                  <a:pt x="11734" y="598"/>
                  <a:pt x="11734" y="1336"/>
                </a:cubicBezTo>
                <a:lnTo>
                  <a:pt x="11734" y="10398"/>
                </a:lnTo>
                <a:cubicBezTo>
                  <a:pt x="11734" y="11136"/>
                  <a:pt x="11136" y="11734"/>
                  <a:pt x="10398" y="11734"/>
                </a:cubicBezTo>
                <a:lnTo>
                  <a:pt x="1336" y="11734"/>
                </a:lnTo>
                <a:cubicBezTo>
                  <a:pt x="598" y="11734"/>
                  <a:pt x="0" y="11136"/>
                  <a:pt x="0" y="10398"/>
                </a:cubicBezTo>
                <a:lnTo>
                  <a:pt x="0" y="1336"/>
                </a:lnTo>
                <a:close/>
                <a:moveTo>
                  <a:pt x="1067" y="1336"/>
                </a:moveTo>
                <a:lnTo>
                  <a:pt x="1067" y="10398"/>
                </a:lnTo>
                <a:cubicBezTo>
                  <a:pt x="1067" y="10547"/>
                  <a:pt x="1187" y="10667"/>
                  <a:pt x="1336" y="10667"/>
                </a:cubicBezTo>
                <a:lnTo>
                  <a:pt x="10398" y="10667"/>
                </a:lnTo>
                <a:cubicBezTo>
                  <a:pt x="10547" y="10667"/>
                  <a:pt x="10667" y="10547"/>
                  <a:pt x="10667" y="10398"/>
                </a:cubicBezTo>
                <a:lnTo>
                  <a:pt x="10667" y="1336"/>
                </a:lnTo>
                <a:cubicBezTo>
                  <a:pt x="10667" y="1187"/>
                  <a:pt x="10547" y="1067"/>
                  <a:pt x="10398" y="1067"/>
                </a:cubicBezTo>
                <a:lnTo>
                  <a:pt x="1336" y="1067"/>
                </a:lnTo>
                <a:cubicBezTo>
                  <a:pt x="1187" y="1067"/>
                  <a:pt x="1067" y="1187"/>
                  <a:pt x="1067" y="1336"/>
                </a:cubicBezTo>
                <a:close/>
                <a:moveTo>
                  <a:pt x="4111" y="4644"/>
                </a:moveTo>
                <a:lnTo>
                  <a:pt x="2888" y="5867"/>
                </a:lnTo>
                <a:lnTo>
                  <a:pt x="4111" y="7090"/>
                </a:lnTo>
                <a:cubicBezTo>
                  <a:pt x="4313" y="7299"/>
                  <a:pt x="4310" y="7632"/>
                  <a:pt x="4104" y="7838"/>
                </a:cubicBezTo>
                <a:cubicBezTo>
                  <a:pt x="3899" y="8043"/>
                  <a:pt x="3566" y="8046"/>
                  <a:pt x="3357" y="7844"/>
                </a:cubicBezTo>
                <a:lnTo>
                  <a:pt x="1757" y="6244"/>
                </a:lnTo>
                <a:cubicBezTo>
                  <a:pt x="1548" y="6036"/>
                  <a:pt x="1548" y="5698"/>
                  <a:pt x="1757" y="5490"/>
                </a:cubicBezTo>
                <a:lnTo>
                  <a:pt x="3357" y="3890"/>
                </a:lnTo>
                <a:cubicBezTo>
                  <a:pt x="3566" y="3688"/>
                  <a:pt x="3899" y="3691"/>
                  <a:pt x="4104" y="3896"/>
                </a:cubicBezTo>
                <a:cubicBezTo>
                  <a:pt x="4310" y="4102"/>
                  <a:pt x="4313" y="4435"/>
                  <a:pt x="4111" y="4644"/>
                </a:cubicBezTo>
                <a:close/>
                <a:moveTo>
                  <a:pt x="7623" y="7090"/>
                </a:moveTo>
                <a:lnTo>
                  <a:pt x="8846" y="5867"/>
                </a:lnTo>
                <a:lnTo>
                  <a:pt x="7623" y="4644"/>
                </a:lnTo>
                <a:cubicBezTo>
                  <a:pt x="7421" y="4435"/>
                  <a:pt x="7424" y="4102"/>
                  <a:pt x="7630" y="3896"/>
                </a:cubicBezTo>
                <a:cubicBezTo>
                  <a:pt x="7835" y="3691"/>
                  <a:pt x="8168" y="3688"/>
                  <a:pt x="8377" y="3890"/>
                </a:cubicBezTo>
                <a:lnTo>
                  <a:pt x="9977" y="5490"/>
                </a:lnTo>
                <a:cubicBezTo>
                  <a:pt x="10186" y="5698"/>
                  <a:pt x="10186" y="6036"/>
                  <a:pt x="9977" y="6244"/>
                </a:cubicBezTo>
                <a:lnTo>
                  <a:pt x="8377" y="7844"/>
                </a:lnTo>
                <a:cubicBezTo>
                  <a:pt x="8168" y="8046"/>
                  <a:pt x="7835" y="8043"/>
                  <a:pt x="7630" y="7838"/>
                </a:cubicBezTo>
                <a:cubicBezTo>
                  <a:pt x="7424" y="7632"/>
                  <a:pt x="7421" y="7299"/>
                  <a:pt x="7623" y="7090"/>
                </a:cubicBezTo>
                <a:close/>
                <a:moveTo>
                  <a:pt x="6177" y="3790"/>
                </a:moveTo>
                <a:cubicBezTo>
                  <a:pt x="6296" y="3524"/>
                  <a:pt x="6606" y="3402"/>
                  <a:pt x="6874" y="3517"/>
                </a:cubicBezTo>
                <a:cubicBezTo>
                  <a:pt x="7142" y="3632"/>
                  <a:pt x="7268" y="3941"/>
                  <a:pt x="7157" y="4210"/>
                </a:cubicBezTo>
                <a:lnTo>
                  <a:pt x="5557" y="7944"/>
                </a:lnTo>
                <a:cubicBezTo>
                  <a:pt x="5438" y="8210"/>
                  <a:pt x="5128" y="8332"/>
                  <a:pt x="4860" y="8217"/>
                </a:cubicBezTo>
                <a:cubicBezTo>
                  <a:pt x="4592" y="8102"/>
                  <a:pt x="4466" y="7793"/>
                  <a:pt x="4577" y="7524"/>
                </a:cubicBezTo>
                <a:lnTo>
                  <a:pt x="6177" y="379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页脚占位符 2">
            <a:extLst>
              <a:ext uri="{FF2B5EF4-FFF2-40B4-BE49-F238E27FC236}">
                <a16:creationId xmlns:a16="http://schemas.microsoft.com/office/drawing/2014/main" id="{C5B9EEE3-0E62-4945-AB6F-867B149AF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5" y="6252275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67DD1A3-13EF-4947-8850-EF381FF473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376" t="9536" r="27391" b="6324"/>
          <a:stretch/>
        </p:blipFill>
        <p:spPr>
          <a:xfrm>
            <a:off x="5962294" y="1310564"/>
            <a:ext cx="5541203" cy="464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165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发展历程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solidFill>
                      <a:schemeClr val="accent1"/>
                    </a:solidFill>
                    <a:latin typeface="+mn-lt"/>
                    <a:ea typeface="+mn-ea"/>
                    <a:sym typeface="+mn-lt"/>
                  </a:rPr>
                  <a:t>实践经验</a:t>
                </a:r>
                <a:endParaRPr lang="en-US" altLang="zh-CN" b="0" dirty="0">
                  <a:solidFill>
                    <a:schemeClr val="accent1"/>
                  </a:solidFill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使用场景的延展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未来规划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20660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9D89198-C088-524B-93EF-C667C3433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实践经验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F2B6C12-F508-D043-98EA-3DDC0BF47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C71E144A-588D-5C4D-A342-A4F136671A95}"/>
              </a:ext>
            </a:extLst>
          </p:cNvPr>
          <p:cNvGrpSpPr>
            <a:grpSpLocks noChangeAspect="1"/>
          </p:cNvGrpSpPr>
          <p:nvPr/>
        </p:nvGrpSpPr>
        <p:grpSpPr>
          <a:xfrm>
            <a:off x="742122" y="2009020"/>
            <a:ext cx="10453730" cy="2958251"/>
            <a:chOff x="679301" y="2358028"/>
            <a:chExt cx="10453730" cy="2958251"/>
          </a:xfrm>
        </p:grpSpPr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94700F0C-EED6-894A-93B2-A3FCC6685265}"/>
                </a:ext>
              </a:extLst>
            </p:cNvPr>
            <p:cNvSpPr/>
            <p:nvPr/>
          </p:nvSpPr>
          <p:spPr>
            <a:xfrm>
              <a:off x="9285165" y="2358028"/>
              <a:ext cx="720000" cy="72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</a:t>
              </a:r>
              <a:r>
                <a:rPr lang="en-US" altLang="zh-CN" sz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altLang="zh-CN" sz="2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</a:t>
              </a:r>
              <a:endPara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51EF74FE-5715-0348-A371-4DF7D5D551BC}"/>
                </a:ext>
              </a:extLst>
            </p:cNvPr>
            <p:cNvSpPr/>
            <p:nvPr/>
          </p:nvSpPr>
          <p:spPr>
            <a:xfrm>
              <a:off x="10413031" y="4254458"/>
              <a:ext cx="720000" cy="72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</a:t>
              </a:r>
              <a:r>
                <a:rPr lang="en-US" altLang="zh-CN" sz="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altLang="zh-CN" sz="2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endPara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55E6A9BF-FBAE-9348-AB2E-EEE86552F2C8}"/>
                </a:ext>
              </a:extLst>
            </p:cNvPr>
            <p:cNvSpPr/>
            <p:nvPr/>
          </p:nvSpPr>
          <p:spPr>
            <a:xfrm>
              <a:off x="8135910" y="4254458"/>
              <a:ext cx="720000" cy="72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</a:t>
              </a:r>
              <a:r>
                <a:rPr lang="en-US" altLang="zh-CN" sz="1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altLang="zh-CN" sz="2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</a:t>
              </a:r>
              <a:endPara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" name="弧形 8">
              <a:extLst>
                <a:ext uri="{FF2B5EF4-FFF2-40B4-BE49-F238E27FC236}">
                  <a16:creationId xmlns:a16="http://schemas.microsoft.com/office/drawing/2014/main" id="{CCB464FC-FEB0-2848-AFB3-7FCAE3C1388B}"/>
                </a:ext>
              </a:extLst>
            </p:cNvPr>
            <p:cNvSpPr/>
            <p:nvPr/>
          </p:nvSpPr>
          <p:spPr>
            <a:xfrm rot="6010250" flipH="1">
              <a:off x="8344453" y="2706641"/>
              <a:ext cx="2610369" cy="2608907"/>
            </a:xfrm>
            <a:prstGeom prst="arc">
              <a:avLst>
                <a:gd name="adj1" fmla="val 16496130"/>
                <a:gd name="adj2" fmla="val 20928688"/>
              </a:avLst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弧形 10">
              <a:extLst>
                <a:ext uri="{FF2B5EF4-FFF2-40B4-BE49-F238E27FC236}">
                  <a16:creationId xmlns:a16="http://schemas.microsoft.com/office/drawing/2014/main" id="{BD5FC04E-F0F2-E243-93BA-4A129B747964}"/>
                </a:ext>
              </a:extLst>
            </p:cNvPr>
            <p:cNvSpPr/>
            <p:nvPr/>
          </p:nvSpPr>
          <p:spPr>
            <a:xfrm rot="13331586" flipH="1">
              <a:off x="8339980" y="2706640"/>
              <a:ext cx="2610369" cy="2608907"/>
            </a:xfrm>
            <a:prstGeom prst="arc">
              <a:avLst>
                <a:gd name="adj1" fmla="val 16496130"/>
                <a:gd name="adj2" fmla="val 20928688"/>
              </a:avLst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弧形 12">
              <a:extLst>
                <a:ext uri="{FF2B5EF4-FFF2-40B4-BE49-F238E27FC236}">
                  <a16:creationId xmlns:a16="http://schemas.microsoft.com/office/drawing/2014/main" id="{AB731EEF-D430-D943-A142-63EDB49BB860}"/>
                </a:ext>
              </a:extLst>
            </p:cNvPr>
            <p:cNvSpPr/>
            <p:nvPr/>
          </p:nvSpPr>
          <p:spPr>
            <a:xfrm rot="20471439" flipH="1">
              <a:off x="8362542" y="2687244"/>
              <a:ext cx="2610369" cy="2608907"/>
            </a:xfrm>
            <a:prstGeom prst="arc">
              <a:avLst>
                <a:gd name="adj1" fmla="val 16496130"/>
                <a:gd name="adj2" fmla="val 20928688"/>
              </a:avLst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A3357DAC-69E3-4244-BCF0-1BEADFA4A824}"/>
                </a:ext>
              </a:extLst>
            </p:cNvPr>
            <p:cNvSpPr txBox="1"/>
            <p:nvPr/>
          </p:nvSpPr>
          <p:spPr>
            <a:xfrm>
              <a:off x="1614210" y="2988668"/>
              <a:ext cx="5740248" cy="295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K8s</a:t>
              </a:r>
              <a:r>
                <a:rPr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能为</a:t>
              </a:r>
              <a:r>
                <a:rPr lang="en-US" altLang="zh-CN" sz="1000" dirty="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kywalking</a:t>
              </a:r>
              <a:r>
                <a:rPr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的部署简化什么</a:t>
              </a: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29BA47A2-2D89-9E4F-A69C-69D0DBB9CA33}"/>
                </a:ext>
              </a:extLst>
            </p:cNvPr>
            <p:cNvSpPr txBox="1"/>
            <p:nvPr/>
          </p:nvSpPr>
          <p:spPr>
            <a:xfrm>
              <a:off x="1614209" y="2650114"/>
              <a:ext cx="353016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600" b="1" dirty="0"/>
                <a:t>Kubernetes</a:t>
              </a:r>
              <a:r>
                <a:rPr lang="zh-CN" altLang="en-US" sz="1600" b="1" dirty="0"/>
                <a:t>服务部署</a:t>
              </a:r>
              <a:endParaRPr lang="en-US" altLang="zh-CN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F7D14132-1049-534C-B481-A29BA2A0C433}"/>
                </a:ext>
              </a:extLst>
            </p:cNvPr>
            <p:cNvSpPr txBox="1"/>
            <p:nvPr/>
          </p:nvSpPr>
          <p:spPr>
            <a:xfrm>
              <a:off x="1614211" y="3991697"/>
              <a:ext cx="1782508" cy="2957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OAL</a:t>
              </a:r>
              <a:r>
                <a:rPr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定义简单</a:t>
              </a: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,</a:t>
              </a:r>
              <a:r>
                <a:rPr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但</a:t>
              </a: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s</a:t>
              </a:r>
              <a:r>
                <a:rPr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压力巨大</a:t>
              </a: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4FC137C2-51F1-AA48-B060-1F2B12D7F98F}"/>
                </a:ext>
              </a:extLst>
            </p:cNvPr>
            <p:cNvSpPr txBox="1"/>
            <p:nvPr/>
          </p:nvSpPr>
          <p:spPr>
            <a:xfrm>
              <a:off x="1614209" y="3653143"/>
              <a:ext cx="128953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altLang="zh-CN" sz="1600" b="1" dirty="0"/>
                <a:t>Es</a:t>
              </a:r>
              <a:r>
                <a:rPr lang="zh-CN" altLang="en-US" sz="1600" b="1" dirty="0"/>
                <a:t>存储优化</a:t>
              </a:r>
              <a:endParaRPr lang="en-US" altLang="zh-CN" sz="1600" b="1" dirty="0"/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C47BB136-1011-7141-8843-DC16F42D9984}"/>
                </a:ext>
              </a:extLst>
            </p:cNvPr>
            <p:cNvSpPr txBox="1"/>
            <p:nvPr/>
          </p:nvSpPr>
          <p:spPr>
            <a:xfrm>
              <a:off x="1614210" y="4993083"/>
              <a:ext cx="5949849" cy="261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如何处理</a:t>
              </a: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”</a:t>
              </a:r>
              <a:r>
                <a:rPr lang="zh-CN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业务异常</a:t>
              </a:r>
              <a:r>
                <a:rPr lang="en-US" altLang="zh-CN" sz="1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”?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453BF28F-A0A5-1C4E-B36E-3FBDFB78116B}"/>
                </a:ext>
              </a:extLst>
            </p:cNvPr>
            <p:cNvSpPr txBox="1"/>
            <p:nvPr/>
          </p:nvSpPr>
          <p:spPr>
            <a:xfrm>
              <a:off x="1614210" y="4654529"/>
              <a:ext cx="142913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zh-CN" altLang="en-US" sz="1600" b="1" dirty="0"/>
                <a:t>识别异常流量</a:t>
              </a:r>
              <a:endParaRPr lang="en-US" altLang="zh-CN" sz="1600" b="1" dirty="0"/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5CD50714-B845-B847-A8D2-453488F7FBA2}"/>
                </a:ext>
              </a:extLst>
            </p:cNvPr>
            <p:cNvSpPr txBox="1"/>
            <p:nvPr/>
          </p:nvSpPr>
          <p:spPr>
            <a:xfrm>
              <a:off x="679301" y="2602345"/>
              <a:ext cx="11602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600" b="1" i="1" dirty="0">
                  <a:solidFill>
                    <a:schemeClr val="accent1"/>
                  </a:solidFill>
                </a:rPr>
                <a:t>01</a:t>
              </a:r>
              <a:endParaRPr lang="zh-CN" altLang="en-US" sz="3600" b="1" i="1" dirty="0">
                <a:solidFill>
                  <a:schemeClr val="accent1"/>
                </a:solidFill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A3335E76-4DA2-F546-BFE1-C63B20ED399D}"/>
                </a:ext>
              </a:extLst>
            </p:cNvPr>
            <p:cNvSpPr txBox="1"/>
            <p:nvPr/>
          </p:nvSpPr>
          <p:spPr>
            <a:xfrm>
              <a:off x="679301" y="3628437"/>
              <a:ext cx="11602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600" b="1" i="1" dirty="0">
                  <a:solidFill>
                    <a:schemeClr val="accent1"/>
                  </a:solidFill>
                </a:rPr>
                <a:t>02</a:t>
              </a:r>
              <a:endParaRPr lang="zh-CN" altLang="en-US" sz="3600" b="1" i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6A4E8F01-93A4-FB40-93BF-0192078431E8}"/>
                </a:ext>
              </a:extLst>
            </p:cNvPr>
            <p:cNvSpPr txBox="1"/>
            <p:nvPr/>
          </p:nvSpPr>
          <p:spPr>
            <a:xfrm>
              <a:off x="679301" y="4654529"/>
              <a:ext cx="11602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600" b="1" i="1" dirty="0">
                  <a:solidFill>
                    <a:schemeClr val="accent1"/>
                  </a:solidFill>
                </a:rPr>
                <a:t>03</a:t>
              </a:r>
              <a:endParaRPr lang="zh-CN" altLang="en-US" sz="3600" b="1" i="1" dirty="0">
                <a:solidFill>
                  <a:schemeClr val="accent1"/>
                </a:solidFill>
              </a:endParaRP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AFDBB655-0F5F-FB46-8063-2BF870A44F4E}"/>
                </a:ext>
              </a:extLst>
            </p:cNvPr>
            <p:cNvSpPr/>
            <p:nvPr/>
          </p:nvSpPr>
          <p:spPr>
            <a:xfrm>
              <a:off x="8985604" y="3327153"/>
              <a:ext cx="1319120" cy="1319120"/>
            </a:xfrm>
            <a:prstGeom prst="ellipse">
              <a:avLst/>
            </a:prstGeom>
            <a:solidFill>
              <a:schemeClr val="accent1"/>
            </a:solidFill>
            <a:ln w="190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endParaRPr lang="en-US" altLang="zh-CN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E6748205-51C7-884F-A9CE-122801B22F0C}"/>
                </a:ext>
              </a:extLst>
            </p:cNvPr>
            <p:cNvSpPr txBox="1"/>
            <p:nvPr/>
          </p:nvSpPr>
          <p:spPr>
            <a:xfrm>
              <a:off x="9036955" y="3822420"/>
              <a:ext cx="121641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</a:rPr>
                <a:t>CASE</a:t>
              </a:r>
            </a:p>
          </p:txBody>
        </p:sp>
      </p:grpSp>
      <p:sp>
        <p:nvSpPr>
          <p:cNvPr id="25" name="页脚占位符 2">
            <a:extLst>
              <a:ext uri="{FF2B5EF4-FFF2-40B4-BE49-F238E27FC236}">
                <a16:creationId xmlns:a16="http://schemas.microsoft.com/office/drawing/2014/main" id="{62A6B32D-D9F6-0342-A4BD-C2DD85C20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5" y="6252275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8165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图片 42">
            <a:extLst>
              <a:ext uri="{FF2B5EF4-FFF2-40B4-BE49-F238E27FC236}">
                <a16:creationId xmlns:a16="http://schemas.microsoft.com/office/drawing/2014/main" id="{7D89428D-40C5-7D4A-A0D2-CD2B025CE8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378542"/>
            <a:ext cx="5646115" cy="2823058"/>
          </a:xfrm>
          <a:prstGeom prst="rect">
            <a:avLst/>
          </a:prstGeom>
        </p:spPr>
      </p:pic>
      <p:sp>
        <p:nvSpPr>
          <p:cNvPr id="5" name="标题 4">
            <a:extLst>
              <a:ext uri="{FF2B5EF4-FFF2-40B4-BE49-F238E27FC236}">
                <a16:creationId xmlns:a16="http://schemas.microsoft.com/office/drawing/2014/main" id="{1FE02EE0-502C-A042-A6C5-92F7872D0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Kubernetes</a:t>
            </a:r>
            <a:r>
              <a:rPr kumimoji="1" lang="zh-CN" altLang="en-US" dirty="0"/>
              <a:t>的特点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6FB2D7D-23AF-734B-8858-CB009624A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6" name="组合 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AA017D-F68E-EB44-918F-BF1DF7B2143C}"/>
              </a:ext>
            </a:extLst>
          </p:cNvPr>
          <p:cNvGrpSpPr>
            <a:grpSpLocks noChangeAspect="1"/>
          </p:cNvGrpSpPr>
          <p:nvPr/>
        </p:nvGrpSpPr>
        <p:grpSpPr>
          <a:xfrm>
            <a:off x="6957143" y="1398839"/>
            <a:ext cx="4563345" cy="5001341"/>
            <a:chOff x="6951000" y="1143572"/>
            <a:chExt cx="4563345" cy="5001341"/>
          </a:xfrm>
        </p:grpSpPr>
        <p:grpSp>
          <p:nvGrpSpPr>
            <p:cNvPr id="10" name="iṧļïdé">
              <a:extLst>
                <a:ext uri="{FF2B5EF4-FFF2-40B4-BE49-F238E27FC236}">
                  <a16:creationId xmlns:a16="http://schemas.microsoft.com/office/drawing/2014/main" id="{13CC2D09-69B2-9F43-9AD4-87719483D6BA}"/>
                </a:ext>
              </a:extLst>
            </p:cNvPr>
            <p:cNvGrpSpPr/>
            <p:nvPr/>
          </p:nvGrpSpPr>
          <p:grpSpPr>
            <a:xfrm>
              <a:off x="6951000" y="1143572"/>
              <a:ext cx="4563345" cy="1104745"/>
              <a:chOff x="6951000" y="1143572"/>
              <a:chExt cx="4563345" cy="1104745"/>
            </a:xfrm>
          </p:grpSpPr>
          <p:grpSp>
            <p:nvGrpSpPr>
              <p:cNvPr id="35" name="îṧľïdê">
                <a:extLst>
                  <a:ext uri="{FF2B5EF4-FFF2-40B4-BE49-F238E27FC236}">
                    <a16:creationId xmlns:a16="http://schemas.microsoft.com/office/drawing/2014/main" id="{4BE061F6-81AC-714E-89A0-4062F605FFFD}"/>
                  </a:ext>
                </a:extLst>
              </p:cNvPr>
              <p:cNvGrpSpPr/>
              <p:nvPr/>
            </p:nvGrpSpPr>
            <p:grpSpPr>
              <a:xfrm>
                <a:off x="7677117" y="1143572"/>
                <a:ext cx="3837228" cy="1104745"/>
                <a:chOff x="666932" y="4425289"/>
                <a:chExt cx="3082945" cy="1104745"/>
              </a:xfrm>
            </p:grpSpPr>
            <p:sp>
              <p:nvSpPr>
                <p:cNvPr id="39" name="iSlíḓê">
                  <a:extLst>
                    <a:ext uri="{FF2B5EF4-FFF2-40B4-BE49-F238E27FC236}">
                      <a16:creationId xmlns:a16="http://schemas.microsoft.com/office/drawing/2014/main" id="{A37ECA9D-B84E-124E-B954-C83DE64C05CA}"/>
                    </a:ext>
                  </a:extLst>
                </p:cNvPr>
                <p:cNvSpPr txBox="1"/>
                <p:nvPr/>
              </p:nvSpPr>
              <p:spPr bwMode="auto">
                <a:xfrm>
                  <a:off x="666932" y="4425289"/>
                  <a:ext cx="3082945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zh-CN" altLang="en-US" sz="2000" b="1" dirty="0"/>
                    <a:t>声明式配置</a:t>
                  </a:r>
                  <a:endParaRPr lang="en-US" altLang="zh-CN" sz="2000" b="1" dirty="0"/>
                </a:p>
              </p:txBody>
            </p:sp>
            <p:sp>
              <p:nvSpPr>
                <p:cNvPr id="40" name="îšḷïdè">
                  <a:extLst>
                    <a:ext uri="{FF2B5EF4-FFF2-40B4-BE49-F238E27FC236}">
                      <a16:creationId xmlns:a16="http://schemas.microsoft.com/office/drawing/2014/main" id="{0606290C-4237-C445-B700-4BC227C5E0C1}"/>
                    </a:ext>
                  </a:extLst>
                </p:cNvPr>
                <p:cNvSpPr/>
                <p:nvPr/>
              </p:nvSpPr>
              <p:spPr bwMode="auto">
                <a:xfrm>
                  <a:off x="666932" y="4867096"/>
                  <a:ext cx="3082945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Service,</a:t>
                  </a:r>
                  <a:r>
                    <a:rPr lang="zh-CN" altLang="en-US" sz="1100" dirty="0"/>
                    <a:t> </a:t>
                  </a:r>
                  <a:r>
                    <a:rPr lang="en-US" altLang="zh-CN" sz="1100" dirty="0" err="1"/>
                    <a:t>ConfigMap</a:t>
                  </a:r>
                  <a:r>
                    <a:rPr lang="en-US" altLang="zh-CN" sz="1100" dirty="0"/>
                    <a:t>,</a:t>
                  </a:r>
                  <a:r>
                    <a:rPr lang="zh-CN" altLang="en-US" sz="1100" dirty="0"/>
                    <a:t> </a:t>
                  </a:r>
                  <a:r>
                    <a:rPr lang="en-US" altLang="zh-CN" sz="1100" dirty="0"/>
                    <a:t>Pod,</a:t>
                  </a:r>
                  <a:r>
                    <a:rPr lang="zh-CN" altLang="en-US" sz="1100" dirty="0"/>
                    <a:t> </a:t>
                  </a:r>
                  <a:r>
                    <a:rPr lang="en-US" altLang="zh-CN" sz="1100" dirty="0"/>
                    <a:t>Endpoint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grpSp>
            <p:nvGrpSpPr>
              <p:cNvPr id="36" name="îṩlíḓê">
                <a:extLst>
                  <a:ext uri="{FF2B5EF4-FFF2-40B4-BE49-F238E27FC236}">
                    <a16:creationId xmlns:a16="http://schemas.microsoft.com/office/drawing/2014/main" id="{50CEEC2B-3525-2541-B99E-4A241D2F4F1C}"/>
                  </a:ext>
                </a:extLst>
              </p:cNvPr>
              <p:cNvGrpSpPr/>
              <p:nvPr/>
            </p:nvGrpSpPr>
            <p:grpSpPr>
              <a:xfrm>
                <a:off x="6951000" y="1269000"/>
                <a:ext cx="508912" cy="509712"/>
                <a:chOff x="5646344" y="3213462"/>
                <a:chExt cx="899312" cy="900726"/>
              </a:xfrm>
            </p:grpSpPr>
            <p:sp>
              <p:nvSpPr>
                <p:cNvPr id="37" name="îşlídé">
                  <a:extLst>
                    <a:ext uri="{FF2B5EF4-FFF2-40B4-BE49-F238E27FC236}">
                      <a16:creationId xmlns:a16="http://schemas.microsoft.com/office/drawing/2014/main" id="{5706601B-CF2B-7048-A70D-351490DDCAD7}"/>
                    </a:ext>
                  </a:extLst>
                </p:cNvPr>
                <p:cNvSpPr/>
                <p:nvPr/>
              </p:nvSpPr>
              <p:spPr bwMode="auto">
                <a:xfrm>
                  <a:off x="5646344" y="3213462"/>
                  <a:ext cx="899312" cy="900726"/>
                </a:xfrm>
                <a:prstGeom prst="roundRect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8" name="îṡľïḓe">
                  <a:extLst>
                    <a:ext uri="{FF2B5EF4-FFF2-40B4-BE49-F238E27FC236}">
                      <a16:creationId xmlns:a16="http://schemas.microsoft.com/office/drawing/2014/main" id="{6C47E5B9-0A49-274C-89C0-6F23FC73C66B}"/>
                    </a:ext>
                  </a:extLst>
                </p:cNvPr>
                <p:cNvSpPr/>
                <p:nvPr/>
              </p:nvSpPr>
              <p:spPr>
                <a:xfrm>
                  <a:off x="5829151" y="3390009"/>
                  <a:ext cx="533699" cy="547632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</p:grpSp>
        <p:grpSp>
          <p:nvGrpSpPr>
            <p:cNvPr id="11" name="íṥlíďé">
              <a:extLst>
                <a:ext uri="{FF2B5EF4-FFF2-40B4-BE49-F238E27FC236}">
                  <a16:creationId xmlns:a16="http://schemas.microsoft.com/office/drawing/2014/main" id="{D62BCBFE-B2F1-1947-BCF5-A34E7CAFDF16}"/>
                </a:ext>
              </a:extLst>
            </p:cNvPr>
            <p:cNvGrpSpPr/>
            <p:nvPr/>
          </p:nvGrpSpPr>
          <p:grpSpPr>
            <a:xfrm>
              <a:off x="6951000" y="2442437"/>
              <a:ext cx="4563345" cy="1104745"/>
              <a:chOff x="6951000" y="1143572"/>
              <a:chExt cx="4563345" cy="1104745"/>
            </a:xfrm>
          </p:grpSpPr>
          <p:grpSp>
            <p:nvGrpSpPr>
              <p:cNvPr id="29" name="i$1ídê">
                <a:extLst>
                  <a:ext uri="{FF2B5EF4-FFF2-40B4-BE49-F238E27FC236}">
                    <a16:creationId xmlns:a16="http://schemas.microsoft.com/office/drawing/2014/main" id="{F1124F0C-5F86-A143-8C56-6E6050460B8A}"/>
                  </a:ext>
                </a:extLst>
              </p:cNvPr>
              <p:cNvGrpSpPr/>
              <p:nvPr/>
            </p:nvGrpSpPr>
            <p:grpSpPr>
              <a:xfrm>
                <a:off x="7677117" y="1143572"/>
                <a:ext cx="3837228" cy="1104745"/>
                <a:chOff x="666932" y="4425289"/>
                <a:chExt cx="3082945" cy="1104745"/>
              </a:xfrm>
            </p:grpSpPr>
            <p:sp>
              <p:nvSpPr>
                <p:cNvPr id="33" name="ïšḻîḋé">
                  <a:extLst>
                    <a:ext uri="{FF2B5EF4-FFF2-40B4-BE49-F238E27FC236}">
                      <a16:creationId xmlns:a16="http://schemas.microsoft.com/office/drawing/2014/main" id="{627667E7-D56C-C04C-9154-52E26493E201}"/>
                    </a:ext>
                  </a:extLst>
                </p:cNvPr>
                <p:cNvSpPr txBox="1"/>
                <p:nvPr/>
              </p:nvSpPr>
              <p:spPr bwMode="auto">
                <a:xfrm>
                  <a:off x="666932" y="4425289"/>
                  <a:ext cx="3082945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zh-CN" altLang="en-US" sz="2000" b="1" dirty="0"/>
                    <a:t>服务发现和负载均衡</a:t>
                  </a:r>
                  <a:endParaRPr lang="en-US" altLang="zh-CN" sz="2000" b="1" dirty="0"/>
                </a:p>
              </p:txBody>
            </p:sp>
            <p:sp>
              <p:nvSpPr>
                <p:cNvPr id="34" name="îşļïďe">
                  <a:extLst>
                    <a:ext uri="{FF2B5EF4-FFF2-40B4-BE49-F238E27FC236}">
                      <a16:creationId xmlns:a16="http://schemas.microsoft.com/office/drawing/2014/main" id="{28350026-43C8-4D49-9E00-E55A051A05F3}"/>
                    </a:ext>
                  </a:extLst>
                </p:cNvPr>
                <p:cNvSpPr/>
                <p:nvPr/>
              </p:nvSpPr>
              <p:spPr bwMode="auto">
                <a:xfrm>
                  <a:off x="666932" y="4867096"/>
                  <a:ext cx="3082945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Service</a:t>
                  </a:r>
                  <a:r>
                    <a:rPr lang="zh-CN" altLang="en-US" sz="1100" dirty="0"/>
                    <a:t>抽象</a:t>
                  </a: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 err="1"/>
                    <a:t>dns</a:t>
                  </a:r>
                  <a:r>
                    <a:rPr lang="zh-CN" altLang="en-US" sz="1100" dirty="0"/>
                    <a:t> 发现</a:t>
                  </a:r>
                  <a:r>
                    <a:rPr lang="en-US" altLang="zh-CN" sz="1100" dirty="0"/>
                    <a:t>,</a:t>
                  </a:r>
                  <a:r>
                    <a:rPr lang="zh-CN" altLang="en-US" sz="1100" dirty="0"/>
                    <a:t> </a:t>
                  </a:r>
                  <a:r>
                    <a:rPr lang="en-US" altLang="zh-CN" sz="1100" dirty="0" err="1"/>
                    <a:t>kube_proxy</a:t>
                  </a:r>
                  <a:r>
                    <a:rPr lang="zh-CN" altLang="en-US" sz="1100" dirty="0"/>
                    <a:t> 代理负载均衡</a:t>
                  </a:r>
                  <a:endParaRPr lang="en-US" altLang="zh-CN" sz="1100" dirty="0"/>
                </a:p>
              </p:txBody>
            </p:sp>
          </p:grpSp>
          <p:grpSp>
            <p:nvGrpSpPr>
              <p:cNvPr id="30" name="îšļïḋe">
                <a:extLst>
                  <a:ext uri="{FF2B5EF4-FFF2-40B4-BE49-F238E27FC236}">
                    <a16:creationId xmlns:a16="http://schemas.microsoft.com/office/drawing/2014/main" id="{758E63B4-53AC-4B46-95DD-2FB115BD4C55}"/>
                  </a:ext>
                </a:extLst>
              </p:cNvPr>
              <p:cNvGrpSpPr/>
              <p:nvPr/>
            </p:nvGrpSpPr>
            <p:grpSpPr>
              <a:xfrm>
                <a:off x="6951000" y="1269000"/>
                <a:ext cx="508912" cy="509712"/>
                <a:chOff x="5646344" y="3213462"/>
                <a:chExt cx="899312" cy="900726"/>
              </a:xfrm>
            </p:grpSpPr>
            <p:sp>
              <p:nvSpPr>
                <p:cNvPr id="31" name="ïṩḷíḋê">
                  <a:extLst>
                    <a:ext uri="{FF2B5EF4-FFF2-40B4-BE49-F238E27FC236}">
                      <a16:creationId xmlns:a16="http://schemas.microsoft.com/office/drawing/2014/main" id="{3DDACBD2-3570-F045-88A5-F22C0ED131A8}"/>
                    </a:ext>
                  </a:extLst>
                </p:cNvPr>
                <p:cNvSpPr/>
                <p:nvPr/>
              </p:nvSpPr>
              <p:spPr bwMode="auto">
                <a:xfrm>
                  <a:off x="5646344" y="3213462"/>
                  <a:ext cx="899312" cy="900726"/>
                </a:xfrm>
                <a:prstGeom prst="roundRect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32" name="ïşḻiḍé">
                  <a:extLst>
                    <a:ext uri="{FF2B5EF4-FFF2-40B4-BE49-F238E27FC236}">
                      <a16:creationId xmlns:a16="http://schemas.microsoft.com/office/drawing/2014/main" id="{AF8ABF7F-BEE3-8442-9E28-D65FD801FE4B}"/>
                    </a:ext>
                  </a:extLst>
                </p:cNvPr>
                <p:cNvSpPr/>
                <p:nvPr/>
              </p:nvSpPr>
              <p:spPr>
                <a:xfrm>
                  <a:off x="5829151" y="3390009"/>
                  <a:ext cx="533699" cy="547632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</p:grpSp>
        <p:grpSp>
          <p:nvGrpSpPr>
            <p:cNvPr id="12" name="iṩḷïďê">
              <a:extLst>
                <a:ext uri="{FF2B5EF4-FFF2-40B4-BE49-F238E27FC236}">
                  <a16:creationId xmlns:a16="http://schemas.microsoft.com/office/drawing/2014/main" id="{20DFD922-5096-E940-8A98-F78E181DAD05}"/>
                </a:ext>
              </a:extLst>
            </p:cNvPr>
            <p:cNvGrpSpPr/>
            <p:nvPr/>
          </p:nvGrpSpPr>
          <p:grpSpPr>
            <a:xfrm>
              <a:off x="6951000" y="3741302"/>
              <a:ext cx="4563345" cy="1104745"/>
              <a:chOff x="6951000" y="1143572"/>
              <a:chExt cx="4563345" cy="1104745"/>
            </a:xfrm>
          </p:grpSpPr>
          <p:grpSp>
            <p:nvGrpSpPr>
              <p:cNvPr id="23" name="ïṡļiḋè">
                <a:extLst>
                  <a:ext uri="{FF2B5EF4-FFF2-40B4-BE49-F238E27FC236}">
                    <a16:creationId xmlns:a16="http://schemas.microsoft.com/office/drawing/2014/main" id="{6A1D9AB9-E964-6A48-84B1-643C241FDB01}"/>
                  </a:ext>
                </a:extLst>
              </p:cNvPr>
              <p:cNvGrpSpPr/>
              <p:nvPr/>
            </p:nvGrpSpPr>
            <p:grpSpPr>
              <a:xfrm>
                <a:off x="7677117" y="1143572"/>
                <a:ext cx="3837228" cy="1104745"/>
                <a:chOff x="666932" y="4425289"/>
                <a:chExt cx="3082945" cy="1104745"/>
              </a:xfrm>
            </p:grpSpPr>
            <p:sp>
              <p:nvSpPr>
                <p:cNvPr id="27" name="ïşľïdé">
                  <a:extLst>
                    <a:ext uri="{FF2B5EF4-FFF2-40B4-BE49-F238E27FC236}">
                      <a16:creationId xmlns:a16="http://schemas.microsoft.com/office/drawing/2014/main" id="{FEF2F3CB-7CF6-1A4C-935E-83B0D1699D83}"/>
                    </a:ext>
                  </a:extLst>
                </p:cNvPr>
                <p:cNvSpPr txBox="1"/>
                <p:nvPr/>
              </p:nvSpPr>
              <p:spPr bwMode="auto">
                <a:xfrm>
                  <a:off x="666932" y="4425289"/>
                  <a:ext cx="3082945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zh-CN" altLang="en-US" sz="2000" b="1" dirty="0"/>
                    <a:t>配置中心</a:t>
                  </a:r>
                  <a:endParaRPr lang="en-US" altLang="zh-CN" sz="2000" b="1" dirty="0"/>
                </a:p>
              </p:txBody>
            </p:sp>
            <p:sp>
              <p:nvSpPr>
                <p:cNvPr id="28" name="i$liḑê">
                  <a:extLst>
                    <a:ext uri="{FF2B5EF4-FFF2-40B4-BE49-F238E27FC236}">
                      <a16:creationId xmlns:a16="http://schemas.microsoft.com/office/drawing/2014/main" id="{3F74A835-BA53-2D45-93DD-9C9F947F70AC}"/>
                    </a:ext>
                  </a:extLst>
                </p:cNvPr>
                <p:cNvSpPr/>
                <p:nvPr/>
              </p:nvSpPr>
              <p:spPr bwMode="auto">
                <a:xfrm>
                  <a:off x="666932" y="4867096"/>
                  <a:ext cx="3082945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 err="1"/>
                    <a:t>ConfigMap</a:t>
                  </a:r>
                  <a:r>
                    <a:rPr lang="zh-CN" altLang="en-US" sz="1100" dirty="0"/>
                    <a:t>提供配置存储</a:t>
                  </a:r>
                  <a:endParaRPr lang="en-US" altLang="zh-CN" sz="1100" dirty="0"/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覆盖配置文件</a:t>
                  </a:r>
                  <a:r>
                    <a:rPr lang="en-US" altLang="zh-CN" sz="1100" dirty="0"/>
                    <a:t>,</a:t>
                  </a:r>
                  <a:r>
                    <a:rPr lang="zh-CN" altLang="en-US" sz="1100" dirty="0"/>
                    <a:t>环境变量多种应用场景</a:t>
                  </a:r>
                  <a:endParaRPr lang="en-US" altLang="zh-CN" sz="1100" dirty="0"/>
                </a:p>
              </p:txBody>
            </p:sp>
          </p:grpSp>
          <p:grpSp>
            <p:nvGrpSpPr>
              <p:cNvPr id="24" name="íṥ1iḍe">
                <a:extLst>
                  <a:ext uri="{FF2B5EF4-FFF2-40B4-BE49-F238E27FC236}">
                    <a16:creationId xmlns:a16="http://schemas.microsoft.com/office/drawing/2014/main" id="{516B5E9C-2BDF-B04B-A2B9-83717939C899}"/>
                  </a:ext>
                </a:extLst>
              </p:cNvPr>
              <p:cNvGrpSpPr/>
              <p:nvPr/>
            </p:nvGrpSpPr>
            <p:grpSpPr>
              <a:xfrm>
                <a:off x="6951000" y="1269000"/>
                <a:ext cx="508912" cy="509712"/>
                <a:chOff x="5646344" y="3213462"/>
                <a:chExt cx="899312" cy="900726"/>
              </a:xfrm>
            </p:grpSpPr>
            <p:sp>
              <p:nvSpPr>
                <p:cNvPr id="25" name="ïSḷiḍe">
                  <a:extLst>
                    <a:ext uri="{FF2B5EF4-FFF2-40B4-BE49-F238E27FC236}">
                      <a16:creationId xmlns:a16="http://schemas.microsoft.com/office/drawing/2014/main" id="{538291F0-DA0C-904E-8C9F-01D77B94B459}"/>
                    </a:ext>
                  </a:extLst>
                </p:cNvPr>
                <p:cNvSpPr/>
                <p:nvPr/>
              </p:nvSpPr>
              <p:spPr bwMode="auto">
                <a:xfrm>
                  <a:off x="5646344" y="3213462"/>
                  <a:ext cx="899312" cy="900726"/>
                </a:xfrm>
                <a:prstGeom prst="roundRect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6" name="ïšḻïḑé">
                  <a:extLst>
                    <a:ext uri="{FF2B5EF4-FFF2-40B4-BE49-F238E27FC236}">
                      <a16:creationId xmlns:a16="http://schemas.microsoft.com/office/drawing/2014/main" id="{945A66E0-05E6-EA4A-A33E-ECE3B2A8573F}"/>
                    </a:ext>
                  </a:extLst>
                </p:cNvPr>
                <p:cNvSpPr/>
                <p:nvPr/>
              </p:nvSpPr>
              <p:spPr>
                <a:xfrm>
                  <a:off x="5829151" y="3390009"/>
                  <a:ext cx="533699" cy="547632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</p:grpSp>
        <p:grpSp>
          <p:nvGrpSpPr>
            <p:cNvPr id="13" name="ïṧḻïḓê">
              <a:extLst>
                <a:ext uri="{FF2B5EF4-FFF2-40B4-BE49-F238E27FC236}">
                  <a16:creationId xmlns:a16="http://schemas.microsoft.com/office/drawing/2014/main" id="{C746CE1E-ECB6-F848-AA3F-38D4576B8487}"/>
                </a:ext>
              </a:extLst>
            </p:cNvPr>
            <p:cNvGrpSpPr/>
            <p:nvPr/>
          </p:nvGrpSpPr>
          <p:grpSpPr>
            <a:xfrm>
              <a:off x="6951000" y="5040168"/>
              <a:ext cx="4563345" cy="1104745"/>
              <a:chOff x="6951000" y="1143572"/>
              <a:chExt cx="4563345" cy="1104745"/>
            </a:xfrm>
          </p:grpSpPr>
          <p:grpSp>
            <p:nvGrpSpPr>
              <p:cNvPr id="17" name="îśḷîḋe">
                <a:extLst>
                  <a:ext uri="{FF2B5EF4-FFF2-40B4-BE49-F238E27FC236}">
                    <a16:creationId xmlns:a16="http://schemas.microsoft.com/office/drawing/2014/main" id="{FE02C26D-E7B1-FF4F-84B8-796ED616EA07}"/>
                  </a:ext>
                </a:extLst>
              </p:cNvPr>
              <p:cNvGrpSpPr/>
              <p:nvPr/>
            </p:nvGrpSpPr>
            <p:grpSpPr>
              <a:xfrm>
                <a:off x="7677117" y="1143572"/>
                <a:ext cx="3837228" cy="1104745"/>
                <a:chOff x="666932" y="4425289"/>
                <a:chExt cx="3082945" cy="1104745"/>
              </a:xfrm>
            </p:grpSpPr>
            <p:sp>
              <p:nvSpPr>
                <p:cNvPr id="21" name="ïs1îďê">
                  <a:extLst>
                    <a:ext uri="{FF2B5EF4-FFF2-40B4-BE49-F238E27FC236}">
                      <a16:creationId xmlns:a16="http://schemas.microsoft.com/office/drawing/2014/main" id="{941743E0-38E9-754D-AAF8-21FDCA436940}"/>
                    </a:ext>
                  </a:extLst>
                </p:cNvPr>
                <p:cNvSpPr txBox="1"/>
                <p:nvPr/>
              </p:nvSpPr>
              <p:spPr bwMode="auto">
                <a:xfrm>
                  <a:off x="666932" y="4425289"/>
                  <a:ext cx="3082945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zh-CN" altLang="en-US" sz="2000" b="1" dirty="0"/>
                    <a:t>自我修复</a:t>
                  </a:r>
                  <a:endParaRPr lang="en-US" altLang="zh-CN" sz="2000" b="1" dirty="0"/>
                </a:p>
              </p:txBody>
            </p:sp>
            <p:sp>
              <p:nvSpPr>
                <p:cNvPr id="22" name="íṧľíḓè">
                  <a:extLst>
                    <a:ext uri="{FF2B5EF4-FFF2-40B4-BE49-F238E27FC236}">
                      <a16:creationId xmlns:a16="http://schemas.microsoft.com/office/drawing/2014/main" id="{3E0926ED-F514-EC49-B37F-FE4332E3F5EB}"/>
                    </a:ext>
                  </a:extLst>
                </p:cNvPr>
                <p:cNvSpPr/>
                <p:nvPr/>
              </p:nvSpPr>
              <p:spPr bwMode="auto">
                <a:xfrm>
                  <a:off x="666932" y="4867096"/>
                  <a:ext cx="3082945" cy="6629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重新启动失败的容器、替换容器、杀死不响应用户定义的运行状况检查的容器</a:t>
                  </a:r>
                  <a:endParaRPr lang="en-US" altLang="zh-CN" sz="1100" dirty="0"/>
                </a:p>
              </p:txBody>
            </p:sp>
          </p:grpSp>
          <p:grpSp>
            <p:nvGrpSpPr>
              <p:cNvPr id="18" name="íŝ1iḋè">
                <a:extLst>
                  <a:ext uri="{FF2B5EF4-FFF2-40B4-BE49-F238E27FC236}">
                    <a16:creationId xmlns:a16="http://schemas.microsoft.com/office/drawing/2014/main" id="{97A2F716-6A4E-8A48-B42B-60335E371AA4}"/>
                  </a:ext>
                </a:extLst>
              </p:cNvPr>
              <p:cNvGrpSpPr/>
              <p:nvPr/>
            </p:nvGrpSpPr>
            <p:grpSpPr>
              <a:xfrm>
                <a:off x="6951000" y="1269000"/>
                <a:ext cx="508912" cy="509712"/>
                <a:chOff x="5646344" y="3213462"/>
                <a:chExt cx="899312" cy="900726"/>
              </a:xfrm>
            </p:grpSpPr>
            <p:sp>
              <p:nvSpPr>
                <p:cNvPr id="19" name="iŝḻïďé">
                  <a:extLst>
                    <a:ext uri="{FF2B5EF4-FFF2-40B4-BE49-F238E27FC236}">
                      <a16:creationId xmlns:a16="http://schemas.microsoft.com/office/drawing/2014/main" id="{318DF4DE-C495-7A4A-9E04-AB719BCDE86D}"/>
                    </a:ext>
                  </a:extLst>
                </p:cNvPr>
                <p:cNvSpPr/>
                <p:nvPr/>
              </p:nvSpPr>
              <p:spPr bwMode="auto">
                <a:xfrm>
                  <a:off x="5646344" y="3213462"/>
                  <a:ext cx="899312" cy="900726"/>
                </a:xfrm>
                <a:prstGeom prst="roundRect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20" name="ïṧḻïḑe">
                  <a:extLst>
                    <a:ext uri="{FF2B5EF4-FFF2-40B4-BE49-F238E27FC236}">
                      <a16:creationId xmlns:a16="http://schemas.microsoft.com/office/drawing/2014/main" id="{DD42D177-20FE-654E-8709-026FE292A816}"/>
                    </a:ext>
                  </a:extLst>
                </p:cNvPr>
                <p:cNvSpPr/>
                <p:nvPr/>
              </p:nvSpPr>
              <p:spPr>
                <a:xfrm>
                  <a:off x="5829151" y="3390009"/>
                  <a:ext cx="533699" cy="547632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</p:grpSp>
        <p:cxnSp>
          <p:nvCxnSpPr>
            <p:cNvPr id="14" name="直接连接符 34">
              <a:extLst>
                <a:ext uri="{FF2B5EF4-FFF2-40B4-BE49-F238E27FC236}">
                  <a16:creationId xmlns:a16="http://schemas.microsoft.com/office/drawing/2014/main" id="{D87A3A23-8616-E446-A65F-B233B8525BD5}"/>
                </a:ext>
              </a:extLst>
            </p:cNvPr>
            <p:cNvCxnSpPr/>
            <p:nvPr/>
          </p:nvCxnSpPr>
          <p:spPr>
            <a:xfrm>
              <a:off x="7761000" y="2371500"/>
              <a:ext cx="375334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35">
              <a:extLst>
                <a:ext uri="{FF2B5EF4-FFF2-40B4-BE49-F238E27FC236}">
                  <a16:creationId xmlns:a16="http://schemas.microsoft.com/office/drawing/2014/main" id="{1CB87EDB-9B5F-3045-976C-4010FC8532A4}"/>
                </a:ext>
              </a:extLst>
            </p:cNvPr>
            <p:cNvCxnSpPr/>
            <p:nvPr/>
          </p:nvCxnSpPr>
          <p:spPr>
            <a:xfrm>
              <a:off x="7761000" y="3620879"/>
              <a:ext cx="375334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36">
              <a:extLst>
                <a:ext uri="{FF2B5EF4-FFF2-40B4-BE49-F238E27FC236}">
                  <a16:creationId xmlns:a16="http://schemas.microsoft.com/office/drawing/2014/main" id="{4DDE7A56-977D-5440-916C-EFC085D2EFA1}"/>
                </a:ext>
              </a:extLst>
            </p:cNvPr>
            <p:cNvCxnSpPr/>
            <p:nvPr/>
          </p:nvCxnSpPr>
          <p:spPr>
            <a:xfrm>
              <a:off x="7761000" y="4942685"/>
              <a:ext cx="375334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íṥļîdè">
            <a:extLst>
              <a:ext uri="{FF2B5EF4-FFF2-40B4-BE49-F238E27FC236}">
                <a16:creationId xmlns:a16="http://schemas.microsoft.com/office/drawing/2014/main" id="{DB608439-BBA8-A142-AB2B-FA1521457388}"/>
              </a:ext>
            </a:extLst>
          </p:cNvPr>
          <p:cNvSpPr/>
          <p:nvPr/>
        </p:nvSpPr>
        <p:spPr>
          <a:xfrm>
            <a:off x="669925" y="3622421"/>
            <a:ext cx="5651075" cy="595050"/>
          </a:xfrm>
          <a:prstGeom prst="rect">
            <a:avLst/>
          </a:prstGeom>
          <a:solidFill>
            <a:schemeClr val="tx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zh-CN" altLang="en-US" dirty="0"/>
              <a:t>云时代的容器生态系统</a:t>
            </a:r>
            <a:endParaRPr lang="en-US" altLang="zh-CN" dirty="0"/>
          </a:p>
        </p:txBody>
      </p:sp>
      <p:sp>
        <p:nvSpPr>
          <p:cNvPr id="46" name="ïşļiḍê">
            <a:extLst>
              <a:ext uri="{FF2B5EF4-FFF2-40B4-BE49-F238E27FC236}">
                <a16:creationId xmlns:a16="http://schemas.microsoft.com/office/drawing/2014/main" id="{459BC836-18E4-3544-8239-4352C8A3CB1D}"/>
              </a:ext>
            </a:extLst>
          </p:cNvPr>
          <p:cNvSpPr/>
          <p:nvPr/>
        </p:nvSpPr>
        <p:spPr>
          <a:xfrm>
            <a:off x="669925" y="4217471"/>
            <a:ext cx="5651075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</a:rPr>
              <a:t>Kubernetes </a:t>
            </a:r>
            <a:r>
              <a:rPr lang="zh-CN" altLang="en-US" sz="1400" dirty="0">
                <a:solidFill>
                  <a:schemeClr val="tx1"/>
                </a:solidFill>
              </a:rPr>
              <a:t>是一个可移植的、可扩展的开源平台，用于管理容器化的工作负载和服务，可促进声明式配置和自动化。</a:t>
            </a:r>
            <a:r>
              <a:rPr lang="en-US" altLang="zh-CN" sz="1400" dirty="0">
                <a:solidFill>
                  <a:schemeClr val="tx1"/>
                </a:solidFill>
              </a:rPr>
              <a:t>Kubernetes </a:t>
            </a:r>
            <a:r>
              <a:rPr lang="zh-CN" altLang="en-US" sz="1400" dirty="0">
                <a:solidFill>
                  <a:schemeClr val="tx1"/>
                </a:solidFill>
              </a:rPr>
              <a:t>拥有一个庞大且快速增长的生态系统</a:t>
            </a:r>
            <a:endParaRPr lang="en-US" altLang="zh-CN" sz="1400" dirty="0">
              <a:solidFill>
                <a:schemeClr val="tx1"/>
              </a:solidFill>
            </a:endParaRPr>
          </a:p>
        </p:txBody>
      </p:sp>
      <p:sp>
        <p:nvSpPr>
          <p:cNvPr id="41" name="页脚占位符 2">
            <a:extLst>
              <a:ext uri="{FF2B5EF4-FFF2-40B4-BE49-F238E27FC236}">
                <a16:creationId xmlns:a16="http://schemas.microsoft.com/office/drawing/2014/main" id="{B03B6DC3-17AA-0B40-BC04-92321D3853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 dirty="0" err="1"/>
              <a:t>Skywalking</a:t>
            </a:r>
            <a:r>
              <a:rPr lang="zh-CN" altLang="en-US" dirty="0"/>
              <a:t> </a:t>
            </a:r>
            <a:r>
              <a:rPr lang="en-US" altLang="zh-CN" dirty="0" err="1"/>
              <a:t>DevCon</a:t>
            </a:r>
            <a:r>
              <a:rPr lang="zh-CN" altLang="en-US" dirty="0"/>
              <a:t> </a:t>
            </a:r>
            <a:r>
              <a:rPr lang="en-US" altLang="zh-CN" dirty="0"/>
              <a:t>202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06387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90df6bc7-8d0c-4c55-8787-80ed8c1a5f2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7cd9fd3-95be-4895-a18c-01ed58a2112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7cd9fd3-95be-4895-a18c-01ed58a2112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7cd9fd3-95be-4895-a18c-01ed58a2112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A58DA"/>
      </a:accent1>
      <a:accent2>
        <a:srgbClr val="FFBF00"/>
      </a:accent2>
      <a:accent3>
        <a:srgbClr val="323865"/>
      </a:accent3>
      <a:accent4>
        <a:srgbClr val="D8D8D8"/>
      </a:accent4>
      <a:accent5>
        <a:srgbClr val="000000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90df6bc7-8d0c-4c55-8787-80ed8c1a5f2e-16x9" id="{406F2866-C7ED-C544-ABFD-794A4D4C67B6}" vid="{1CAEA57E-ED1D-1948-8FE4-03BA24FFDEC6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58DA"/>
    </a:accent1>
    <a:accent2>
      <a:srgbClr val="FFBF00"/>
    </a:accent2>
    <a:accent3>
      <a:srgbClr val="323865"/>
    </a:accent3>
    <a:accent4>
      <a:srgbClr val="D8D8D8"/>
    </a:accent4>
    <a:accent5>
      <a:srgbClr val="000000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58DA"/>
    </a:accent1>
    <a:accent2>
      <a:srgbClr val="FFBF00"/>
    </a:accent2>
    <a:accent3>
      <a:srgbClr val="323865"/>
    </a:accent3>
    <a:accent4>
      <a:srgbClr val="D8D8D8"/>
    </a:accent4>
    <a:accent5>
      <a:srgbClr val="000000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58DA"/>
    </a:accent1>
    <a:accent2>
      <a:srgbClr val="FFBF00"/>
    </a:accent2>
    <a:accent3>
      <a:srgbClr val="323865"/>
    </a:accent3>
    <a:accent4>
      <a:srgbClr val="D8D8D8"/>
    </a:accent4>
    <a:accent5>
      <a:srgbClr val="000000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1811</TotalTime>
  <Words>870</Words>
  <Application>Microsoft Macintosh PowerPoint</Application>
  <PresentationFormat>宽屏</PresentationFormat>
  <Paragraphs>224</Paragraphs>
  <Slides>26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2" baseType="lpstr">
      <vt:lpstr>等线</vt:lpstr>
      <vt:lpstr>微软雅黑</vt:lpstr>
      <vt:lpstr>Arial</vt:lpstr>
      <vt:lpstr>Calibri</vt:lpstr>
      <vt:lpstr>主题5</vt:lpstr>
      <vt:lpstr>think-cell Slide</vt:lpstr>
      <vt:lpstr>百度爱番番 Skywalking实践分享 Skywalking Committer      刘嘉鹏</vt:lpstr>
      <vt:lpstr>自我介绍</vt:lpstr>
      <vt:lpstr>PowerPoint 演示文稿</vt:lpstr>
      <vt:lpstr>爱番番</vt:lpstr>
      <vt:lpstr>发展历程</vt:lpstr>
      <vt:lpstr>服务规模</vt:lpstr>
      <vt:lpstr>PowerPoint 演示文稿</vt:lpstr>
      <vt:lpstr>实践经验</vt:lpstr>
      <vt:lpstr>Kubernetes的特点</vt:lpstr>
      <vt:lpstr>Case1: Kubernetes服务部署</vt:lpstr>
      <vt:lpstr>Case1: Kubernetes服务部署</vt:lpstr>
      <vt:lpstr>Case2: Es存储优化</vt:lpstr>
      <vt:lpstr>Case2: Es存储优化</vt:lpstr>
      <vt:lpstr>Case2: Es存储优化</vt:lpstr>
      <vt:lpstr>Case2: Es存储优化</vt:lpstr>
      <vt:lpstr>Case3: 识别异常流量</vt:lpstr>
      <vt:lpstr>Case3: 识别异常流量</vt:lpstr>
      <vt:lpstr>PowerPoint 演示文稿</vt:lpstr>
      <vt:lpstr>使用场景延展</vt:lpstr>
      <vt:lpstr>使用场景延展-流量染色</vt:lpstr>
      <vt:lpstr>使用场景延展-标记</vt:lpstr>
      <vt:lpstr>使用场景延展-OAL分析</vt:lpstr>
      <vt:lpstr>PowerPoint 演示文稿</vt:lpstr>
      <vt:lpstr>未来规划-Satellite</vt:lpstr>
      <vt:lpstr>未来规划-Satellite</vt:lpstr>
      <vt:lpstr>Thanks </vt:lpstr>
    </vt:vector>
  </TitlesOfParts>
  <Manager>iSlide</Manager>
  <Company/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爱番番Skywalking实践STANDARD TEMPLATE</dc:title>
  <dc:creator>刘 嘉鹏</dc:creator>
  <cp:lastModifiedBy>刘 嘉鹏</cp:lastModifiedBy>
  <cp:revision>166</cp:revision>
  <cp:lastPrinted>2019-04-27T16:00:00Z</cp:lastPrinted>
  <dcterms:created xsi:type="dcterms:W3CDTF">2020-11-08T05:43:01Z</dcterms:created>
  <dcterms:modified xsi:type="dcterms:W3CDTF">2020-11-12T13:0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